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slideLayouts/slideLayout17.xml" ContentType="application/vnd.openxmlformats-officedocument.presentationml.slideLayout+xml"/>
  <Override PartName="/ppt/theme/theme5.xml" ContentType="application/vnd.openxmlformats-officedocument.theme+xml"/>
  <Override PartName="/ppt/slideLayouts/slideLayout18.xml" ContentType="application/vnd.openxmlformats-officedocument.presentationml.slideLayout+xml"/>
  <Override PartName="/ppt/theme/theme6.xml" ContentType="application/vnd.openxmlformats-officedocument.theme+xml"/>
  <Override PartName="/ppt/slideLayouts/slideLayout19.xml" ContentType="application/vnd.openxmlformats-officedocument.presentationml.slideLayout+xml"/>
  <Override PartName="/ppt/theme/theme7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8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9.xml" ContentType="application/vnd.openxmlformats-officedocument.theme+xml"/>
  <Override PartName="/ppt/slideLayouts/slideLayout24.xml" ContentType="application/vnd.openxmlformats-officedocument.presentationml.slideLayout+xml"/>
  <Override PartName="/ppt/theme/theme10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11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676" r:id="rId3"/>
    <p:sldMasterId id="2147483678" r:id="rId4"/>
    <p:sldMasterId id="2147483686" r:id="rId5"/>
    <p:sldMasterId id="2147483690" r:id="rId6"/>
    <p:sldMasterId id="2147483692" r:id="rId7"/>
    <p:sldMasterId id="2147483694" r:id="rId8"/>
    <p:sldMasterId id="2147483698" r:id="rId9"/>
    <p:sldMasterId id="2147483702" r:id="rId10"/>
    <p:sldMasterId id="2147483704" r:id="rId11"/>
  </p:sldMasterIdLst>
  <p:notesMasterIdLst>
    <p:notesMasterId r:id="rId23"/>
  </p:notesMasterIdLst>
  <p:handoutMasterIdLst>
    <p:handoutMasterId r:id="rId24"/>
  </p:handoutMasterIdLst>
  <p:sldIdLst>
    <p:sldId id="525" r:id="rId12"/>
    <p:sldId id="537" r:id="rId13"/>
    <p:sldId id="570" r:id="rId14"/>
    <p:sldId id="571" r:id="rId15"/>
    <p:sldId id="551" r:id="rId16"/>
    <p:sldId id="550" r:id="rId17"/>
    <p:sldId id="552" r:id="rId18"/>
    <p:sldId id="539" r:id="rId19"/>
    <p:sldId id="540" r:id="rId20"/>
    <p:sldId id="326" r:id="rId21"/>
    <p:sldId id="421" r:id="rId22"/>
  </p:sldIdLst>
  <p:sldSz cx="9144000" cy="6858000" type="screen4x3"/>
  <p:notesSz cx="6881813" cy="9296400"/>
  <p:defaultTextStyle>
    <a:defPPr>
      <a:defRPr lang="es-A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97" autoAdjust="0"/>
    <p:restoredTop sz="96590" autoAdjust="0"/>
  </p:normalViewPr>
  <p:slideViewPr>
    <p:cSldViewPr>
      <p:cViewPr varScale="1">
        <p:scale>
          <a:sx n="74" d="100"/>
          <a:sy n="74" d="100"/>
        </p:scale>
        <p:origin x="1230" y="5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60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913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97313" y="0"/>
            <a:ext cx="2982912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4D2FA1-07AD-409B-94F1-992449D57287}" type="datetimeFigureOut">
              <a:rPr lang="es-AR" smtClean="0"/>
              <a:t>24/08/2015</a:t>
            </a:fld>
            <a:endParaRPr lang="es-AR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2982913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97313" y="8829675"/>
            <a:ext cx="2982912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35C038-61E9-4C4E-B835-1DC99DD293D9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8477301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0E91198B-90C7-4636-906E-6C2F710765D1}" type="datetimeFigureOut">
              <a:rPr lang="es-AR" smtClean="0"/>
              <a:pPr/>
              <a:t>24/08/2015</a:t>
            </a:fld>
            <a:endParaRPr lang="es-AR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176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s-AR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8182" y="4415790"/>
            <a:ext cx="5505450" cy="4183380"/>
          </a:xfrm>
          <a:prstGeom prst="rect">
            <a:avLst/>
          </a:prstGeom>
        </p:spPr>
        <p:txBody>
          <a:bodyPr vert="horz" lIns="92446" tIns="46223" rIns="92446" bIns="46223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F34CB3FD-44D5-4724-8C7E-7B1EC2E77AB8}" type="slidenum">
              <a:rPr lang="es-AR" smtClean="0"/>
              <a:pPr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40921248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9395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s-AR" smtClean="0"/>
          </a:p>
        </p:txBody>
      </p:sp>
      <p:sp>
        <p:nvSpPr>
          <p:cNvPr id="59396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C65B768B-C0DA-4977-8B63-76A258BD9DC0}" type="slidenum">
              <a:rPr lang="es-ES">
                <a:solidFill>
                  <a:prstClr val="black"/>
                </a:solidFill>
              </a:rPr>
              <a:pPr/>
              <a:t>1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14839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762000" y="750888"/>
            <a:ext cx="5006975" cy="3756025"/>
          </a:xfrm>
        </p:spPr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6247057" y="9494949"/>
            <a:ext cx="84960" cy="184666"/>
          </a:xfrm>
        </p:spPr>
        <p:txBody>
          <a:bodyPr/>
          <a:lstStyle/>
          <a:p>
            <a:fld id="{BCEB951B-3A57-4B7B-9395-DA8935C9F482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58844" y="5014907"/>
            <a:ext cx="5270746" cy="246221"/>
          </a:xfrm>
        </p:spPr>
        <p:txBody>
          <a:bodyPr>
            <a:normAutofit fontScale="92500" lnSpcReduction="10000"/>
          </a:bodyPr>
          <a:lstStyle/>
          <a:p>
            <a:pPr>
              <a:spcAft>
                <a:spcPts val="600"/>
              </a:spcAft>
            </a:pPr>
            <a:endParaRPr lang="es-ES">
              <a:solidFill>
                <a:srgbClr val="043F5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15661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762000" y="750888"/>
            <a:ext cx="5006975" cy="3756025"/>
          </a:xfrm>
        </p:spPr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6247057" y="9494949"/>
            <a:ext cx="84960" cy="184666"/>
          </a:xfrm>
        </p:spPr>
        <p:txBody>
          <a:bodyPr/>
          <a:lstStyle/>
          <a:p>
            <a:fld id="{BCEB951B-3A57-4B7B-9395-DA8935C9F482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58844" y="5014907"/>
            <a:ext cx="5270746" cy="246221"/>
          </a:xfrm>
        </p:spPr>
        <p:txBody>
          <a:bodyPr>
            <a:normAutofit fontScale="92500" lnSpcReduction="10000"/>
          </a:bodyPr>
          <a:lstStyle/>
          <a:p>
            <a:pPr>
              <a:spcAft>
                <a:spcPts val="600"/>
              </a:spcAft>
            </a:pPr>
            <a:endParaRPr lang="es-ES">
              <a:solidFill>
                <a:srgbClr val="043F5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32863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762000" y="750888"/>
            <a:ext cx="5006975" cy="3756025"/>
          </a:xfrm>
        </p:spPr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6247057" y="9494949"/>
            <a:ext cx="84960" cy="184666"/>
          </a:xfrm>
        </p:spPr>
        <p:txBody>
          <a:bodyPr/>
          <a:lstStyle/>
          <a:p>
            <a:fld id="{BCEB951B-3A57-4B7B-9395-DA8935C9F482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58844" y="5014907"/>
            <a:ext cx="5270746" cy="246221"/>
          </a:xfrm>
        </p:spPr>
        <p:txBody>
          <a:bodyPr>
            <a:normAutofit fontScale="92500" lnSpcReduction="10000"/>
          </a:bodyPr>
          <a:lstStyle/>
          <a:p>
            <a:pPr>
              <a:spcAft>
                <a:spcPts val="600"/>
              </a:spcAft>
            </a:pPr>
            <a:endParaRPr lang="es-ES">
              <a:solidFill>
                <a:srgbClr val="043F5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04469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762000" y="750888"/>
            <a:ext cx="5006975" cy="3756025"/>
          </a:xfrm>
        </p:spPr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6247057" y="9494949"/>
            <a:ext cx="84960" cy="184666"/>
          </a:xfrm>
        </p:spPr>
        <p:txBody>
          <a:bodyPr/>
          <a:lstStyle/>
          <a:p>
            <a:fld id="{BCEB951B-3A57-4B7B-9395-DA8935C9F482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58844" y="5014907"/>
            <a:ext cx="5270746" cy="246221"/>
          </a:xfrm>
        </p:spPr>
        <p:txBody>
          <a:bodyPr>
            <a:normAutofit fontScale="92500" lnSpcReduction="10000"/>
          </a:bodyPr>
          <a:lstStyle/>
          <a:p>
            <a:pPr>
              <a:spcAft>
                <a:spcPts val="600"/>
              </a:spcAft>
            </a:pPr>
            <a:endParaRPr lang="es-ES">
              <a:solidFill>
                <a:srgbClr val="043F5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17262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9395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s-AR" smtClean="0"/>
          </a:p>
        </p:txBody>
      </p:sp>
      <p:sp>
        <p:nvSpPr>
          <p:cNvPr id="59396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C65B768B-C0DA-4977-8B63-76A258BD9DC0}" type="slidenum">
              <a:rPr lang="es-ES">
                <a:solidFill>
                  <a:prstClr val="black"/>
                </a:solidFill>
              </a:rPr>
              <a:pPr/>
              <a:t>10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252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AR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ECDDDD2-EF6C-452C-8CA9-29F85E389177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27703625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AF43595-4703-47CB-9094-38982D552D80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22025666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48450" y="274638"/>
            <a:ext cx="2098675" cy="568007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349250" y="274638"/>
            <a:ext cx="6146800" cy="568007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8822A30-427E-4934-910C-FC9CC18D0AA5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30519191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lefónica - Título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650326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ónica - 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rgbClr val="072534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05821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91974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lefónica - Titular dos 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/>
          <p:cNvSpPr txBox="1">
            <a:spLocks/>
          </p:cNvSpPr>
          <p:nvPr userDrawn="1"/>
        </p:nvSpPr>
        <p:spPr bwMode="auto">
          <a:xfrm>
            <a:off x="4469412" y="6548862"/>
            <a:ext cx="205184" cy="14202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23" smtClean="0">
                <a:solidFill>
                  <a:srgbClr val="072534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923">
              <a:solidFill>
                <a:srgbClr val="072534"/>
              </a:solidFill>
            </a:endParaRPr>
          </a:p>
        </p:txBody>
      </p:sp>
      <p:sp>
        <p:nvSpPr>
          <p:cNvPr id="10" name="McK 2. Slide Title"/>
          <p:cNvSpPr>
            <a:spLocks noGrp="1"/>
          </p:cNvSpPr>
          <p:nvPr>
            <p:ph type="title"/>
          </p:nvPr>
        </p:nvSpPr>
        <p:spPr>
          <a:xfrm>
            <a:off x="140542" y="247873"/>
            <a:ext cx="8172407" cy="340863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11" name="Agrupar 13"/>
          <p:cNvGrpSpPr>
            <a:grpSpLocks/>
          </p:cNvGrpSpPr>
          <p:nvPr userDrawn="1"/>
        </p:nvGrpSpPr>
        <p:grpSpPr bwMode="auto">
          <a:xfrm flipH="1">
            <a:off x="2930" y="836613"/>
            <a:ext cx="9144000" cy="49212"/>
            <a:chOff x="-6350" y="6332112"/>
            <a:chExt cx="9906000" cy="49216"/>
          </a:xfrm>
        </p:grpSpPr>
        <p:sp>
          <p:nvSpPr>
            <p:cNvPr id="12" name="Rectangle 13"/>
            <p:cNvSpPr>
              <a:spLocks/>
            </p:cNvSpPr>
            <p:nvPr userDrawn="1"/>
          </p:nvSpPr>
          <p:spPr bwMode="auto">
            <a:xfrm rot="10800000">
              <a:off x="7761312" y="6332112"/>
              <a:ext cx="936102" cy="49215"/>
            </a:xfrm>
            <a:prstGeom prst="rect">
              <a:avLst/>
            </a:prstGeom>
            <a:solidFill>
              <a:srgbClr val="15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>
                <a:defRPr/>
              </a:pPr>
              <a:endParaRPr lang="en-US" sz="1662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13" name="Rectangle 12"/>
            <p:cNvSpPr>
              <a:spLocks/>
            </p:cNvSpPr>
            <p:nvPr userDrawn="1"/>
          </p:nvSpPr>
          <p:spPr bwMode="auto">
            <a:xfrm rot="10800000">
              <a:off x="8682892" y="6332114"/>
              <a:ext cx="1216758" cy="49148"/>
            </a:xfrm>
            <a:prstGeom prst="rect">
              <a:avLst/>
            </a:prstGeom>
            <a:solidFill>
              <a:srgbClr val="1153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>
                <a:defRPr/>
              </a:pPr>
              <a:endParaRPr lang="en-US" sz="1662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14" name="Rectangle 14"/>
            <p:cNvSpPr>
              <a:spLocks/>
            </p:cNvSpPr>
            <p:nvPr userDrawn="1"/>
          </p:nvSpPr>
          <p:spPr bwMode="auto">
            <a:xfrm rot="10800000">
              <a:off x="6791568" y="6332112"/>
              <a:ext cx="969744" cy="49215"/>
            </a:xfrm>
            <a:prstGeom prst="rect">
              <a:avLst/>
            </a:prstGeom>
            <a:solidFill>
              <a:srgbClr val="1C8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>
                <a:defRPr/>
              </a:pPr>
              <a:endParaRPr lang="en-US" sz="1662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15" name="Rectangle 15"/>
            <p:cNvSpPr>
              <a:spLocks/>
            </p:cNvSpPr>
            <p:nvPr userDrawn="1"/>
          </p:nvSpPr>
          <p:spPr bwMode="auto">
            <a:xfrm rot="10800000">
              <a:off x="-6350" y="6332115"/>
              <a:ext cx="6797675" cy="49213"/>
            </a:xfrm>
            <a:prstGeom prst="rect">
              <a:avLst/>
            </a:prstGeom>
            <a:solidFill>
              <a:srgbClr val="29C6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>
                <a:defRPr/>
              </a:pPr>
              <a:endParaRPr lang="en-US" sz="1662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92237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ónica - 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rgbClr val="072534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09346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ónica - 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rgbClr val="072534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55058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46978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46978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19F1660-AC8D-4332-84B6-7E4435286F19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67172315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ónica - 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rgbClr val="072534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98499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87551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ónica - 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rgbClr val="072534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98499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87551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1155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oup 21"/>
          <p:cNvGrpSpPr/>
          <p:nvPr userDrawn="1"/>
        </p:nvGrpSpPr>
        <p:grpSpPr bwMode="auto">
          <a:xfrm>
            <a:off x="-23446" y="2286000"/>
            <a:ext cx="9167446" cy="2159000"/>
            <a:chOff x="-23446" y="2286000"/>
            <a:chExt cx="9167446" cy="2159000"/>
          </a:xfrm>
        </p:grpSpPr>
        <p:sp>
          <p:nvSpPr>
            <p:cNvPr id="23" name="Rectangle 1"/>
            <p:cNvSpPr>
              <a:spLocks/>
            </p:cNvSpPr>
            <p:nvPr userDrawn="1"/>
          </p:nvSpPr>
          <p:spPr bwMode="auto">
            <a:xfrm>
              <a:off x="128954" y="2286000"/>
              <a:ext cx="8663354" cy="2159000"/>
            </a:xfrm>
            <a:prstGeom prst="rect">
              <a:avLst/>
            </a:prstGeom>
            <a:solidFill>
              <a:srgbClr val="E7E7E0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n-US" sz="1662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24" name="Rectangle 9"/>
            <p:cNvSpPr>
              <a:spLocks/>
            </p:cNvSpPr>
            <p:nvPr userDrawn="1"/>
          </p:nvSpPr>
          <p:spPr bwMode="auto">
            <a:xfrm>
              <a:off x="-23446" y="2286000"/>
              <a:ext cx="152400" cy="2159000"/>
            </a:xfrm>
            <a:prstGeom prst="rect">
              <a:avLst/>
            </a:prstGeom>
            <a:solidFill>
              <a:srgbClr val="4BACC6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n-US" sz="1662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25" name="Rectangle 10"/>
            <p:cNvSpPr>
              <a:spLocks/>
            </p:cNvSpPr>
            <p:nvPr userDrawn="1"/>
          </p:nvSpPr>
          <p:spPr bwMode="auto">
            <a:xfrm>
              <a:off x="128954" y="2286000"/>
              <a:ext cx="82062" cy="2159000"/>
            </a:xfrm>
            <a:prstGeom prst="rect">
              <a:avLst/>
            </a:prstGeom>
            <a:solidFill>
              <a:srgbClr val="003245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n-US" sz="1662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26" name="Rectangle 11"/>
            <p:cNvSpPr>
              <a:spLocks/>
            </p:cNvSpPr>
            <p:nvPr userDrawn="1"/>
          </p:nvSpPr>
          <p:spPr bwMode="auto">
            <a:xfrm>
              <a:off x="8792308" y="2286000"/>
              <a:ext cx="351692" cy="2159000"/>
            </a:xfrm>
            <a:prstGeom prst="rect">
              <a:avLst/>
            </a:prstGeom>
            <a:solidFill>
              <a:srgbClr val="003245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en-US" sz="1662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</p:grp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2212" y="1454144"/>
            <a:ext cx="836768" cy="1278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31" b="1" smtClean="0">
                <a:solidFill>
                  <a:srgbClr val="003245"/>
                </a:solidFill>
                <a:latin typeface="Trebuchet M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2212" y="1612880"/>
            <a:ext cx="2717090" cy="1278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31" smtClean="0">
                <a:solidFill>
                  <a:srgbClr val="003245"/>
                </a:solidFill>
                <a:latin typeface="Trebuchet MS"/>
              </a:rPr>
              <a:t>Last Modified 09/10/2014 13:24 Romance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2212" y="1773228"/>
            <a:ext cx="2426946" cy="1278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31" smtClean="0">
                <a:solidFill>
                  <a:srgbClr val="003245"/>
                </a:solidFill>
                <a:latin typeface="Trebuchet MS"/>
              </a:rPr>
              <a:t>Printed 09/10/2014 12:41 Romance Standard Time</a:t>
            </a: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372208" y="6315951"/>
            <a:ext cx="5036084" cy="353106"/>
            <a:chOff x="1663" y="3193"/>
            <a:chExt cx="3109" cy="218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93"/>
              <a:ext cx="3109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8" smtClean="0">
                  <a:solidFill>
                    <a:srgbClr val="003245"/>
                  </a:solidFill>
                  <a:latin typeface="Trebuchet M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306"/>
              <a:ext cx="3109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8" smtClean="0">
                  <a:solidFill>
                    <a:srgbClr val="003245"/>
                  </a:solidFill>
                  <a:latin typeface="Trebuchet MS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56629" y="3025093"/>
            <a:ext cx="8309758" cy="42614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r">
              <a:defRPr sz="2769" b="1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56629" y="3486613"/>
            <a:ext cx="8309758" cy="255776"/>
          </a:xfrm>
        </p:spPr>
        <p:txBody>
          <a:bodyPr wrap="square" anchor="t">
            <a:spAutoFit/>
          </a:bodyPr>
          <a:lstStyle>
            <a:lvl1pPr algn="r">
              <a:defRPr sz="1662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28" name="AutoShape 2"/>
          <p:cNvSpPr>
            <a:spLocks/>
          </p:cNvSpPr>
          <p:nvPr userDrawn="1"/>
        </p:nvSpPr>
        <p:spPr bwMode="auto">
          <a:xfrm>
            <a:off x="372208" y="581025"/>
            <a:ext cx="1676400" cy="501650"/>
          </a:xfrm>
          <a:custGeom>
            <a:avLst/>
            <a:gdLst>
              <a:gd name="T0" fmla="*/ 0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2147483647 w 21600"/>
              <a:gd name="T13" fmla="*/ 2147483647 h 21600"/>
              <a:gd name="T14" fmla="*/ 2147483647 w 21600"/>
              <a:gd name="T15" fmla="*/ 2147483647 h 21600"/>
              <a:gd name="T16" fmla="*/ 2147483647 w 21600"/>
              <a:gd name="T17" fmla="*/ 2147483647 h 21600"/>
              <a:gd name="T18" fmla="*/ 2147483647 w 21600"/>
              <a:gd name="T19" fmla="*/ 2147483647 h 21600"/>
              <a:gd name="T20" fmla="*/ 2147483647 w 21600"/>
              <a:gd name="T21" fmla="*/ 2147483647 h 21600"/>
              <a:gd name="T22" fmla="*/ 2147483647 w 21600"/>
              <a:gd name="T23" fmla="*/ 2147483647 h 21600"/>
              <a:gd name="T24" fmla="*/ 2147483647 w 21600"/>
              <a:gd name="T25" fmla="*/ 2147483647 h 21600"/>
              <a:gd name="T26" fmla="*/ 2147483647 w 21600"/>
              <a:gd name="T27" fmla="*/ 2147483647 h 21600"/>
              <a:gd name="T28" fmla="*/ 2147483647 w 21600"/>
              <a:gd name="T29" fmla="*/ 2147483647 h 21600"/>
              <a:gd name="T30" fmla="*/ 2147483647 w 21600"/>
              <a:gd name="T31" fmla="*/ 2147483647 h 21600"/>
              <a:gd name="T32" fmla="*/ 2147483647 w 21600"/>
              <a:gd name="T33" fmla="*/ 2147483647 h 21600"/>
              <a:gd name="T34" fmla="*/ 2147483647 w 21600"/>
              <a:gd name="T35" fmla="*/ 2147483647 h 21600"/>
              <a:gd name="T36" fmla="*/ 2147483647 w 21600"/>
              <a:gd name="T37" fmla="*/ 2147483647 h 21600"/>
              <a:gd name="T38" fmla="*/ 2147483647 w 21600"/>
              <a:gd name="T39" fmla="*/ 2147483647 h 21600"/>
              <a:gd name="T40" fmla="*/ 2147483647 w 21600"/>
              <a:gd name="T41" fmla="*/ 2147483647 h 21600"/>
              <a:gd name="T42" fmla="*/ 2147483647 w 21600"/>
              <a:gd name="T43" fmla="*/ 2147483647 h 21600"/>
              <a:gd name="T44" fmla="*/ 2147483647 w 21600"/>
              <a:gd name="T45" fmla="*/ 2147483647 h 21600"/>
              <a:gd name="T46" fmla="*/ 2147483647 w 21600"/>
              <a:gd name="T47" fmla="*/ 2147483647 h 21600"/>
              <a:gd name="T48" fmla="*/ 2147483647 w 21600"/>
              <a:gd name="T49" fmla="*/ 2147483647 h 21600"/>
              <a:gd name="T50" fmla="*/ 2147483647 w 21600"/>
              <a:gd name="T51" fmla="*/ 2147483647 h 21600"/>
              <a:gd name="T52" fmla="*/ 2147483647 w 21600"/>
              <a:gd name="T53" fmla="*/ 2147483647 h 21600"/>
              <a:gd name="T54" fmla="*/ 2147483647 w 21600"/>
              <a:gd name="T55" fmla="*/ 2147483647 h 21600"/>
              <a:gd name="T56" fmla="*/ 2147483647 w 21600"/>
              <a:gd name="T57" fmla="*/ 2147483647 h 21600"/>
              <a:gd name="T58" fmla="*/ 2147483647 w 21600"/>
              <a:gd name="T59" fmla="*/ 2147483647 h 21600"/>
              <a:gd name="T60" fmla="*/ 2147483647 w 21600"/>
              <a:gd name="T61" fmla="*/ 2147483647 h 21600"/>
              <a:gd name="T62" fmla="*/ 2147483647 w 21600"/>
              <a:gd name="T63" fmla="*/ 2147483647 h 21600"/>
              <a:gd name="T64" fmla="*/ 2147483647 w 21600"/>
              <a:gd name="T65" fmla="*/ 2147483647 h 21600"/>
              <a:gd name="T66" fmla="*/ 2147483647 w 21600"/>
              <a:gd name="T67" fmla="*/ 2147483647 h 21600"/>
              <a:gd name="T68" fmla="*/ 2147483647 w 21600"/>
              <a:gd name="T69" fmla="*/ 2147483647 h 21600"/>
              <a:gd name="T70" fmla="*/ 2147483647 w 21600"/>
              <a:gd name="T71" fmla="*/ 2147483647 h 21600"/>
              <a:gd name="T72" fmla="*/ 2147483647 w 21600"/>
              <a:gd name="T73" fmla="*/ 2147483647 h 21600"/>
              <a:gd name="T74" fmla="*/ 2147483647 w 21600"/>
              <a:gd name="T75" fmla="*/ 2147483647 h 21600"/>
              <a:gd name="T76" fmla="*/ 2147483647 w 21600"/>
              <a:gd name="T77" fmla="*/ 2147483647 h 21600"/>
              <a:gd name="T78" fmla="*/ 2147483647 w 21600"/>
              <a:gd name="T79" fmla="*/ 2147483647 h 21600"/>
              <a:gd name="T80" fmla="*/ 2147483647 w 21600"/>
              <a:gd name="T81" fmla="*/ 2147483647 h 21600"/>
              <a:gd name="T82" fmla="*/ 2147483647 w 21600"/>
              <a:gd name="T83" fmla="*/ 2147483647 h 21600"/>
              <a:gd name="T84" fmla="*/ 2147483647 w 21600"/>
              <a:gd name="T85" fmla="*/ 2147483647 h 21600"/>
              <a:gd name="T86" fmla="*/ 2147483647 w 21600"/>
              <a:gd name="T87" fmla="*/ 2147483647 h 21600"/>
              <a:gd name="T88" fmla="*/ 2147483647 w 21600"/>
              <a:gd name="T89" fmla="*/ 2147483647 h 21600"/>
              <a:gd name="T90" fmla="*/ 2147483647 w 21600"/>
              <a:gd name="T91" fmla="*/ 2147483647 h 21600"/>
              <a:gd name="T92" fmla="*/ 2147483647 w 21600"/>
              <a:gd name="T93" fmla="*/ 2147483647 h 21600"/>
              <a:gd name="T94" fmla="*/ 2147483647 w 21600"/>
              <a:gd name="T95" fmla="*/ 2147483647 h 21600"/>
              <a:gd name="T96" fmla="*/ 2147483647 w 21600"/>
              <a:gd name="T97" fmla="*/ 2147483647 h 21600"/>
              <a:gd name="T98" fmla="*/ 2147483647 w 21600"/>
              <a:gd name="T99" fmla="*/ 2147483647 h 21600"/>
              <a:gd name="T100" fmla="*/ 2147483647 w 21600"/>
              <a:gd name="T101" fmla="*/ 2147483647 h 21600"/>
              <a:gd name="T102" fmla="*/ 2147483647 w 21600"/>
              <a:gd name="T103" fmla="*/ 2147483647 h 21600"/>
              <a:gd name="T104" fmla="*/ 2147483647 w 21600"/>
              <a:gd name="T105" fmla="*/ 2147483647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1600"/>
              <a:gd name="T160" fmla="*/ 0 h 21600"/>
              <a:gd name="T161" fmla="*/ 21600 w 21600"/>
              <a:gd name="T162" fmla="*/ 21600 h 2160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245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en-US" sz="1662" kern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40" name="doc id"/>
          <p:cNvSpPr>
            <a:spLocks noChangeArrowheads="1"/>
          </p:cNvSpPr>
          <p:nvPr userDrawn="1"/>
        </p:nvSpPr>
        <p:spPr bwMode="auto">
          <a:xfrm>
            <a:off x="7642335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43276" fontAlgn="base">
              <a:spcBef>
                <a:spcPct val="0"/>
              </a:spcBef>
              <a:spcAft>
                <a:spcPct val="0"/>
              </a:spcAft>
            </a:pPr>
            <a:endParaRPr lang="en-US" sz="738">
              <a:solidFill>
                <a:srgbClr val="000000"/>
              </a:solidFill>
            </a:endParaRPr>
          </a:p>
        </p:txBody>
      </p:sp>
      <p:grpSp>
        <p:nvGrpSpPr>
          <p:cNvPr id="18" name="Group 4"/>
          <p:cNvGrpSpPr>
            <a:grpSpLocks/>
          </p:cNvGrpSpPr>
          <p:nvPr userDrawn="1"/>
        </p:nvGrpSpPr>
        <p:grpSpPr bwMode="auto">
          <a:xfrm>
            <a:off x="7623485" y="6437323"/>
            <a:ext cx="1042902" cy="231775"/>
            <a:chOff x="0" y="0"/>
            <a:chExt cx="591" cy="111"/>
          </a:xfrm>
        </p:grpSpPr>
        <p:sp>
          <p:nvSpPr>
            <p:cNvPr id="19" name="AutoShape 2"/>
            <p:cNvSpPr>
              <a:spLocks/>
            </p:cNvSpPr>
            <p:nvPr/>
          </p:nvSpPr>
          <p:spPr bwMode="auto">
            <a:xfrm>
              <a:off x="0" y="0"/>
              <a:ext cx="546" cy="9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w 21600"/>
                <a:gd name="T17" fmla="*/ 0 h 21600"/>
                <a:gd name="T18" fmla="*/ 0 w 21600"/>
                <a:gd name="T19" fmla="*/ 0 h 21600"/>
                <a:gd name="T20" fmla="*/ 0 w 21600"/>
                <a:gd name="T21" fmla="*/ 0 h 21600"/>
                <a:gd name="T22" fmla="*/ 0 w 21600"/>
                <a:gd name="T23" fmla="*/ 0 h 21600"/>
                <a:gd name="T24" fmla="*/ 0 w 21600"/>
                <a:gd name="T25" fmla="*/ 0 h 21600"/>
                <a:gd name="T26" fmla="*/ 0 w 21600"/>
                <a:gd name="T27" fmla="*/ 0 h 21600"/>
                <a:gd name="T28" fmla="*/ 0 w 21600"/>
                <a:gd name="T29" fmla="*/ 0 h 21600"/>
                <a:gd name="T30" fmla="*/ 0 w 21600"/>
                <a:gd name="T31" fmla="*/ 0 h 21600"/>
                <a:gd name="T32" fmla="*/ 0 w 21600"/>
                <a:gd name="T33" fmla="*/ 0 h 21600"/>
                <a:gd name="T34" fmla="*/ 0 w 21600"/>
                <a:gd name="T35" fmla="*/ 0 h 21600"/>
                <a:gd name="T36" fmla="*/ 0 w 21600"/>
                <a:gd name="T37" fmla="*/ 0 h 21600"/>
                <a:gd name="T38" fmla="*/ 0 w 21600"/>
                <a:gd name="T39" fmla="*/ 0 h 21600"/>
                <a:gd name="T40" fmla="*/ 0 w 21600"/>
                <a:gd name="T41" fmla="*/ 0 h 21600"/>
                <a:gd name="T42" fmla="*/ 0 w 21600"/>
                <a:gd name="T43" fmla="*/ 0 h 21600"/>
                <a:gd name="T44" fmla="*/ 0 w 21600"/>
                <a:gd name="T45" fmla="*/ 0 h 21600"/>
                <a:gd name="T46" fmla="*/ 0 w 21600"/>
                <a:gd name="T47" fmla="*/ 0 h 21600"/>
                <a:gd name="T48" fmla="*/ 0 w 21600"/>
                <a:gd name="T49" fmla="*/ 0 h 21600"/>
                <a:gd name="T50" fmla="*/ 0 w 21600"/>
                <a:gd name="T51" fmla="*/ 0 h 21600"/>
                <a:gd name="T52" fmla="*/ 0 w 21600"/>
                <a:gd name="T53" fmla="*/ 0 h 21600"/>
                <a:gd name="T54" fmla="*/ 0 w 21600"/>
                <a:gd name="T55" fmla="*/ 0 h 21600"/>
                <a:gd name="T56" fmla="*/ 0 w 21600"/>
                <a:gd name="T57" fmla="*/ 0 h 21600"/>
                <a:gd name="T58" fmla="*/ 0 w 21600"/>
                <a:gd name="T59" fmla="*/ 0 h 21600"/>
                <a:gd name="T60" fmla="*/ 0 w 21600"/>
                <a:gd name="T61" fmla="*/ 0 h 21600"/>
                <a:gd name="T62" fmla="*/ 0 w 21600"/>
                <a:gd name="T63" fmla="*/ 0 h 21600"/>
                <a:gd name="T64" fmla="*/ 0 w 21600"/>
                <a:gd name="T65" fmla="*/ 0 h 21600"/>
                <a:gd name="T66" fmla="*/ 0 w 21600"/>
                <a:gd name="T67" fmla="*/ 0 h 21600"/>
                <a:gd name="T68" fmla="*/ 0 w 21600"/>
                <a:gd name="T69" fmla="*/ 0 h 21600"/>
                <a:gd name="T70" fmla="*/ 0 w 21600"/>
                <a:gd name="T71" fmla="*/ 0 h 21600"/>
                <a:gd name="T72" fmla="*/ 0 w 21600"/>
                <a:gd name="T73" fmla="*/ 0 h 21600"/>
                <a:gd name="T74" fmla="*/ 0 w 21600"/>
                <a:gd name="T75" fmla="*/ 0 h 21600"/>
                <a:gd name="T76" fmla="*/ 0 w 21600"/>
                <a:gd name="T77" fmla="*/ 0 h 21600"/>
                <a:gd name="T78" fmla="*/ 0 w 21600"/>
                <a:gd name="T79" fmla="*/ 0 h 21600"/>
                <a:gd name="T80" fmla="*/ 0 w 21600"/>
                <a:gd name="T81" fmla="*/ 0 h 21600"/>
                <a:gd name="T82" fmla="*/ 0 w 21600"/>
                <a:gd name="T83" fmla="*/ 0 h 21600"/>
                <a:gd name="T84" fmla="*/ 0 w 21600"/>
                <a:gd name="T85" fmla="*/ 0 h 21600"/>
                <a:gd name="T86" fmla="*/ 0 w 21600"/>
                <a:gd name="T87" fmla="*/ 0 h 21600"/>
                <a:gd name="T88" fmla="*/ 0 w 21600"/>
                <a:gd name="T89" fmla="*/ 0 h 21600"/>
                <a:gd name="T90" fmla="*/ 0 w 21600"/>
                <a:gd name="T91" fmla="*/ 0 h 21600"/>
                <a:gd name="T92" fmla="*/ 0 w 21600"/>
                <a:gd name="T93" fmla="*/ 0 h 21600"/>
                <a:gd name="T94" fmla="*/ 0 w 21600"/>
                <a:gd name="T95" fmla="*/ 0 h 21600"/>
                <a:gd name="T96" fmla="*/ 0 w 21600"/>
                <a:gd name="T97" fmla="*/ 0 h 21600"/>
                <a:gd name="T98" fmla="*/ 0 w 21600"/>
                <a:gd name="T99" fmla="*/ 0 h 21600"/>
                <a:gd name="T100" fmla="*/ 0 w 21600"/>
                <a:gd name="T101" fmla="*/ 0 h 2160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1600"/>
                <a:gd name="T154" fmla="*/ 0 h 21600"/>
                <a:gd name="T155" fmla="*/ 21600 w 21600"/>
                <a:gd name="T156" fmla="*/ 21600 h 2160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1600" h="21600">
                  <a:moveTo>
                    <a:pt x="2236" y="9904"/>
                  </a:moveTo>
                  <a:cubicBezTo>
                    <a:pt x="2490" y="10359"/>
                    <a:pt x="2636" y="10997"/>
                    <a:pt x="2734" y="11787"/>
                  </a:cubicBezTo>
                  <a:cubicBezTo>
                    <a:pt x="2833" y="12577"/>
                    <a:pt x="2864" y="13428"/>
                    <a:pt x="2864" y="14460"/>
                  </a:cubicBezTo>
                  <a:cubicBezTo>
                    <a:pt x="2864" y="16952"/>
                    <a:pt x="2688" y="18501"/>
                    <a:pt x="2444" y="19473"/>
                  </a:cubicBezTo>
                  <a:cubicBezTo>
                    <a:pt x="2174" y="20567"/>
                    <a:pt x="1764" y="21175"/>
                    <a:pt x="1105" y="21175"/>
                  </a:cubicBezTo>
                  <a:lnTo>
                    <a:pt x="0" y="21175"/>
                  </a:lnTo>
                  <a:lnTo>
                    <a:pt x="623" y="395"/>
                  </a:lnTo>
                  <a:lnTo>
                    <a:pt x="1717" y="395"/>
                  </a:lnTo>
                  <a:cubicBezTo>
                    <a:pt x="2226" y="395"/>
                    <a:pt x="2480" y="942"/>
                    <a:pt x="2636" y="1671"/>
                  </a:cubicBezTo>
                  <a:cubicBezTo>
                    <a:pt x="2823" y="2552"/>
                    <a:pt x="2885" y="3797"/>
                    <a:pt x="2885" y="4982"/>
                  </a:cubicBezTo>
                  <a:cubicBezTo>
                    <a:pt x="2885" y="7017"/>
                    <a:pt x="2703" y="8871"/>
                    <a:pt x="2236" y="9904"/>
                  </a:cubicBezTo>
                  <a:close/>
                  <a:moveTo>
                    <a:pt x="908" y="17742"/>
                  </a:moveTo>
                  <a:lnTo>
                    <a:pt x="1188" y="17742"/>
                  </a:lnTo>
                  <a:cubicBezTo>
                    <a:pt x="1484" y="17742"/>
                    <a:pt x="1645" y="17529"/>
                    <a:pt x="1775" y="17134"/>
                  </a:cubicBezTo>
                  <a:cubicBezTo>
                    <a:pt x="1920" y="16679"/>
                    <a:pt x="2039" y="15919"/>
                    <a:pt x="2039" y="14643"/>
                  </a:cubicBezTo>
                  <a:cubicBezTo>
                    <a:pt x="2039" y="13792"/>
                    <a:pt x="1987" y="13155"/>
                    <a:pt x="1899" y="12760"/>
                  </a:cubicBezTo>
                  <a:cubicBezTo>
                    <a:pt x="1800" y="12304"/>
                    <a:pt x="1650" y="12091"/>
                    <a:pt x="1437" y="12091"/>
                  </a:cubicBezTo>
                  <a:lnTo>
                    <a:pt x="1079" y="12091"/>
                  </a:lnTo>
                  <a:lnTo>
                    <a:pt x="908" y="17742"/>
                  </a:lnTo>
                  <a:close/>
                  <a:moveTo>
                    <a:pt x="1183" y="8658"/>
                  </a:moveTo>
                  <a:lnTo>
                    <a:pt x="1365" y="8658"/>
                  </a:lnTo>
                  <a:cubicBezTo>
                    <a:pt x="1645" y="8658"/>
                    <a:pt x="1800" y="8324"/>
                    <a:pt x="1909" y="7838"/>
                  </a:cubicBezTo>
                  <a:cubicBezTo>
                    <a:pt x="2018" y="7352"/>
                    <a:pt x="2081" y="6623"/>
                    <a:pt x="2081" y="5742"/>
                  </a:cubicBezTo>
                  <a:cubicBezTo>
                    <a:pt x="2081" y="5134"/>
                    <a:pt x="2055" y="4739"/>
                    <a:pt x="1998" y="4405"/>
                  </a:cubicBezTo>
                  <a:cubicBezTo>
                    <a:pt x="1935" y="4071"/>
                    <a:pt x="1831" y="3828"/>
                    <a:pt x="1603" y="3828"/>
                  </a:cubicBezTo>
                  <a:lnTo>
                    <a:pt x="1328" y="3828"/>
                  </a:lnTo>
                  <a:lnTo>
                    <a:pt x="1183" y="8658"/>
                  </a:lnTo>
                  <a:close/>
                  <a:moveTo>
                    <a:pt x="4140" y="17742"/>
                  </a:moveTo>
                  <a:lnTo>
                    <a:pt x="5749" y="17742"/>
                  </a:lnTo>
                  <a:lnTo>
                    <a:pt x="5650" y="21175"/>
                  </a:lnTo>
                  <a:lnTo>
                    <a:pt x="3227" y="21175"/>
                  </a:lnTo>
                  <a:lnTo>
                    <a:pt x="3850" y="395"/>
                  </a:lnTo>
                  <a:lnTo>
                    <a:pt x="6247" y="395"/>
                  </a:lnTo>
                  <a:lnTo>
                    <a:pt x="6081" y="3828"/>
                  </a:lnTo>
                  <a:lnTo>
                    <a:pt x="4556" y="3828"/>
                  </a:lnTo>
                  <a:lnTo>
                    <a:pt x="4405" y="8871"/>
                  </a:lnTo>
                  <a:lnTo>
                    <a:pt x="5624" y="8871"/>
                  </a:lnTo>
                  <a:lnTo>
                    <a:pt x="5515" y="12425"/>
                  </a:lnTo>
                  <a:lnTo>
                    <a:pt x="4296" y="12425"/>
                  </a:lnTo>
                  <a:lnTo>
                    <a:pt x="4140" y="17742"/>
                  </a:lnTo>
                  <a:close/>
                  <a:moveTo>
                    <a:pt x="8540" y="395"/>
                  </a:moveTo>
                  <a:lnTo>
                    <a:pt x="9298" y="11878"/>
                  </a:lnTo>
                  <a:lnTo>
                    <a:pt x="10792" y="395"/>
                  </a:lnTo>
                  <a:lnTo>
                    <a:pt x="11456" y="395"/>
                  </a:lnTo>
                  <a:lnTo>
                    <a:pt x="10834" y="21175"/>
                  </a:lnTo>
                  <a:lnTo>
                    <a:pt x="10092" y="21175"/>
                  </a:lnTo>
                  <a:lnTo>
                    <a:pt x="10450" y="9053"/>
                  </a:lnTo>
                  <a:lnTo>
                    <a:pt x="9495" y="16436"/>
                  </a:lnTo>
                  <a:lnTo>
                    <a:pt x="8872" y="16436"/>
                  </a:lnTo>
                  <a:lnTo>
                    <a:pt x="8354" y="8658"/>
                  </a:lnTo>
                  <a:lnTo>
                    <a:pt x="7975" y="21175"/>
                  </a:lnTo>
                  <a:lnTo>
                    <a:pt x="7295" y="21175"/>
                  </a:lnTo>
                  <a:lnTo>
                    <a:pt x="7918" y="395"/>
                  </a:lnTo>
                  <a:lnTo>
                    <a:pt x="8540" y="395"/>
                  </a:lnTo>
                  <a:close/>
                  <a:moveTo>
                    <a:pt x="11685" y="13640"/>
                  </a:moveTo>
                  <a:cubicBezTo>
                    <a:pt x="11685" y="10451"/>
                    <a:pt x="11820" y="7321"/>
                    <a:pt x="12058" y="4921"/>
                  </a:cubicBezTo>
                  <a:cubicBezTo>
                    <a:pt x="12380" y="1701"/>
                    <a:pt x="12893" y="0"/>
                    <a:pt x="13610" y="0"/>
                  </a:cubicBezTo>
                  <a:cubicBezTo>
                    <a:pt x="14429" y="0"/>
                    <a:pt x="14990" y="2521"/>
                    <a:pt x="14990" y="7959"/>
                  </a:cubicBezTo>
                  <a:cubicBezTo>
                    <a:pt x="14990" y="11149"/>
                    <a:pt x="14855" y="14278"/>
                    <a:pt x="14616" y="16678"/>
                  </a:cubicBezTo>
                  <a:cubicBezTo>
                    <a:pt x="14295" y="19899"/>
                    <a:pt x="13781" y="21600"/>
                    <a:pt x="13065" y="21600"/>
                  </a:cubicBezTo>
                  <a:cubicBezTo>
                    <a:pt x="12245" y="21600"/>
                    <a:pt x="11685" y="19078"/>
                    <a:pt x="11685" y="13640"/>
                  </a:cubicBezTo>
                  <a:close/>
                  <a:moveTo>
                    <a:pt x="12790" y="6775"/>
                  </a:moveTo>
                  <a:cubicBezTo>
                    <a:pt x="12619" y="8688"/>
                    <a:pt x="12520" y="11180"/>
                    <a:pt x="12520" y="13640"/>
                  </a:cubicBezTo>
                  <a:cubicBezTo>
                    <a:pt x="12520" y="16770"/>
                    <a:pt x="12764" y="17894"/>
                    <a:pt x="13127" y="17894"/>
                  </a:cubicBezTo>
                  <a:cubicBezTo>
                    <a:pt x="13469" y="17894"/>
                    <a:pt x="13713" y="16709"/>
                    <a:pt x="13885" y="14825"/>
                  </a:cubicBezTo>
                  <a:cubicBezTo>
                    <a:pt x="14056" y="12912"/>
                    <a:pt x="14154" y="10420"/>
                    <a:pt x="14154" y="7960"/>
                  </a:cubicBezTo>
                  <a:cubicBezTo>
                    <a:pt x="14154" y="4830"/>
                    <a:pt x="13911" y="3706"/>
                    <a:pt x="13547" y="3706"/>
                  </a:cubicBezTo>
                  <a:cubicBezTo>
                    <a:pt x="13205" y="3706"/>
                    <a:pt x="12961" y="4891"/>
                    <a:pt x="12790" y="6775"/>
                  </a:cubicBezTo>
                  <a:close/>
                  <a:moveTo>
                    <a:pt x="18098" y="10177"/>
                  </a:moveTo>
                  <a:cubicBezTo>
                    <a:pt x="17963" y="11271"/>
                    <a:pt x="17745" y="12182"/>
                    <a:pt x="17459" y="12851"/>
                  </a:cubicBezTo>
                  <a:lnTo>
                    <a:pt x="18009" y="21175"/>
                  </a:lnTo>
                  <a:lnTo>
                    <a:pt x="17143" y="21175"/>
                  </a:lnTo>
                  <a:lnTo>
                    <a:pt x="16728" y="13641"/>
                  </a:lnTo>
                  <a:lnTo>
                    <a:pt x="16251" y="13641"/>
                  </a:lnTo>
                  <a:lnTo>
                    <a:pt x="16027" y="21175"/>
                  </a:lnTo>
                  <a:lnTo>
                    <a:pt x="15218" y="21175"/>
                  </a:lnTo>
                  <a:lnTo>
                    <a:pt x="15841" y="395"/>
                  </a:lnTo>
                  <a:lnTo>
                    <a:pt x="17050" y="395"/>
                  </a:lnTo>
                  <a:cubicBezTo>
                    <a:pt x="17491" y="395"/>
                    <a:pt x="17797" y="942"/>
                    <a:pt x="17989" y="1914"/>
                  </a:cubicBezTo>
                  <a:cubicBezTo>
                    <a:pt x="18202" y="2977"/>
                    <a:pt x="18290" y="4526"/>
                    <a:pt x="18290" y="6319"/>
                  </a:cubicBezTo>
                  <a:cubicBezTo>
                    <a:pt x="18290" y="7807"/>
                    <a:pt x="18227" y="9114"/>
                    <a:pt x="18098" y="10177"/>
                  </a:cubicBezTo>
                  <a:close/>
                  <a:moveTo>
                    <a:pt x="16354" y="10208"/>
                  </a:moveTo>
                  <a:lnTo>
                    <a:pt x="16666" y="10208"/>
                  </a:lnTo>
                  <a:cubicBezTo>
                    <a:pt x="16915" y="10208"/>
                    <a:pt x="17138" y="9934"/>
                    <a:pt x="17288" y="9114"/>
                  </a:cubicBezTo>
                  <a:cubicBezTo>
                    <a:pt x="17408" y="8476"/>
                    <a:pt x="17486" y="7443"/>
                    <a:pt x="17486" y="6349"/>
                  </a:cubicBezTo>
                  <a:cubicBezTo>
                    <a:pt x="17486" y="5651"/>
                    <a:pt x="17454" y="5012"/>
                    <a:pt x="17382" y="4587"/>
                  </a:cubicBezTo>
                  <a:cubicBezTo>
                    <a:pt x="17299" y="4101"/>
                    <a:pt x="17169" y="3828"/>
                    <a:pt x="16951" y="3828"/>
                  </a:cubicBezTo>
                  <a:lnTo>
                    <a:pt x="16546" y="3828"/>
                  </a:lnTo>
                  <a:lnTo>
                    <a:pt x="16354" y="10208"/>
                  </a:lnTo>
                  <a:close/>
                  <a:moveTo>
                    <a:pt x="19493" y="17742"/>
                  </a:moveTo>
                  <a:lnTo>
                    <a:pt x="21102" y="17742"/>
                  </a:lnTo>
                  <a:lnTo>
                    <a:pt x="21003" y="21175"/>
                  </a:lnTo>
                  <a:lnTo>
                    <a:pt x="18580" y="21175"/>
                  </a:lnTo>
                  <a:lnTo>
                    <a:pt x="19203" y="395"/>
                  </a:lnTo>
                  <a:lnTo>
                    <a:pt x="21600" y="395"/>
                  </a:lnTo>
                  <a:lnTo>
                    <a:pt x="21434" y="3828"/>
                  </a:lnTo>
                  <a:lnTo>
                    <a:pt x="19909" y="3828"/>
                  </a:lnTo>
                  <a:lnTo>
                    <a:pt x="19758" y="8871"/>
                  </a:lnTo>
                  <a:lnTo>
                    <a:pt x="20977" y="8871"/>
                  </a:lnTo>
                  <a:lnTo>
                    <a:pt x="20868" y="12425"/>
                  </a:lnTo>
                  <a:lnTo>
                    <a:pt x="19649" y="12425"/>
                  </a:lnTo>
                  <a:lnTo>
                    <a:pt x="19493" y="17742"/>
                  </a:lnTo>
                  <a:close/>
                  <a:moveTo>
                    <a:pt x="19493" y="17742"/>
                  </a:moveTo>
                </a:path>
              </a:pathLst>
            </a:custGeom>
            <a:solidFill>
              <a:schemeClr val="tx1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s-ES_tradnl" sz="1477">
                <a:solidFill>
                  <a:srgbClr val="003245"/>
                </a:solidFill>
                <a:latin typeface="Arial" charset="0"/>
              </a:endParaRPr>
            </a:p>
          </p:txBody>
        </p:sp>
        <p:sp>
          <p:nvSpPr>
            <p:cNvPr id="20" name="AutoShape 3"/>
            <p:cNvSpPr>
              <a:spLocks/>
            </p:cNvSpPr>
            <p:nvPr/>
          </p:nvSpPr>
          <p:spPr bwMode="auto">
            <a:xfrm>
              <a:off x="533" y="98"/>
              <a:ext cx="58" cy="13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1600"/>
                <a:gd name="T19" fmla="*/ 0 h 21600"/>
                <a:gd name="T20" fmla="*/ 21600 w 21600"/>
                <a:gd name="T21" fmla="*/ 21600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0" y="21600"/>
                  </a:moveTo>
                  <a:lnTo>
                    <a:pt x="870" y="0"/>
                  </a:lnTo>
                  <a:lnTo>
                    <a:pt x="21600" y="0"/>
                  </a:lnTo>
                  <a:lnTo>
                    <a:pt x="20730" y="21600"/>
                  </a:lnTo>
                  <a:lnTo>
                    <a:pt x="0" y="21600"/>
                  </a:lnTo>
                  <a:close/>
                  <a:moveTo>
                    <a:pt x="0" y="21600"/>
                  </a:moveTo>
                </a:path>
              </a:pathLst>
            </a:custGeom>
            <a:solidFill>
              <a:srgbClr val="7DFE9D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s-ES_tradnl" sz="1477">
                <a:solidFill>
                  <a:srgbClr val="003245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599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70" y="159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0" y="159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4469412" y="6548862"/>
            <a:ext cx="205184" cy="14202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23" smtClean="0">
                <a:solidFill>
                  <a:srgbClr val="072534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923">
              <a:solidFill>
                <a:srgbClr val="07253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723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4477426" y="6554382"/>
            <a:ext cx="189154" cy="13112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52" smtClean="0">
                <a:solidFill>
                  <a:srgbClr val="072534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852">
              <a:solidFill>
                <a:srgbClr val="072534"/>
              </a:solidFill>
            </a:endParaRPr>
          </a:p>
        </p:txBody>
      </p:sp>
      <p:sp>
        <p:nvSpPr>
          <p:cNvPr id="7" name="McK 2. Slide Title"/>
          <p:cNvSpPr>
            <a:spLocks noGrp="1"/>
          </p:cNvSpPr>
          <p:nvPr>
            <p:ph type="title"/>
          </p:nvPr>
        </p:nvSpPr>
        <p:spPr>
          <a:xfrm>
            <a:off x="140542" y="247873"/>
            <a:ext cx="8172407" cy="340863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90572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8483112" y="53"/>
            <a:ext cx="660888" cy="836616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77" smtClean="0">
                <a:solidFill>
                  <a:srgbClr val="003245"/>
                </a:solidFill>
                <a:latin typeface="Arial" charset="0"/>
              </a:rPr>
              <a:t>N</a:t>
            </a:r>
            <a:r>
              <a:rPr lang="en-US" sz="1477" baseline="30000" smtClean="0">
                <a:solidFill>
                  <a:srgbClr val="003245"/>
                </a:solidFill>
                <a:latin typeface="Arial" charset="0"/>
              </a:rPr>
              <a:t>o</a:t>
            </a:r>
            <a:endParaRPr lang="en-US" sz="1477" baseline="30000">
              <a:solidFill>
                <a:srgbClr val="003245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22777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lefónica - Titular dos 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 flipH="1">
            <a:off x="-1" y="0"/>
            <a:ext cx="8417169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n-US" dirty="0">
              <a:sym typeface="Trebuchet MS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425950" y="6464300"/>
            <a:ext cx="279400" cy="292100"/>
          </a:xfrm>
          <a:prstGeom prst="rect">
            <a:avLst/>
          </a:prstGeom>
        </p:spPr>
        <p:txBody>
          <a:bodyPr/>
          <a:lstStyle>
            <a:lvl1pPr>
              <a:defRPr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75DAF3D-D78A-49DC-A0A5-0DF1276C9588}" type="slidenum">
              <a:rPr lang="en-US" sz="1477">
                <a:solidFill>
                  <a:srgbClr val="003245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477">
              <a:solidFill>
                <a:srgbClr val="003245"/>
              </a:solidFill>
              <a:latin typeface="Arial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7888167" y="6435725"/>
            <a:ext cx="192698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21BAFD0-094C-4F25-88A8-3E106DF4AB8C}" type="slidenum">
              <a:rPr lang="es-ES" sz="923" smtClean="0">
                <a:solidFill>
                  <a:srgbClr val="003245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ES" sz="923">
              <a:solidFill>
                <a:srgbClr val="003245"/>
              </a:solidFill>
              <a:latin typeface="Arial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7888167" y="6435725"/>
            <a:ext cx="192698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A7D1142-1E9F-4133-A381-2FCBEF2BA8E4}" type="slidenum">
              <a:rPr lang="es-ES" sz="923" smtClean="0">
                <a:solidFill>
                  <a:srgbClr val="003245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ES" sz="923">
              <a:solidFill>
                <a:srgbClr val="003245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4774423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8725035-02C1-4A54-9D82-A0CDB277A844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71339792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lefónica - Titular dos 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 flipH="1">
            <a:off x="-1" y="0"/>
            <a:ext cx="8417169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n-US" dirty="0">
              <a:sym typeface="Trebuchet MS" pitchFamily="34" charset="0"/>
            </a:endParaRP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8460432" y="304661"/>
            <a:ext cx="4827925" cy="227306"/>
          </a:xfrm>
          <a:prstGeom prst="rect">
            <a:avLst/>
          </a:prstGeom>
        </p:spPr>
        <p:txBody>
          <a:bodyPr wrap="none" anchor="ctr"/>
          <a:lstStyle>
            <a:lvl1pPr marL="293084" indent="0">
              <a:buNone/>
              <a:defRPr/>
            </a:lvl1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4425950" y="6464300"/>
            <a:ext cx="279400" cy="292100"/>
          </a:xfrm>
          <a:prstGeom prst="rect">
            <a:avLst/>
          </a:prstGeom>
        </p:spPr>
        <p:txBody>
          <a:bodyPr wrap="none"/>
          <a:lstStyle>
            <a:lvl1pPr algn="ctr">
              <a:spcBef>
                <a:spcPts val="462"/>
              </a:spcBef>
              <a:buClr>
                <a:srgbClr val="69A7BE"/>
              </a:buClr>
              <a:buSzPct val="179000"/>
              <a:buFont typeface="Arial" pitchFamily="34" charset="0"/>
              <a:buNone/>
              <a:defRPr sz="923" b="0">
                <a:solidFill>
                  <a:srgbClr val="003F52"/>
                </a:solidFill>
                <a:latin typeface="Trebuchet MS" panose="020B0603020202020204" pitchFamily="34" charset="0"/>
                <a:ea typeface="+mn-ea"/>
                <a:cs typeface="+mn-cs"/>
                <a:sym typeface="Wingdings" pitchFamily="2" charset="2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76791B2F-9C92-479D-AC60-324AA8889A64}" type="slidenum">
              <a:rPr lang="en-US"/>
              <a:pPr fontAlgn="base">
                <a:spcAft>
                  <a:spcPct val="0"/>
                </a:spcAft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137737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lefónica - Titular dos 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 flipH="1">
            <a:off x="-1" y="0"/>
            <a:ext cx="8417169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n-US" dirty="0">
              <a:sym typeface="Trebuchet MS" pitchFamily="34" charset="0"/>
            </a:endParaRP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8460432" y="304661"/>
            <a:ext cx="4827925" cy="227306"/>
          </a:xfrm>
          <a:prstGeom prst="rect">
            <a:avLst/>
          </a:prstGeom>
        </p:spPr>
        <p:txBody>
          <a:bodyPr wrap="none" anchor="ctr"/>
          <a:lstStyle>
            <a:lvl1pPr marL="293084" indent="0">
              <a:buNone/>
              <a:defRPr/>
            </a:lvl1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4425950" y="6464300"/>
            <a:ext cx="279400" cy="292100"/>
          </a:xfrm>
          <a:prstGeom prst="rect">
            <a:avLst/>
          </a:prstGeom>
        </p:spPr>
        <p:txBody>
          <a:bodyPr wrap="none"/>
          <a:lstStyle>
            <a:lvl1pPr algn="ctr">
              <a:spcBef>
                <a:spcPts val="462"/>
              </a:spcBef>
              <a:buClr>
                <a:srgbClr val="69A7BE"/>
              </a:buClr>
              <a:buSzPct val="179000"/>
              <a:buFont typeface="Arial" pitchFamily="34" charset="0"/>
              <a:buNone/>
              <a:defRPr sz="923" b="0">
                <a:solidFill>
                  <a:srgbClr val="003F52"/>
                </a:solidFill>
                <a:latin typeface="Trebuchet MS" panose="020B0603020202020204" pitchFamily="34" charset="0"/>
                <a:ea typeface="+mn-ea"/>
                <a:cs typeface="+mn-cs"/>
                <a:sym typeface="Wingdings" pitchFamily="2" charset="2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76791B2F-9C92-479D-AC60-324AA8889A64}" type="slidenum">
              <a:rPr lang="en-US"/>
              <a:pPr fontAlgn="base">
                <a:spcAft>
                  <a:spcPct val="0"/>
                </a:spcAft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58163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elefónica - Titular dos 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 flipH="1">
            <a:off x="-1" y="0"/>
            <a:ext cx="8417169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n-US" dirty="0">
              <a:sym typeface="Trebuchet MS" pitchFamily="34" charset="0"/>
            </a:endParaRP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8460432" y="304661"/>
            <a:ext cx="4827925" cy="227306"/>
          </a:xfrm>
          <a:prstGeom prst="rect">
            <a:avLst/>
          </a:prstGeom>
        </p:spPr>
        <p:txBody>
          <a:bodyPr wrap="none" anchor="ctr"/>
          <a:lstStyle>
            <a:lvl1pPr marL="293084" indent="0">
              <a:buNone/>
              <a:defRPr/>
            </a:lvl1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4425950" y="6464300"/>
            <a:ext cx="279400" cy="292100"/>
          </a:xfrm>
          <a:prstGeom prst="rect">
            <a:avLst/>
          </a:prstGeom>
        </p:spPr>
        <p:txBody>
          <a:bodyPr wrap="none"/>
          <a:lstStyle>
            <a:lvl1pPr algn="ctr">
              <a:spcBef>
                <a:spcPts val="462"/>
              </a:spcBef>
              <a:buClr>
                <a:srgbClr val="69A7BE"/>
              </a:buClr>
              <a:buSzPct val="179000"/>
              <a:buFont typeface="Arial" pitchFamily="34" charset="0"/>
              <a:buNone/>
              <a:defRPr sz="923" b="0">
                <a:solidFill>
                  <a:srgbClr val="003F52"/>
                </a:solidFill>
                <a:latin typeface="Trebuchet MS" panose="020B0603020202020204" pitchFamily="34" charset="0"/>
                <a:ea typeface="+mn-ea"/>
                <a:cs typeface="+mn-cs"/>
                <a:sym typeface="Wingdings" pitchFamily="2" charset="2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76791B2F-9C92-479D-AC60-324AA8889A64}" type="slidenum">
              <a:rPr lang="en-US"/>
              <a:pPr fontAlgn="base">
                <a:spcAft>
                  <a:spcPct val="0"/>
                </a:spcAft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484740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elefónica - Titular dos 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 flipH="1">
            <a:off x="-1" y="0"/>
            <a:ext cx="8417169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n-US" dirty="0">
              <a:sym typeface="Trebuchet MS" pitchFamily="34" charset="0"/>
            </a:endParaRP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8460432" y="304661"/>
            <a:ext cx="4827925" cy="227306"/>
          </a:xfrm>
          <a:prstGeom prst="rect">
            <a:avLst/>
          </a:prstGeom>
        </p:spPr>
        <p:txBody>
          <a:bodyPr wrap="none" anchor="ctr"/>
          <a:lstStyle>
            <a:lvl1pPr marL="293084" indent="0">
              <a:buNone/>
              <a:defRPr/>
            </a:lvl1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4425950" y="6464300"/>
            <a:ext cx="279400" cy="292100"/>
          </a:xfrm>
          <a:prstGeom prst="rect">
            <a:avLst/>
          </a:prstGeom>
        </p:spPr>
        <p:txBody>
          <a:bodyPr wrap="none"/>
          <a:lstStyle>
            <a:lvl1pPr algn="ctr">
              <a:spcBef>
                <a:spcPts val="462"/>
              </a:spcBef>
              <a:buClr>
                <a:srgbClr val="69A7BE"/>
              </a:buClr>
              <a:buSzPct val="179000"/>
              <a:buFont typeface="Arial" pitchFamily="34" charset="0"/>
              <a:buNone/>
              <a:defRPr sz="923" b="0">
                <a:solidFill>
                  <a:srgbClr val="003F52"/>
                </a:solidFill>
                <a:latin typeface="Trebuchet MS" panose="020B0603020202020204" pitchFamily="34" charset="0"/>
                <a:ea typeface="+mn-ea"/>
                <a:cs typeface="+mn-cs"/>
                <a:sym typeface="Wingdings" pitchFamily="2" charset="2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76791B2F-9C92-479D-AC60-324AA8889A64}" type="slidenum">
              <a:rPr lang="en-US"/>
              <a:pPr fontAlgn="base">
                <a:spcAft>
                  <a:spcPct val="0"/>
                </a:spcAft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9487333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elefónica - Titular dos 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 flipH="1">
            <a:off x="-1" y="0"/>
            <a:ext cx="8417169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n-US" dirty="0">
              <a:sym typeface="Trebuchet MS" pitchFamily="34" charset="0"/>
            </a:endParaRP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8460432" y="304661"/>
            <a:ext cx="4827925" cy="227306"/>
          </a:xfrm>
          <a:prstGeom prst="rect">
            <a:avLst/>
          </a:prstGeom>
        </p:spPr>
        <p:txBody>
          <a:bodyPr wrap="none" anchor="ctr"/>
          <a:lstStyle>
            <a:lvl1pPr marL="293084" indent="0">
              <a:buNone/>
              <a:defRPr/>
            </a:lvl1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4425950" y="6464300"/>
            <a:ext cx="279400" cy="292100"/>
          </a:xfrm>
          <a:prstGeom prst="rect">
            <a:avLst/>
          </a:prstGeom>
        </p:spPr>
        <p:txBody>
          <a:bodyPr wrap="none"/>
          <a:lstStyle>
            <a:lvl1pPr algn="ctr">
              <a:spcBef>
                <a:spcPts val="462"/>
              </a:spcBef>
              <a:buClr>
                <a:srgbClr val="69A7BE"/>
              </a:buClr>
              <a:buSzPct val="179000"/>
              <a:buFont typeface="Arial" pitchFamily="34" charset="0"/>
              <a:buNone/>
              <a:defRPr sz="923" b="0">
                <a:solidFill>
                  <a:srgbClr val="003F52"/>
                </a:solidFill>
                <a:latin typeface="Trebuchet MS" panose="020B0603020202020204" pitchFamily="34" charset="0"/>
                <a:ea typeface="+mn-ea"/>
                <a:cs typeface="+mn-cs"/>
                <a:sym typeface="Wingdings" pitchFamily="2" charset="2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76791B2F-9C92-479D-AC60-324AA8889A64}" type="slidenum">
              <a:rPr lang="en-US"/>
              <a:pPr fontAlgn="base">
                <a:spcAft>
                  <a:spcPct val="0"/>
                </a:spcAft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597350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elefónica - Titular dos 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 flipH="1">
            <a:off x="-1" y="0"/>
            <a:ext cx="8417169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n-US" dirty="0">
              <a:sym typeface="Trebuchet MS" pitchFamily="34" charset="0"/>
            </a:endParaRP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8460432" y="304661"/>
            <a:ext cx="4827925" cy="227306"/>
          </a:xfrm>
          <a:prstGeom prst="rect">
            <a:avLst/>
          </a:prstGeom>
        </p:spPr>
        <p:txBody>
          <a:bodyPr wrap="none" anchor="ctr"/>
          <a:lstStyle>
            <a:lvl1pPr marL="293084" indent="0">
              <a:buNone/>
              <a:defRPr/>
            </a:lvl1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4425950" y="6464300"/>
            <a:ext cx="279400" cy="292100"/>
          </a:xfrm>
          <a:prstGeom prst="rect">
            <a:avLst/>
          </a:prstGeom>
        </p:spPr>
        <p:txBody>
          <a:bodyPr wrap="none"/>
          <a:lstStyle>
            <a:lvl1pPr algn="ctr">
              <a:spcBef>
                <a:spcPts val="462"/>
              </a:spcBef>
              <a:buClr>
                <a:srgbClr val="69A7BE"/>
              </a:buClr>
              <a:buSzPct val="179000"/>
              <a:buFont typeface="Arial" pitchFamily="34" charset="0"/>
              <a:buNone/>
              <a:defRPr sz="923" b="0">
                <a:solidFill>
                  <a:srgbClr val="003F52"/>
                </a:solidFill>
                <a:latin typeface="Trebuchet MS" panose="020B0603020202020204" pitchFamily="34" charset="0"/>
                <a:ea typeface="+mn-ea"/>
                <a:cs typeface="+mn-cs"/>
                <a:sym typeface="Wingdings" pitchFamily="2" charset="2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76791B2F-9C92-479D-AC60-324AA8889A64}" type="slidenum">
              <a:rPr lang="en-US"/>
              <a:pPr fontAlgn="base">
                <a:spcAft>
                  <a:spcPct val="0"/>
                </a:spcAft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229537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elefónica - Titular dos 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 flipH="1">
            <a:off x="-1" y="0"/>
            <a:ext cx="8417169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lvl="0"/>
            <a:r>
              <a:rPr lang="en-GB" dirty="0" smtClean="0"/>
              <a:t>Titular de la </a:t>
            </a:r>
            <a:r>
              <a:rPr lang="en-GB" dirty="0" err="1" smtClean="0"/>
              <a:t>diapositiva</a:t>
            </a:r>
            <a:r>
              <a:rPr lang="en-GB" dirty="0" smtClean="0"/>
              <a:t> (24 </a:t>
            </a:r>
            <a:r>
              <a:rPr lang="en-GB" dirty="0" err="1" smtClean="0"/>
              <a:t>puntos</a:t>
            </a:r>
            <a:r>
              <a:rPr lang="en-GB" dirty="0" smtClean="0"/>
              <a:t> – 1 </a:t>
            </a:r>
            <a:r>
              <a:rPr lang="en-GB" dirty="0" err="1" smtClean="0"/>
              <a:t>línea</a:t>
            </a:r>
            <a:r>
              <a:rPr lang="en-GB" dirty="0" smtClean="0"/>
              <a:t>)</a:t>
            </a:r>
            <a:endParaRPr lang="en-US" sz="2215" dirty="0">
              <a:solidFill>
                <a:srgbClr val="072534"/>
              </a:solidFill>
              <a:latin typeface="Trebuchet MS" pitchFamily="34" charset="0"/>
              <a:ea typeface="ヒラギノ角ゴ Pro W3" charset="-128"/>
              <a:sym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22970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2"/>
          <p:cNvSpPr txBox="1">
            <a:spLocks noGrp="1" noChangeArrowheads="1"/>
          </p:cNvSpPr>
          <p:nvPr>
            <p:ph type="sldNum" sz="quarter" idx="4"/>
          </p:nvPr>
        </p:nvSpPr>
        <p:spPr bwMode="auto">
          <a:xfrm>
            <a:off x="4425112" y="6464175"/>
            <a:ext cx="279017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923">
                <a:solidFill>
                  <a:srgbClr val="072534"/>
                </a:solidFill>
                <a:latin typeface="Trebuchet MS" pitchFamily="34" charset="0"/>
                <a:ea typeface="ヒラギノ角ゴ ProN W3" pitchFamily="122" charset="-128"/>
                <a:sym typeface="Trebuchet MS" pitchFamily="34" charset="0"/>
              </a:defRPr>
            </a:lvl1pPr>
            <a:lvl2pPr marL="685817" indent="-263776" eaLnBrk="0" hangingPunct="0">
              <a:defRPr sz="2585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2pPr>
            <a:lvl3pPr marL="1055103" indent="-211021" eaLnBrk="0" hangingPunct="0">
              <a:defRPr sz="2585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3pPr>
            <a:lvl4pPr marL="1477145" indent="-211021" eaLnBrk="0" hangingPunct="0">
              <a:defRPr sz="2585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4pPr>
            <a:lvl5pPr marL="1899186" indent="-211021" eaLnBrk="0" hangingPunct="0">
              <a:defRPr sz="2585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5pPr>
            <a:lvl6pPr marL="2321227" indent="-211021" algn="ctr" eaLnBrk="0" fontAlgn="base" hangingPunct="0">
              <a:spcBef>
                <a:spcPct val="0"/>
              </a:spcBef>
              <a:spcAft>
                <a:spcPct val="0"/>
              </a:spcAft>
              <a:defRPr sz="2585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6pPr>
            <a:lvl7pPr marL="2743269" indent="-211021" algn="ctr" eaLnBrk="0" fontAlgn="base" hangingPunct="0">
              <a:spcBef>
                <a:spcPct val="0"/>
              </a:spcBef>
              <a:spcAft>
                <a:spcPct val="0"/>
              </a:spcAft>
              <a:defRPr sz="2585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7pPr>
            <a:lvl8pPr marL="3165310" indent="-211021" algn="ctr" eaLnBrk="0" fontAlgn="base" hangingPunct="0">
              <a:spcBef>
                <a:spcPct val="0"/>
              </a:spcBef>
              <a:spcAft>
                <a:spcPct val="0"/>
              </a:spcAft>
              <a:defRPr sz="2585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8pPr>
            <a:lvl9pPr marL="3587351" indent="-211021" algn="ctr" eaLnBrk="0" fontAlgn="base" hangingPunct="0">
              <a:spcBef>
                <a:spcPct val="0"/>
              </a:spcBef>
              <a:spcAft>
                <a:spcPct val="0"/>
              </a:spcAft>
              <a:defRPr sz="2585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D9F8B9A-560A-470D-9EA6-79F5999904E6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GB"/>
          </a:p>
        </p:txBody>
      </p:sp>
      <p:sp>
        <p:nvSpPr>
          <p:cNvPr id="3" name="Rectangle 13"/>
          <p:cNvSpPr>
            <a:spLocks/>
          </p:cNvSpPr>
          <p:nvPr userDrawn="1"/>
        </p:nvSpPr>
        <p:spPr bwMode="auto">
          <a:xfrm rot="10800000">
            <a:off x="7163050" y="6332538"/>
            <a:ext cx="864426" cy="49212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477">
              <a:solidFill>
                <a:srgbClr val="003245"/>
              </a:solidFill>
              <a:latin typeface="Arial" charset="0"/>
            </a:endParaRPr>
          </a:p>
        </p:txBody>
      </p:sp>
      <p:sp>
        <p:nvSpPr>
          <p:cNvPr id="4" name="Rectangle 14"/>
          <p:cNvSpPr>
            <a:spLocks/>
          </p:cNvSpPr>
          <p:nvPr userDrawn="1"/>
        </p:nvSpPr>
        <p:spPr bwMode="auto">
          <a:xfrm rot="10800000">
            <a:off x="6267827" y="6332538"/>
            <a:ext cx="895194" cy="49212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477">
              <a:solidFill>
                <a:srgbClr val="003245"/>
              </a:solidFill>
              <a:latin typeface="Arial" charset="0"/>
            </a:endParaRPr>
          </a:p>
        </p:txBody>
      </p:sp>
      <p:sp>
        <p:nvSpPr>
          <p:cNvPr id="5" name="Rectangle 15"/>
          <p:cNvSpPr>
            <a:spLocks/>
          </p:cNvSpPr>
          <p:nvPr userDrawn="1"/>
        </p:nvSpPr>
        <p:spPr bwMode="auto">
          <a:xfrm rot="10800000">
            <a:off x="-5834" y="6332538"/>
            <a:ext cx="6273688" cy="49212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477">
              <a:solidFill>
                <a:srgbClr val="003245"/>
              </a:solidFill>
              <a:latin typeface="Arial" charset="0"/>
            </a:endParaRPr>
          </a:p>
        </p:txBody>
      </p:sp>
      <p:sp>
        <p:nvSpPr>
          <p:cNvPr id="6" name="Rectangle 4"/>
          <p:cNvSpPr>
            <a:spLocks/>
          </p:cNvSpPr>
          <p:nvPr userDrawn="1"/>
        </p:nvSpPr>
        <p:spPr bwMode="auto">
          <a:xfrm>
            <a:off x="8415714" y="56"/>
            <a:ext cx="65932" cy="836613"/>
          </a:xfrm>
          <a:prstGeom prst="rect">
            <a:avLst/>
          </a:prstGeom>
          <a:solidFill>
            <a:srgbClr val="003B45"/>
          </a:solidFill>
          <a:ln>
            <a:noFill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477">
              <a:solidFill>
                <a:srgbClr val="003245"/>
              </a:solidFill>
              <a:latin typeface="Arial" charset="0"/>
            </a:endParaRPr>
          </a:p>
        </p:txBody>
      </p:sp>
      <p:grpSp>
        <p:nvGrpSpPr>
          <p:cNvPr id="7" name="Agrupar 13"/>
          <p:cNvGrpSpPr>
            <a:grpSpLocks/>
          </p:cNvGrpSpPr>
          <p:nvPr userDrawn="1"/>
        </p:nvGrpSpPr>
        <p:grpSpPr bwMode="auto">
          <a:xfrm flipH="1">
            <a:off x="-5856" y="836613"/>
            <a:ext cx="9142412" cy="49212"/>
            <a:chOff x="-6350" y="6332112"/>
            <a:chExt cx="9906000" cy="49216"/>
          </a:xfrm>
        </p:grpSpPr>
        <p:sp>
          <p:nvSpPr>
            <p:cNvPr id="8" name="Rectangle 13"/>
            <p:cNvSpPr>
              <a:spLocks/>
            </p:cNvSpPr>
            <p:nvPr userDrawn="1"/>
          </p:nvSpPr>
          <p:spPr bwMode="auto">
            <a:xfrm rot="10800000">
              <a:off x="7761312" y="6332112"/>
              <a:ext cx="936102" cy="49215"/>
            </a:xfrm>
            <a:prstGeom prst="rect">
              <a:avLst/>
            </a:prstGeom>
            <a:solidFill>
              <a:srgbClr val="15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477">
                <a:solidFill>
                  <a:srgbClr val="003245"/>
                </a:solidFill>
                <a:latin typeface="Arial" charset="0"/>
              </a:endParaRPr>
            </a:p>
          </p:txBody>
        </p:sp>
        <p:sp>
          <p:nvSpPr>
            <p:cNvPr id="9" name="Rectangle 12"/>
            <p:cNvSpPr>
              <a:spLocks/>
            </p:cNvSpPr>
            <p:nvPr userDrawn="1"/>
          </p:nvSpPr>
          <p:spPr bwMode="auto">
            <a:xfrm rot="10800000">
              <a:off x="8682892" y="6332114"/>
              <a:ext cx="1216758" cy="49148"/>
            </a:xfrm>
            <a:prstGeom prst="rect">
              <a:avLst/>
            </a:prstGeom>
            <a:solidFill>
              <a:srgbClr val="1153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477">
                <a:solidFill>
                  <a:srgbClr val="003245"/>
                </a:solidFill>
                <a:latin typeface="Arial" charset="0"/>
              </a:endParaRPr>
            </a:p>
          </p:txBody>
        </p:sp>
        <p:sp>
          <p:nvSpPr>
            <p:cNvPr id="10" name="Rectangle 14"/>
            <p:cNvSpPr>
              <a:spLocks/>
            </p:cNvSpPr>
            <p:nvPr userDrawn="1"/>
          </p:nvSpPr>
          <p:spPr bwMode="auto">
            <a:xfrm rot="10800000">
              <a:off x="6791568" y="6332112"/>
              <a:ext cx="969744" cy="49215"/>
            </a:xfrm>
            <a:prstGeom prst="rect">
              <a:avLst/>
            </a:prstGeom>
            <a:solidFill>
              <a:srgbClr val="1C8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477">
                <a:solidFill>
                  <a:srgbClr val="003245"/>
                </a:solidFill>
                <a:latin typeface="Arial" charset="0"/>
              </a:endParaRPr>
            </a:p>
          </p:txBody>
        </p:sp>
        <p:sp>
          <p:nvSpPr>
            <p:cNvPr id="11" name="Rectangle 15"/>
            <p:cNvSpPr>
              <a:spLocks/>
            </p:cNvSpPr>
            <p:nvPr userDrawn="1"/>
          </p:nvSpPr>
          <p:spPr bwMode="auto">
            <a:xfrm rot="10800000">
              <a:off x="-6350" y="6332115"/>
              <a:ext cx="6797675" cy="49213"/>
            </a:xfrm>
            <a:prstGeom prst="rect">
              <a:avLst/>
            </a:prstGeom>
            <a:solidFill>
              <a:srgbClr val="29C6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477">
                <a:solidFill>
                  <a:srgbClr val="003245"/>
                </a:solidFill>
                <a:latin typeface="Arial" charset="0"/>
              </a:endParaRPr>
            </a:p>
          </p:txBody>
        </p:sp>
      </p:grpSp>
      <p:sp>
        <p:nvSpPr>
          <p:cNvPr id="18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3666" y="6356398"/>
            <a:ext cx="28950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>
              <a:solidFill>
                <a:srgbClr val="003245">
                  <a:tint val="75000"/>
                </a:srgbClr>
              </a:solidFill>
              <a:latin typeface="Arial" charset="0"/>
            </a:endParaRPr>
          </a:p>
        </p:txBody>
      </p:sp>
      <p:sp>
        <p:nvSpPr>
          <p:cNvPr id="19" name="Rectangle 12"/>
          <p:cNvSpPr>
            <a:spLocks/>
          </p:cNvSpPr>
          <p:nvPr userDrawn="1"/>
        </p:nvSpPr>
        <p:spPr bwMode="auto">
          <a:xfrm rot="10800000">
            <a:off x="8015687" y="6332538"/>
            <a:ext cx="1122485" cy="49212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 sz="1477">
              <a:solidFill>
                <a:srgbClr val="003245"/>
              </a:solidFill>
              <a:latin typeface="Arial" charset="0"/>
            </a:endParaRPr>
          </a:p>
        </p:txBody>
      </p:sp>
      <p:sp>
        <p:nvSpPr>
          <p:cNvPr id="20" name="AutoShape 5"/>
          <p:cNvSpPr>
            <a:spLocks/>
          </p:cNvSpPr>
          <p:nvPr userDrawn="1"/>
        </p:nvSpPr>
        <p:spPr bwMode="auto">
          <a:xfrm>
            <a:off x="8028868" y="6502400"/>
            <a:ext cx="830873" cy="249238"/>
          </a:xfrm>
          <a:custGeom>
            <a:avLst/>
            <a:gdLst>
              <a:gd name="T0" fmla="*/ 0 w 21600"/>
              <a:gd name="T1" fmla="*/ 892206852 h 21600"/>
              <a:gd name="T2" fmla="*/ 2147483647 w 21600"/>
              <a:gd name="T3" fmla="*/ 141473318 h 21600"/>
              <a:gd name="T4" fmla="*/ 2147483647 w 21600"/>
              <a:gd name="T5" fmla="*/ 96575026 h 21600"/>
              <a:gd name="T6" fmla="*/ 2147483647 w 21600"/>
              <a:gd name="T7" fmla="*/ 275193756 h 21600"/>
              <a:gd name="T8" fmla="*/ 2147483647 w 21600"/>
              <a:gd name="T9" fmla="*/ 59300706 h 21600"/>
              <a:gd name="T10" fmla="*/ 2147483647 w 21600"/>
              <a:gd name="T11" fmla="*/ 702363606 h 21600"/>
              <a:gd name="T12" fmla="*/ 2147483647 w 21600"/>
              <a:gd name="T13" fmla="*/ 341566847 h 21600"/>
              <a:gd name="T14" fmla="*/ 2147483647 w 21600"/>
              <a:gd name="T15" fmla="*/ 6989884 h 21600"/>
              <a:gd name="T16" fmla="*/ 2147483647 w 21600"/>
              <a:gd name="T17" fmla="*/ 12835521 h 21600"/>
              <a:gd name="T18" fmla="*/ 2147483647 w 21600"/>
              <a:gd name="T19" fmla="*/ 406713202 h 21600"/>
              <a:gd name="T20" fmla="*/ 2147483647 w 21600"/>
              <a:gd name="T21" fmla="*/ 446866336 h 21600"/>
              <a:gd name="T22" fmla="*/ 2147483647 w 21600"/>
              <a:gd name="T23" fmla="*/ 193528986 h 21600"/>
              <a:gd name="T24" fmla="*/ 2147483647 w 21600"/>
              <a:gd name="T25" fmla="*/ 592022721 h 21600"/>
              <a:gd name="T26" fmla="*/ 2147483647 w 21600"/>
              <a:gd name="T27" fmla="*/ 635735349 h 21600"/>
              <a:gd name="T28" fmla="*/ 2147483647 w 21600"/>
              <a:gd name="T29" fmla="*/ 421156883 h 21600"/>
              <a:gd name="T30" fmla="*/ 2147483647 w 21600"/>
              <a:gd name="T31" fmla="*/ 88484663 h 21600"/>
              <a:gd name="T32" fmla="*/ 2147483647 w 21600"/>
              <a:gd name="T33" fmla="*/ 232540374 h 21600"/>
              <a:gd name="T34" fmla="*/ 2147483647 w 21600"/>
              <a:gd name="T35" fmla="*/ 232540374 h 21600"/>
              <a:gd name="T36" fmla="*/ 2147483647 w 21600"/>
              <a:gd name="T37" fmla="*/ 528997692 h 21600"/>
              <a:gd name="T38" fmla="*/ 2147483647 w 21600"/>
              <a:gd name="T39" fmla="*/ 523871306 h 21600"/>
              <a:gd name="T40" fmla="*/ 2147483647 w 21600"/>
              <a:gd name="T41" fmla="*/ 493754362 h 21600"/>
              <a:gd name="T42" fmla="*/ 2147483647 w 21600"/>
              <a:gd name="T43" fmla="*/ 631585869 h 21600"/>
              <a:gd name="T44" fmla="*/ 2147483647 w 21600"/>
              <a:gd name="T45" fmla="*/ 201322939 h 21600"/>
              <a:gd name="T46" fmla="*/ 2147483647 w 21600"/>
              <a:gd name="T47" fmla="*/ 482658754 h 21600"/>
              <a:gd name="T48" fmla="*/ 2147483647 w 21600"/>
              <a:gd name="T49" fmla="*/ 231014554 h 21600"/>
              <a:gd name="T50" fmla="*/ 2147483647 w 21600"/>
              <a:gd name="T51" fmla="*/ 318228550 h 21600"/>
              <a:gd name="T52" fmla="*/ 2147483647 w 21600"/>
              <a:gd name="T53" fmla="*/ 277015998 h 21600"/>
              <a:gd name="T54" fmla="*/ 2147483647 w 21600"/>
              <a:gd name="T55" fmla="*/ 522811888 h 21600"/>
              <a:gd name="T56" fmla="*/ 2147483647 w 21600"/>
              <a:gd name="T57" fmla="*/ 219323441 h 21600"/>
              <a:gd name="T58" fmla="*/ 2147483647 w 21600"/>
              <a:gd name="T59" fmla="*/ 536451489 h 21600"/>
              <a:gd name="T60" fmla="*/ 2147483647 w 21600"/>
              <a:gd name="T61" fmla="*/ 359611267 h 21600"/>
              <a:gd name="T62" fmla="*/ 2147483647 w 21600"/>
              <a:gd name="T63" fmla="*/ 245035739 h 21600"/>
              <a:gd name="T64" fmla="*/ 2147483647 w 21600"/>
              <a:gd name="T65" fmla="*/ 482658754 h 21600"/>
              <a:gd name="T66" fmla="*/ 2147483647 w 21600"/>
              <a:gd name="T67" fmla="*/ 710539155 h 21600"/>
              <a:gd name="T68" fmla="*/ 2147483647 w 21600"/>
              <a:gd name="T69" fmla="*/ 238512269 h 21600"/>
              <a:gd name="T70" fmla="*/ 2147483647 w 21600"/>
              <a:gd name="T71" fmla="*/ 386550130 h 21600"/>
              <a:gd name="T72" fmla="*/ 2147483647 w 21600"/>
              <a:gd name="T73" fmla="*/ 290400434 h 21600"/>
              <a:gd name="T74" fmla="*/ 2147483647 w 21600"/>
              <a:gd name="T75" fmla="*/ 415056069 h 21600"/>
              <a:gd name="T76" fmla="*/ 2147483647 w 21600"/>
              <a:gd name="T77" fmla="*/ 544753284 h 21600"/>
              <a:gd name="T78" fmla="*/ 2147483647 w 21600"/>
              <a:gd name="T79" fmla="*/ 589991905 h 21600"/>
              <a:gd name="T80" fmla="*/ 2147483647 w 21600"/>
              <a:gd name="T81" fmla="*/ 201067773 h 21600"/>
              <a:gd name="T82" fmla="*/ 2147483647 w 21600"/>
              <a:gd name="T83" fmla="*/ 231736294 h 21600"/>
              <a:gd name="T84" fmla="*/ 2147483647 w 21600"/>
              <a:gd name="T85" fmla="*/ 241690339 h 21600"/>
              <a:gd name="T86" fmla="*/ 2147483647 w 21600"/>
              <a:gd name="T87" fmla="*/ 501633500 h 21600"/>
              <a:gd name="T88" fmla="*/ 2147483647 w 21600"/>
              <a:gd name="T89" fmla="*/ 202171109 h 21600"/>
              <a:gd name="T90" fmla="*/ 2147483647 w 21600"/>
              <a:gd name="T91" fmla="*/ 34859246 h 21600"/>
              <a:gd name="T92" fmla="*/ 2147483647 w 21600"/>
              <a:gd name="T93" fmla="*/ 161040897 h 21600"/>
              <a:gd name="T94" fmla="*/ 2147483647 w 21600"/>
              <a:gd name="T95" fmla="*/ 209369568 h 21600"/>
              <a:gd name="T96" fmla="*/ 2147483647 w 21600"/>
              <a:gd name="T97" fmla="*/ 245966066 h 21600"/>
              <a:gd name="T98" fmla="*/ 2147483647 w 21600"/>
              <a:gd name="T99" fmla="*/ 501592243 h 21600"/>
              <a:gd name="T100" fmla="*/ 2147483647 w 21600"/>
              <a:gd name="T101" fmla="*/ 239486513 h 21600"/>
              <a:gd name="T102" fmla="*/ 2147483647 w 21600"/>
              <a:gd name="T103" fmla="*/ 497651349 h 21600"/>
              <a:gd name="T104" fmla="*/ 2147483647 w 21600"/>
              <a:gd name="T105" fmla="*/ 415522655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477">
              <a:solidFill>
                <a:srgbClr val="003245"/>
              </a:solidFill>
              <a:latin typeface="Arial" charset="0"/>
            </a:endParaRPr>
          </a:p>
        </p:txBody>
      </p:sp>
      <p:sp>
        <p:nvSpPr>
          <p:cNvPr id="28" name="27 Marcador de texto"/>
          <p:cNvSpPr>
            <a:spLocks noGrp="1"/>
          </p:cNvSpPr>
          <p:nvPr>
            <p:ph type="body" idx="10"/>
          </p:nvPr>
        </p:nvSpPr>
        <p:spPr>
          <a:xfrm>
            <a:off x="1588" y="1589"/>
            <a:ext cx="1588" cy="20457523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27" name="26 Marcador de texto"/>
          <p:cNvSpPr>
            <a:spLocks noGrp="1"/>
          </p:cNvSpPr>
          <p:nvPr>
            <p:ph type="body" sz="quarter" idx="11"/>
          </p:nvPr>
        </p:nvSpPr>
        <p:spPr>
          <a:xfrm>
            <a:off x="1588" y="1589"/>
            <a:ext cx="1588" cy="2045752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389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3"/>
          <p:cNvSpPr>
            <a:spLocks/>
          </p:cNvSpPr>
          <p:nvPr userDrawn="1"/>
        </p:nvSpPr>
        <p:spPr bwMode="auto">
          <a:xfrm rot="10800000">
            <a:off x="7162800" y="6332538"/>
            <a:ext cx="865188" cy="49212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altLang="en-US" sz="1477" smtClean="0">
              <a:solidFill>
                <a:srgbClr val="123E51"/>
              </a:solidFill>
              <a:latin typeface="TheSansCorrespondence" pitchFamily="34" charset="0"/>
              <a:cs typeface="Arial" pitchFamily="34" charset="0"/>
            </a:endParaRPr>
          </a:p>
        </p:txBody>
      </p:sp>
      <p:sp>
        <p:nvSpPr>
          <p:cNvPr id="5" name="Rectangle 14"/>
          <p:cNvSpPr>
            <a:spLocks/>
          </p:cNvSpPr>
          <p:nvPr userDrawn="1"/>
        </p:nvSpPr>
        <p:spPr bwMode="auto">
          <a:xfrm rot="10800000">
            <a:off x="6267451" y="6332538"/>
            <a:ext cx="895350" cy="49212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altLang="en-US" sz="1477" smtClean="0">
              <a:solidFill>
                <a:srgbClr val="123E51"/>
              </a:solidFill>
              <a:latin typeface="TheSansCorrespondence" pitchFamily="34" charset="0"/>
              <a:cs typeface="Arial" pitchFamily="34" charset="0"/>
            </a:endParaRPr>
          </a:p>
        </p:txBody>
      </p:sp>
      <p:sp>
        <p:nvSpPr>
          <p:cNvPr id="6" name="Rectangle 15"/>
          <p:cNvSpPr>
            <a:spLocks/>
          </p:cNvSpPr>
          <p:nvPr userDrawn="1"/>
        </p:nvSpPr>
        <p:spPr bwMode="auto">
          <a:xfrm rot="10800000">
            <a:off x="-6346" y="6332538"/>
            <a:ext cx="6273800" cy="49212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altLang="en-US" sz="1477" smtClean="0">
              <a:solidFill>
                <a:srgbClr val="123E51"/>
              </a:solidFill>
              <a:latin typeface="TheSansCorrespondence" pitchFamily="34" charset="0"/>
              <a:cs typeface="Arial" pitchFamily="34" charset="0"/>
            </a:endParaRPr>
          </a:p>
        </p:txBody>
      </p:sp>
      <p:sp>
        <p:nvSpPr>
          <p:cNvPr id="7" name="Rectangle 4"/>
          <p:cNvSpPr>
            <a:spLocks/>
          </p:cNvSpPr>
          <p:nvPr userDrawn="1"/>
        </p:nvSpPr>
        <p:spPr bwMode="auto">
          <a:xfrm>
            <a:off x="8415440" y="2"/>
            <a:ext cx="66676" cy="836613"/>
          </a:xfrm>
          <a:prstGeom prst="rect">
            <a:avLst/>
          </a:prstGeom>
          <a:solidFill>
            <a:srgbClr val="003B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altLang="en-US" sz="1477" smtClean="0">
              <a:solidFill>
                <a:srgbClr val="123E51"/>
              </a:solidFill>
              <a:latin typeface="TheSansCorrespondence" pitchFamily="34" charset="0"/>
              <a:cs typeface="Arial" pitchFamily="34" charset="0"/>
            </a:endParaRPr>
          </a:p>
        </p:txBody>
      </p:sp>
      <p:grpSp>
        <p:nvGrpSpPr>
          <p:cNvPr id="8" name="Agrupar 13"/>
          <p:cNvGrpSpPr>
            <a:grpSpLocks/>
          </p:cNvGrpSpPr>
          <p:nvPr userDrawn="1"/>
        </p:nvGrpSpPr>
        <p:grpSpPr bwMode="auto">
          <a:xfrm flipH="1">
            <a:off x="-6343" y="836613"/>
            <a:ext cx="9142413" cy="49212"/>
            <a:chOff x="-6350" y="6332112"/>
            <a:chExt cx="9906000" cy="49216"/>
          </a:xfrm>
        </p:grpSpPr>
        <p:sp>
          <p:nvSpPr>
            <p:cNvPr id="9" name="Rectangle 13"/>
            <p:cNvSpPr>
              <a:spLocks/>
            </p:cNvSpPr>
            <p:nvPr userDrawn="1"/>
          </p:nvSpPr>
          <p:spPr bwMode="auto">
            <a:xfrm rot="10800000">
              <a:off x="7761312" y="6332112"/>
              <a:ext cx="936102" cy="49215"/>
            </a:xfrm>
            <a:prstGeom prst="rect">
              <a:avLst/>
            </a:prstGeom>
            <a:solidFill>
              <a:srgbClr val="15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altLang="en-US" sz="1477" smtClean="0">
                <a:solidFill>
                  <a:srgbClr val="123E51"/>
                </a:solidFill>
                <a:latin typeface="TheSansCorrespondence" pitchFamily="34" charset="0"/>
                <a:cs typeface="Arial" pitchFamily="34" charset="0"/>
              </a:endParaRPr>
            </a:p>
          </p:txBody>
        </p:sp>
        <p:sp>
          <p:nvSpPr>
            <p:cNvPr id="10" name="Rectangle 12"/>
            <p:cNvSpPr>
              <a:spLocks/>
            </p:cNvSpPr>
            <p:nvPr userDrawn="1"/>
          </p:nvSpPr>
          <p:spPr bwMode="auto">
            <a:xfrm rot="10800000">
              <a:off x="8682892" y="6332114"/>
              <a:ext cx="1216758" cy="49148"/>
            </a:xfrm>
            <a:prstGeom prst="rect">
              <a:avLst/>
            </a:prstGeom>
            <a:solidFill>
              <a:srgbClr val="1153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altLang="en-US" sz="1477" smtClean="0">
                <a:solidFill>
                  <a:srgbClr val="123E51"/>
                </a:solidFill>
                <a:latin typeface="TheSansCorrespondence" pitchFamily="34" charset="0"/>
                <a:cs typeface="Arial" pitchFamily="34" charset="0"/>
              </a:endParaRPr>
            </a:p>
          </p:txBody>
        </p:sp>
        <p:sp>
          <p:nvSpPr>
            <p:cNvPr id="11" name="Rectangle 14"/>
            <p:cNvSpPr>
              <a:spLocks/>
            </p:cNvSpPr>
            <p:nvPr userDrawn="1"/>
          </p:nvSpPr>
          <p:spPr bwMode="auto">
            <a:xfrm rot="10800000">
              <a:off x="6791568" y="6332112"/>
              <a:ext cx="969744" cy="49215"/>
            </a:xfrm>
            <a:prstGeom prst="rect">
              <a:avLst/>
            </a:prstGeom>
            <a:solidFill>
              <a:srgbClr val="1C8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altLang="en-US" sz="1477" smtClean="0">
                <a:solidFill>
                  <a:srgbClr val="123E51"/>
                </a:solidFill>
                <a:latin typeface="TheSansCorrespondence" pitchFamily="34" charset="0"/>
                <a:cs typeface="Arial" pitchFamily="34" charset="0"/>
              </a:endParaRPr>
            </a:p>
          </p:txBody>
        </p:sp>
        <p:sp>
          <p:nvSpPr>
            <p:cNvPr id="12" name="Rectangle 15"/>
            <p:cNvSpPr>
              <a:spLocks/>
            </p:cNvSpPr>
            <p:nvPr userDrawn="1"/>
          </p:nvSpPr>
          <p:spPr bwMode="auto">
            <a:xfrm rot="10800000">
              <a:off x="-6350" y="6332115"/>
              <a:ext cx="6797675" cy="49213"/>
            </a:xfrm>
            <a:prstGeom prst="rect">
              <a:avLst/>
            </a:prstGeom>
            <a:solidFill>
              <a:srgbClr val="29C6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altLang="en-US" sz="1477" smtClean="0">
                <a:solidFill>
                  <a:srgbClr val="123E51"/>
                </a:solidFill>
                <a:latin typeface="TheSansCorrespondence" pitchFamily="34" charset="0"/>
                <a:cs typeface="Arial" pitchFamily="34" charset="0"/>
              </a:endParaRPr>
            </a:p>
          </p:txBody>
        </p:sp>
      </p:grpSp>
      <p:grpSp>
        <p:nvGrpSpPr>
          <p:cNvPr id="13" name="Grupo 1"/>
          <p:cNvGrpSpPr>
            <a:grpSpLocks/>
          </p:cNvGrpSpPr>
          <p:nvPr userDrawn="1"/>
        </p:nvGrpSpPr>
        <p:grpSpPr bwMode="auto">
          <a:xfrm>
            <a:off x="59015" y="6464499"/>
            <a:ext cx="1957587" cy="348072"/>
            <a:chOff x="59135" y="6464175"/>
            <a:chExt cx="1957613" cy="347466"/>
          </a:xfrm>
        </p:grpSpPr>
        <p:grpSp>
          <p:nvGrpSpPr>
            <p:cNvPr id="14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16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62" smtClean="0">
                  <a:solidFill>
                    <a:srgbClr val="123E5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7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62" smtClean="0">
                  <a:solidFill>
                    <a:srgbClr val="123E5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5" name="16 CuadroTexto"/>
            <p:cNvSpPr txBox="1">
              <a:spLocks noChangeArrowheads="1"/>
            </p:cNvSpPr>
            <p:nvPr userDrawn="1"/>
          </p:nvSpPr>
          <p:spPr bwMode="auto">
            <a:xfrm>
              <a:off x="59135" y="6577689"/>
              <a:ext cx="1957613" cy="2339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altLang="en-US" sz="923" i="1" smtClean="0">
                  <a:solidFill>
                    <a:srgbClr val="7C848A"/>
                  </a:solidFill>
                  <a:cs typeface="Arial" pitchFamily="34" charset="0"/>
                </a:rPr>
                <a:t>DISCOVER, DISRUPT, DELIVER</a:t>
              </a:r>
            </a:p>
          </p:txBody>
        </p:sp>
      </p:grpSp>
      <p:sp>
        <p:nvSpPr>
          <p:cNvPr id="18" name="Rectangle 12"/>
          <p:cNvSpPr>
            <a:spLocks/>
          </p:cNvSpPr>
          <p:nvPr userDrawn="1"/>
        </p:nvSpPr>
        <p:spPr bwMode="auto">
          <a:xfrm rot="10800000">
            <a:off x="8015390" y="6332538"/>
            <a:ext cx="1122362" cy="49212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477" smtClean="0">
              <a:solidFill>
                <a:srgbClr val="003245"/>
              </a:solidFill>
              <a:latin typeface="TheSansCorrespondence" pitchFamily="34" charset="0"/>
              <a:cs typeface="Arial" pitchFamily="34" charset="0"/>
            </a:endParaRPr>
          </a:p>
        </p:txBody>
      </p:sp>
      <p:sp>
        <p:nvSpPr>
          <p:cNvPr id="19" name="AutoShape 5"/>
          <p:cNvSpPr>
            <a:spLocks/>
          </p:cNvSpPr>
          <p:nvPr userDrawn="1"/>
        </p:nvSpPr>
        <p:spPr bwMode="auto">
          <a:xfrm>
            <a:off x="8029577" y="6502400"/>
            <a:ext cx="830262" cy="249238"/>
          </a:xfrm>
          <a:custGeom>
            <a:avLst/>
            <a:gdLst>
              <a:gd name="T0" fmla="*/ 0 w 21600"/>
              <a:gd name="T1" fmla="*/ 2147483647 h 21600"/>
              <a:gd name="T2" fmla="*/ 2147483647 w 21600"/>
              <a:gd name="T3" fmla="*/ 1632431798 h 21600"/>
              <a:gd name="T4" fmla="*/ 2147483647 w 21600"/>
              <a:gd name="T5" fmla="*/ 1114359552 h 21600"/>
              <a:gd name="T6" fmla="*/ 2147483647 w 21600"/>
              <a:gd name="T7" fmla="*/ 2147483647 h 21600"/>
              <a:gd name="T8" fmla="*/ 2147483647 w 21600"/>
              <a:gd name="T9" fmla="*/ 684258767 h 21600"/>
              <a:gd name="T10" fmla="*/ 2147483647 w 21600"/>
              <a:gd name="T11" fmla="*/ 2147483647 h 21600"/>
              <a:gd name="T12" fmla="*/ 2147483647 w 21600"/>
              <a:gd name="T13" fmla="*/ 2147483647 h 21600"/>
              <a:gd name="T14" fmla="*/ 2147483647 w 21600"/>
              <a:gd name="T15" fmla="*/ 80654848 h 21600"/>
              <a:gd name="T16" fmla="*/ 2147483647 w 21600"/>
              <a:gd name="T17" fmla="*/ 148106462 h 21600"/>
              <a:gd name="T18" fmla="*/ 2147483647 w 21600"/>
              <a:gd name="T19" fmla="*/ 2147483647 h 21600"/>
              <a:gd name="T20" fmla="*/ 2147483647 w 21600"/>
              <a:gd name="T21" fmla="*/ 2147483647 h 21600"/>
              <a:gd name="T22" fmla="*/ 2147483647 w 21600"/>
              <a:gd name="T23" fmla="*/ 2147483647 h 21600"/>
              <a:gd name="T24" fmla="*/ 2147483647 w 21600"/>
              <a:gd name="T25" fmla="*/ 2147483647 h 21600"/>
              <a:gd name="T26" fmla="*/ 2147483647 w 21600"/>
              <a:gd name="T27" fmla="*/ 2147483647 h 21600"/>
              <a:gd name="T28" fmla="*/ 2147483647 w 21600"/>
              <a:gd name="T29" fmla="*/ 2147483647 h 21600"/>
              <a:gd name="T30" fmla="*/ 2147483647 w 21600"/>
              <a:gd name="T31" fmla="*/ 1021006502 h 21600"/>
              <a:gd name="T32" fmla="*/ 2147483647 w 21600"/>
              <a:gd name="T33" fmla="*/ 2147483647 h 21600"/>
              <a:gd name="T34" fmla="*/ 2147483647 w 21600"/>
              <a:gd name="T35" fmla="*/ 2147483647 h 21600"/>
              <a:gd name="T36" fmla="*/ 2147483647 w 21600"/>
              <a:gd name="T37" fmla="*/ 2147483647 h 21600"/>
              <a:gd name="T38" fmla="*/ 2147483647 w 21600"/>
              <a:gd name="T39" fmla="*/ 2147483647 h 21600"/>
              <a:gd name="T40" fmla="*/ 2147483647 w 21600"/>
              <a:gd name="T41" fmla="*/ 2147483647 h 21600"/>
              <a:gd name="T42" fmla="*/ 2147483647 w 21600"/>
              <a:gd name="T43" fmla="*/ 2147483647 h 21600"/>
              <a:gd name="T44" fmla="*/ 2147483647 w 21600"/>
              <a:gd name="T45" fmla="*/ 2147483647 h 21600"/>
              <a:gd name="T46" fmla="*/ 2147483647 w 21600"/>
              <a:gd name="T47" fmla="*/ 2147483647 h 21600"/>
              <a:gd name="T48" fmla="*/ 2147483647 w 21600"/>
              <a:gd name="T49" fmla="*/ 2147483647 h 21600"/>
              <a:gd name="T50" fmla="*/ 2147483647 w 21600"/>
              <a:gd name="T51" fmla="*/ 2147483647 h 21600"/>
              <a:gd name="T52" fmla="*/ 2147483647 w 21600"/>
              <a:gd name="T53" fmla="*/ 2147483647 h 21600"/>
              <a:gd name="T54" fmla="*/ 2147483647 w 21600"/>
              <a:gd name="T55" fmla="*/ 2147483647 h 21600"/>
              <a:gd name="T56" fmla="*/ 2147483647 w 21600"/>
              <a:gd name="T57" fmla="*/ 2147483647 h 21600"/>
              <a:gd name="T58" fmla="*/ 2147483647 w 21600"/>
              <a:gd name="T59" fmla="*/ 2147483647 h 21600"/>
              <a:gd name="T60" fmla="*/ 2147483647 w 21600"/>
              <a:gd name="T61" fmla="*/ 2147483647 h 21600"/>
              <a:gd name="T62" fmla="*/ 2147483647 w 21600"/>
              <a:gd name="T63" fmla="*/ 2147483647 h 21600"/>
              <a:gd name="T64" fmla="*/ 2147483647 w 21600"/>
              <a:gd name="T65" fmla="*/ 2147483647 h 21600"/>
              <a:gd name="T66" fmla="*/ 2147483647 w 21600"/>
              <a:gd name="T67" fmla="*/ 2147483647 h 21600"/>
              <a:gd name="T68" fmla="*/ 2147483647 w 21600"/>
              <a:gd name="T69" fmla="*/ 2147483647 h 21600"/>
              <a:gd name="T70" fmla="*/ 2147483647 w 21600"/>
              <a:gd name="T71" fmla="*/ 2147483647 h 21600"/>
              <a:gd name="T72" fmla="*/ 2147483647 w 21600"/>
              <a:gd name="T73" fmla="*/ 2147483647 h 21600"/>
              <a:gd name="T74" fmla="*/ 2147483647 w 21600"/>
              <a:gd name="T75" fmla="*/ 2147483647 h 21600"/>
              <a:gd name="T76" fmla="*/ 2147483647 w 21600"/>
              <a:gd name="T77" fmla="*/ 2147483647 h 21600"/>
              <a:gd name="T78" fmla="*/ 2147483647 w 21600"/>
              <a:gd name="T79" fmla="*/ 2147483647 h 21600"/>
              <a:gd name="T80" fmla="*/ 2147483647 w 21600"/>
              <a:gd name="T81" fmla="*/ 2147483647 h 21600"/>
              <a:gd name="T82" fmla="*/ 2147483647 w 21600"/>
              <a:gd name="T83" fmla="*/ 2147483647 h 21600"/>
              <a:gd name="T84" fmla="*/ 2147483647 w 21600"/>
              <a:gd name="T85" fmla="*/ 2147483647 h 21600"/>
              <a:gd name="T86" fmla="*/ 2147483647 w 21600"/>
              <a:gd name="T87" fmla="*/ 2147483647 h 21600"/>
              <a:gd name="T88" fmla="*/ 2147483647 w 21600"/>
              <a:gd name="T89" fmla="*/ 2147483647 h 21600"/>
              <a:gd name="T90" fmla="*/ 2147483647 w 21600"/>
              <a:gd name="T91" fmla="*/ 402233739 h 21600"/>
              <a:gd name="T92" fmla="*/ 2147483647 w 21600"/>
              <a:gd name="T93" fmla="*/ 1858218106 h 21600"/>
              <a:gd name="T94" fmla="*/ 2147483647 w 21600"/>
              <a:gd name="T95" fmla="*/ 2147483647 h 21600"/>
              <a:gd name="T96" fmla="*/ 2147483647 w 21600"/>
              <a:gd name="T97" fmla="*/ 2147483647 h 21600"/>
              <a:gd name="T98" fmla="*/ 2147483647 w 21600"/>
              <a:gd name="T99" fmla="*/ 2147483647 h 21600"/>
              <a:gd name="T100" fmla="*/ 2147483647 w 21600"/>
              <a:gd name="T101" fmla="*/ 2147483647 h 21600"/>
              <a:gd name="T102" fmla="*/ 2147483647 w 21600"/>
              <a:gd name="T103" fmla="*/ 2147483647 h 21600"/>
              <a:gd name="T104" fmla="*/ 2147483647 w 21600"/>
              <a:gd name="T105" fmla="*/ 2147483647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62" smtClean="0">
              <a:solidFill>
                <a:srgbClr val="123E5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7" y="6356561"/>
            <a:ext cx="28940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0" hangingPunct="0">
              <a:defRPr sz="1108" b="1">
                <a:solidFill>
                  <a:srgbClr val="123E51">
                    <a:tint val="75000"/>
                  </a:srgbClr>
                </a:solidFill>
                <a:latin typeface="TheSansCorrespondence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17803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49250" y="1341438"/>
            <a:ext cx="4122738" cy="46132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24388" y="1341438"/>
            <a:ext cx="4122737" cy="46132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29E239D-F856-44F0-891F-45FEF645E88B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02092093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7AF3B51-AA82-442B-B9DB-0400E30248EA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72886299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84C535D-C5BB-4A93-848F-9322547AB895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01954497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0699DAE-5A75-444D-A955-C2D4A12FC9F8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52414069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1982AA6-76D5-48C7-9475-53AE06FCA622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9533878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AR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F41D610-8EBE-45ED-A406-A31CBF6502FB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6873380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tags" Target="../tags/tag2.xml"/><Relationship Id="rId26" Type="http://schemas.openxmlformats.org/officeDocument/2006/relationships/tags" Target="../tags/tag10.xml"/><Relationship Id="rId3" Type="http://schemas.openxmlformats.org/officeDocument/2006/relationships/slideLayout" Target="../slideLayouts/slideLayout27.xml"/><Relationship Id="rId21" Type="http://schemas.openxmlformats.org/officeDocument/2006/relationships/tags" Target="../tags/tag5.xml"/><Relationship Id="rId34" Type="http://schemas.openxmlformats.org/officeDocument/2006/relationships/tags" Target="../tags/tag18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tags" Target="../tags/tag1.xml"/><Relationship Id="rId25" Type="http://schemas.openxmlformats.org/officeDocument/2006/relationships/tags" Target="../tags/tag9.xml"/><Relationship Id="rId33" Type="http://schemas.openxmlformats.org/officeDocument/2006/relationships/tags" Target="../tags/tag17.xml"/><Relationship Id="rId2" Type="http://schemas.openxmlformats.org/officeDocument/2006/relationships/slideLayout" Target="../slideLayouts/slideLayout26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4.xml"/><Relationship Id="rId29" Type="http://schemas.openxmlformats.org/officeDocument/2006/relationships/tags" Target="../tags/tag13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tags" Target="../tags/tag8.xml"/><Relationship Id="rId32" Type="http://schemas.openxmlformats.org/officeDocument/2006/relationships/tags" Target="../tags/tag16.xml"/><Relationship Id="rId37" Type="http://schemas.openxmlformats.org/officeDocument/2006/relationships/image" Target="../media/image3.emf"/><Relationship Id="rId5" Type="http://schemas.openxmlformats.org/officeDocument/2006/relationships/slideLayout" Target="../slideLayouts/slideLayout29.xml"/><Relationship Id="rId15" Type="http://schemas.openxmlformats.org/officeDocument/2006/relationships/theme" Target="../theme/theme11.xml"/><Relationship Id="rId23" Type="http://schemas.openxmlformats.org/officeDocument/2006/relationships/tags" Target="../tags/tag7.xml"/><Relationship Id="rId28" Type="http://schemas.openxmlformats.org/officeDocument/2006/relationships/tags" Target="../tags/tag12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34.xml"/><Relationship Id="rId19" Type="http://schemas.openxmlformats.org/officeDocument/2006/relationships/tags" Target="../tags/tag3.xml"/><Relationship Id="rId31" Type="http://schemas.openxmlformats.org/officeDocument/2006/relationships/tags" Target="../tags/tag15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tags" Target="../tags/tag6.xml"/><Relationship Id="rId27" Type="http://schemas.openxmlformats.org/officeDocument/2006/relationships/tags" Target="../tags/tag11.xml"/><Relationship Id="rId30" Type="http://schemas.openxmlformats.org/officeDocument/2006/relationships/tags" Target="../tags/tag14.xml"/><Relationship Id="rId35" Type="http://schemas.openxmlformats.org/officeDocument/2006/relationships/tags" Target="../tags/tag1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6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7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8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9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heme" Target="../theme/theme9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411163" y="274638"/>
            <a:ext cx="7943850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aga clic para cambiar el estilo de título	</a:t>
            </a:r>
          </a:p>
        </p:txBody>
      </p:sp>
      <p:sp>
        <p:nvSpPr>
          <p:cNvPr id="4099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9250" y="1341438"/>
            <a:ext cx="8397875" cy="461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Haga clic para modificar el estilo de texto del patrón</a:t>
            </a:r>
          </a:p>
          <a:p>
            <a:pPr lvl="1"/>
            <a:r>
              <a:rPr lang="en-US" smtClean="0"/>
              <a:t>Segundo nivel</a:t>
            </a:r>
          </a:p>
          <a:p>
            <a:pPr lvl="2"/>
            <a:r>
              <a:rPr lang="en-US" smtClean="0"/>
              <a:t>Tercer nivel</a:t>
            </a:r>
          </a:p>
          <a:p>
            <a:pPr lvl="3"/>
            <a:r>
              <a:rPr lang="en-US" smtClean="0"/>
              <a:t>Cuarto nivel</a:t>
            </a:r>
          </a:p>
          <a:p>
            <a:pPr lvl="4"/>
            <a:r>
              <a:rPr lang="en-US" smtClean="0"/>
              <a:t>Quinto nivel</a:t>
            </a:r>
          </a:p>
        </p:txBody>
      </p:sp>
      <p:sp>
        <p:nvSpPr>
          <p:cNvPr id="84480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84675" y="6497638"/>
            <a:ext cx="433388" cy="168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 eaLnBrk="0" hangingPunct="0">
              <a:defRPr sz="1100" b="0">
                <a:solidFill>
                  <a:srgbClr val="003F52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FBF5651-232D-4832-983C-91FFF88EC56A}" type="slidenum">
              <a:rPr lang="es-E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s-ES"/>
          </a:p>
        </p:txBody>
      </p:sp>
      <p:sp>
        <p:nvSpPr>
          <p:cNvPr id="844817" name="Line 17"/>
          <p:cNvSpPr>
            <a:spLocks noChangeShapeType="1"/>
          </p:cNvSpPr>
          <p:nvPr/>
        </p:nvSpPr>
        <p:spPr bwMode="auto">
          <a:xfrm>
            <a:off x="0" y="6381750"/>
            <a:ext cx="914400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AR" sz="1200" b="1">
              <a:solidFill>
                <a:srgbClr val="043F52"/>
              </a:solidFill>
              <a:latin typeface="TheSansCorrespondence" pitchFamily="34" charset="0"/>
            </a:endParaRPr>
          </a:p>
        </p:txBody>
      </p:sp>
      <p:pic>
        <p:nvPicPr>
          <p:cNvPr id="4102" name="Imagen 6" descr="TFN_Logo Port_Azul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9400" y="6510338"/>
            <a:ext cx="84772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39793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5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fontAlgn="base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+mj-lt"/>
          <a:ea typeface="+mj-ea"/>
          <a:cs typeface="+mj-cs"/>
        </a:defRPr>
      </a:lvl1pPr>
      <a:lvl2pPr algn="l" defTabSz="457200" rtl="0" fontAlgn="base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2pPr>
      <a:lvl3pPr algn="l" defTabSz="457200" rtl="0" fontAlgn="base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3pPr>
      <a:lvl4pPr algn="l" defTabSz="457200" rtl="0" fontAlgn="base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4pPr>
      <a:lvl5pPr algn="l" defTabSz="457200" rtl="0" fontAlgn="base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9pPr>
    </p:titleStyle>
    <p:bodyStyle>
      <a:lvl1pPr marL="171450" indent="-171450" algn="just" defTabSz="457200" rtl="0" fontAlgn="base">
        <a:spcBef>
          <a:spcPct val="0"/>
        </a:spcBef>
        <a:spcAft>
          <a:spcPts val="600"/>
        </a:spcAft>
        <a:buClr>
          <a:srgbClr val="65C3D4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36575" indent="-185738" algn="just" defTabSz="457200" rtl="0" fontAlgn="base">
        <a:spcBef>
          <a:spcPct val="0"/>
        </a:spcBef>
        <a:spcAft>
          <a:spcPts val="600"/>
        </a:spcAft>
        <a:buSzPct val="150000"/>
        <a:buChar char="•"/>
        <a:defRPr>
          <a:solidFill>
            <a:schemeClr val="tx1"/>
          </a:solidFill>
          <a:latin typeface="+mn-lt"/>
          <a:ea typeface="+mn-ea"/>
        </a:defRPr>
      </a:lvl2pPr>
      <a:lvl3pPr marL="900113" indent="-184150" algn="just" defTabSz="457200" rtl="0" fontAlgn="base">
        <a:spcBef>
          <a:spcPct val="0"/>
        </a:spcBef>
        <a:spcAft>
          <a:spcPts val="600"/>
        </a:spcAft>
        <a:buSzPct val="150000"/>
        <a:buFont typeface="Lucida Grande"/>
        <a:buChar char="›"/>
        <a:defRPr sz="1600">
          <a:solidFill>
            <a:schemeClr val="tx1"/>
          </a:solidFill>
          <a:latin typeface="+mn-lt"/>
          <a:ea typeface="+mn-ea"/>
        </a:defRPr>
      </a:lvl3pPr>
      <a:lvl4pPr marL="1257300" indent="-177800" algn="just" defTabSz="457200" rtl="0" fontAlgn="base">
        <a:spcBef>
          <a:spcPct val="0"/>
        </a:spcBef>
        <a:spcAft>
          <a:spcPts val="600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</a:defRPr>
      </a:lvl4pPr>
      <a:lvl5pPr marL="1614488" indent="-177800" algn="just" defTabSz="457200" rtl="0" fontAlgn="base">
        <a:spcBef>
          <a:spcPct val="0"/>
        </a:spcBef>
        <a:spcAft>
          <a:spcPts val="600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</a:defRPr>
      </a:lvl5pPr>
      <a:lvl6pPr marL="2071688" indent="-177800" algn="just" defTabSz="457200" rtl="0" fontAlgn="base">
        <a:spcBef>
          <a:spcPct val="0"/>
        </a:spcBef>
        <a:spcAft>
          <a:spcPts val="600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</a:defRPr>
      </a:lvl6pPr>
      <a:lvl7pPr marL="2528888" indent="-177800" algn="just" defTabSz="457200" rtl="0" fontAlgn="base">
        <a:spcBef>
          <a:spcPct val="0"/>
        </a:spcBef>
        <a:spcAft>
          <a:spcPts val="600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</a:defRPr>
      </a:lvl7pPr>
      <a:lvl8pPr marL="2986088" indent="-177800" algn="just" defTabSz="457200" rtl="0" fontAlgn="base">
        <a:spcBef>
          <a:spcPct val="0"/>
        </a:spcBef>
        <a:spcAft>
          <a:spcPts val="600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</a:defRPr>
      </a:lvl8pPr>
      <a:lvl9pPr marL="3443288" indent="-177800" algn="just" defTabSz="457200" rtl="0" fontAlgn="base">
        <a:spcBef>
          <a:spcPct val="0"/>
        </a:spcBef>
        <a:spcAft>
          <a:spcPts val="600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s-A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88913"/>
            <a:ext cx="82296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smtClean="0"/>
              <a:t>Haga clic para cambiar el estilo de título	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5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</p:txBody>
      </p:sp>
    </p:spTree>
    <p:extLst>
      <p:ext uri="{BB962C8B-B14F-4D97-AF65-F5344CB8AC3E}">
        <p14:creationId xmlns:p14="http://schemas.microsoft.com/office/powerpoint/2010/main" val="3570374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585">
          <a:solidFill>
            <a:schemeClr val="tx2"/>
          </a:solidFill>
          <a:latin typeface="+mj-lt"/>
          <a:ea typeface="ＭＳ Ｐゴシック" pitchFamily="100" charset="-128"/>
          <a:cs typeface="ＭＳ Ｐゴシック" pitchFamily="100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85">
          <a:solidFill>
            <a:schemeClr val="tx2"/>
          </a:solidFill>
          <a:latin typeface="Arial" pitchFamily="34" charset="0"/>
          <a:ea typeface="ＭＳ Ｐゴシック" pitchFamily="100" charset="-128"/>
          <a:cs typeface="ＭＳ Ｐゴシック" pitchFamily="10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85">
          <a:solidFill>
            <a:schemeClr val="tx2"/>
          </a:solidFill>
          <a:latin typeface="Arial" pitchFamily="34" charset="0"/>
          <a:ea typeface="ＭＳ Ｐゴシック" pitchFamily="100" charset="-128"/>
          <a:cs typeface="ＭＳ Ｐゴシック" pitchFamily="10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85">
          <a:solidFill>
            <a:schemeClr val="tx2"/>
          </a:solidFill>
          <a:latin typeface="Arial" pitchFamily="34" charset="0"/>
          <a:ea typeface="ＭＳ Ｐゴシック" pitchFamily="100" charset="-128"/>
          <a:cs typeface="ＭＳ Ｐゴシック" pitchFamily="10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85">
          <a:solidFill>
            <a:schemeClr val="tx2"/>
          </a:solidFill>
          <a:latin typeface="Arial" pitchFamily="34" charset="0"/>
          <a:ea typeface="ＭＳ Ｐゴシック" pitchFamily="100" charset="-128"/>
          <a:cs typeface="ＭＳ Ｐゴシック" pitchFamily="100" charset="-128"/>
        </a:defRPr>
      </a:lvl5pPr>
      <a:lvl6pPr marL="422041" algn="l" rtl="0" fontAlgn="base">
        <a:spcBef>
          <a:spcPct val="0"/>
        </a:spcBef>
        <a:spcAft>
          <a:spcPct val="0"/>
        </a:spcAft>
        <a:defRPr sz="2585">
          <a:solidFill>
            <a:schemeClr val="tx2"/>
          </a:solidFill>
          <a:latin typeface="Arial" pitchFamily="34" charset="0"/>
        </a:defRPr>
      </a:lvl6pPr>
      <a:lvl7pPr marL="844083" algn="l" rtl="0" fontAlgn="base">
        <a:spcBef>
          <a:spcPct val="0"/>
        </a:spcBef>
        <a:spcAft>
          <a:spcPct val="0"/>
        </a:spcAft>
        <a:defRPr sz="2585">
          <a:solidFill>
            <a:schemeClr val="tx2"/>
          </a:solidFill>
          <a:latin typeface="Arial" pitchFamily="34" charset="0"/>
        </a:defRPr>
      </a:lvl7pPr>
      <a:lvl8pPr marL="1266124" algn="l" rtl="0" fontAlgn="base">
        <a:spcBef>
          <a:spcPct val="0"/>
        </a:spcBef>
        <a:spcAft>
          <a:spcPct val="0"/>
        </a:spcAft>
        <a:defRPr sz="2585">
          <a:solidFill>
            <a:schemeClr val="tx2"/>
          </a:solidFill>
          <a:latin typeface="Arial" pitchFamily="34" charset="0"/>
        </a:defRPr>
      </a:lvl8pPr>
      <a:lvl9pPr marL="1688165" algn="l" rtl="0" fontAlgn="base">
        <a:spcBef>
          <a:spcPct val="0"/>
        </a:spcBef>
        <a:spcAft>
          <a:spcPct val="0"/>
        </a:spcAft>
        <a:defRPr sz="2585">
          <a:solidFill>
            <a:schemeClr val="tx2"/>
          </a:solidFill>
          <a:latin typeface="Arial" pitchFamily="34" charset="0"/>
        </a:defRPr>
      </a:lvl9pPr>
    </p:titleStyle>
    <p:bodyStyle>
      <a:lvl1pPr marL="316531" indent="-316531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200000"/>
        <a:buChar char="•"/>
        <a:defRPr sz="2954">
          <a:solidFill>
            <a:schemeClr val="tx1"/>
          </a:solidFill>
          <a:latin typeface="+mn-lt"/>
          <a:ea typeface="ＭＳ Ｐゴシック" pitchFamily="100" charset="-128"/>
          <a:cs typeface="ＭＳ Ｐゴシック" pitchFamily="100" charset="-128"/>
        </a:defRPr>
      </a:lvl1pPr>
      <a:lvl2pPr marL="685817" indent="-263776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477">
          <a:solidFill>
            <a:schemeClr val="tx1"/>
          </a:solidFill>
          <a:latin typeface="+mn-lt"/>
          <a:ea typeface="ＭＳ Ｐゴシック" pitchFamily="100" charset="-128"/>
        </a:defRPr>
      </a:lvl2pPr>
      <a:lvl3pPr marL="1055103" indent="-211021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292">
          <a:solidFill>
            <a:schemeClr val="tx1"/>
          </a:solidFill>
          <a:latin typeface="+mn-lt"/>
          <a:ea typeface="ＭＳ Ｐゴシック" pitchFamily="100" charset="-128"/>
        </a:defRPr>
      </a:lvl3pPr>
      <a:lvl4pPr marL="1477145" indent="-211021" algn="l" rtl="0" eaLnBrk="0" fontAlgn="base" hangingPunct="0">
        <a:spcBef>
          <a:spcPct val="20000"/>
        </a:spcBef>
        <a:spcAft>
          <a:spcPct val="0"/>
        </a:spcAft>
        <a:buChar char="–"/>
        <a:defRPr sz="1846">
          <a:solidFill>
            <a:schemeClr val="tx1"/>
          </a:solidFill>
          <a:latin typeface="+mn-lt"/>
          <a:ea typeface="ＭＳ Ｐゴシック" pitchFamily="100" charset="-128"/>
        </a:defRPr>
      </a:lvl4pPr>
      <a:lvl5pPr marL="1899186" indent="-211021" algn="l" rtl="0" eaLnBrk="0" fontAlgn="base" hangingPunct="0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  <a:ea typeface="ＭＳ Ｐゴシック" pitchFamily="100" charset="-128"/>
        </a:defRPr>
      </a:lvl5pPr>
      <a:lvl6pPr marL="2321227" indent="-211021" algn="l" rtl="0" fontAlgn="base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6pPr>
      <a:lvl7pPr marL="2743269" indent="-211021" algn="l" rtl="0" fontAlgn="base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7pPr>
      <a:lvl8pPr marL="3165310" indent="-211021" algn="l" rtl="0" fontAlgn="base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8pPr>
      <a:lvl9pPr marL="3587351" indent="-211021" algn="l" rtl="0" fontAlgn="base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7"/>
            </p:custDataLst>
            <p:extLst/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" name="think-cell Slide" r:id="rId36" imgW="360" imgH="360" progId="">
                  <p:embed/>
                </p:oleObj>
              </mc:Choice>
              <mc:Fallback>
                <p:oleObj name="think-cell Slide" r:id="rId36" imgW="360" imgH="360" progId="">
                  <p:embed/>
                  <p:pic>
                    <p:nvPicPr>
                      <p:cNvPr id="0" name="Picture 70"/>
                      <p:cNvPicPr>
                        <a:picLocks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71843" y="1984479"/>
            <a:ext cx="1801775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54" smtClean="0">
                <a:solidFill>
                  <a:srgbClr val="003245"/>
                </a:solidFill>
                <a:latin typeface="Trebuchet MS"/>
              </a:rPr>
              <a:t>Last Modified 09/10/2014 13:24 Romance Standard Time</a:t>
            </a:r>
            <a:endParaRPr lang="en-US" sz="1477" smtClean="0">
              <a:solidFill>
                <a:srgbClr val="003245"/>
              </a:solidFill>
              <a:latin typeface="Trebuchet M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67223" y="4202461"/>
            <a:ext cx="1611018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54" smtClean="0">
                <a:solidFill>
                  <a:srgbClr val="003245"/>
                </a:solidFill>
                <a:latin typeface="Trebuchet MS"/>
              </a:rPr>
              <a:t>Printed 09/10/2014 12:41 Romance Standard Time</a:t>
            </a:r>
            <a:endParaRPr lang="en-US" sz="1477" smtClean="0">
              <a:solidFill>
                <a:srgbClr val="003245"/>
              </a:solidFill>
              <a:latin typeface="Trebuchet M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6" y="2779570"/>
            <a:ext cx="4389768" cy="227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0542" y="247873"/>
            <a:ext cx="8172407" cy="340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0542" y="104"/>
            <a:ext cx="573875" cy="170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8" smtClean="0">
                <a:solidFill>
                  <a:srgbClr val="808080"/>
                </a:solidFill>
              </a:rPr>
              <a:t>TRACKER</a:t>
            </a:r>
            <a:endParaRPr lang="en-US" sz="1108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0542" y="899524"/>
            <a:ext cx="4397056" cy="2273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77" smtClean="0">
                <a:solidFill>
                  <a:srgbClr val="808080"/>
                </a:solidFill>
                <a:latin typeface="Trebuchet MS"/>
              </a:rPr>
              <a:t>Unit of measure</a:t>
            </a:r>
          </a:p>
        </p:txBody>
      </p:sp>
      <p:grpSp>
        <p:nvGrpSpPr>
          <p:cNvPr id="5" name="McK Slide Elements" hidden="1"/>
          <p:cNvGrpSpPr/>
          <p:nvPr/>
        </p:nvGrpSpPr>
        <p:grpSpPr bwMode="auto">
          <a:xfrm>
            <a:off x="140537" y="6459225"/>
            <a:ext cx="8719180" cy="323719"/>
            <a:chOff x="140537" y="5973835"/>
            <a:chExt cx="8719180" cy="32371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40538" y="5973835"/>
              <a:ext cx="8719179" cy="1420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23" smtClean="0">
                  <a:solidFill>
                    <a:srgbClr val="003245"/>
                  </a:solidFill>
                  <a:latin typeface="Trebuchet MS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40537" y="6155527"/>
              <a:ext cx="8719179" cy="1420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29369" indent="-429369" defTabSz="843276" fontAlgn="base">
                <a:spcBef>
                  <a:spcPct val="0"/>
                </a:spcBef>
                <a:spcAft>
                  <a:spcPct val="0"/>
                </a:spcAft>
                <a:tabLst>
                  <a:tab pos="435231" algn="l"/>
                </a:tabLst>
              </a:pPr>
              <a:r>
                <a:rPr lang="en-US" sz="923" smtClean="0">
                  <a:solidFill>
                    <a:srgbClr val="003245"/>
                  </a:solidFill>
                </a:rPr>
                <a:t>SOURCE: Source</a:t>
              </a:r>
              <a:endParaRPr lang="en-US" sz="923">
                <a:solidFill>
                  <a:srgbClr val="003245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6" y="1974485"/>
            <a:ext cx="4389768" cy="472965"/>
            <a:chOff x="915" y="738"/>
            <a:chExt cx="2686" cy="29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38"/>
              <a:ext cx="2686" cy="29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77" b="1" smtClean="0">
                  <a:solidFill>
                    <a:srgbClr val="003245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77" smtClean="0">
                  <a:solidFill>
                    <a:srgbClr val="808080"/>
                  </a:solidFill>
                </a:rPr>
                <a:t>Unit of measure</a:t>
              </a:r>
              <a:endParaRPr lang="en-US" sz="1477">
                <a:solidFill>
                  <a:srgbClr val="808080"/>
                </a:solidFill>
              </a:endParaRPr>
            </a:p>
          </p:txBody>
        </p:sp>
      </p:grpSp>
      <p:sp>
        <p:nvSpPr>
          <p:cNvPr id="29" name="Rectangle 13"/>
          <p:cNvSpPr>
            <a:spLocks/>
          </p:cNvSpPr>
          <p:nvPr/>
        </p:nvSpPr>
        <p:spPr bwMode="auto">
          <a:xfrm rot="10800000">
            <a:off x="7164298" y="6332538"/>
            <a:ext cx="864577" cy="49212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defRPr/>
            </a:pPr>
            <a:endParaRPr lang="en-US" sz="1662" kern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30" name="Rectangle 12"/>
          <p:cNvSpPr>
            <a:spLocks/>
          </p:cNvSpPr>
          <p:nvPr/>
        </p:nvSpPr>
        <p:spPr bwMode="auto">
          <a:xfrm rot="10800000">
            <a:off x="8024478" y="6332538"/>
            <a:ext cx="1122485" cy="49212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defRPr/>
            </a:pPr>
            <a:endParaRPr lang="en-US" sz="1662" kern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31" name="Rectangle 14"/>
          <p:cNvSpPr>
            <a:spLocks/>
          </p:cNvSpPr>
          <p:nvPr/>
        </p:nvSpPr>
        <p:spPr bwMode="auto">
          <a:xfrm rot="10800000">
            <a:off x="6268916" y="6332538"/>
            <a:ext cx="895350" cy="49212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defRPr/>
            </a:pPr>
            <a:endParaRPr lang="en-US" sz="1662" kern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32" name="Rectangle 15"/>
          <p:cNvSpPr>
            <a:spLocks/>
          </p:cNvSpPr>
          <p:nvPr/>
        </p:nvSpPr>
        <p:spPr bwMode="auto">
          <a:xfrm rot="10800000">
            <a:off x="-5852" y="6332538"/>
            <a:ext cx="6274777" cy="49212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defRPr/>
            </a:pPr>
            <a:endParaRPr lang="en-US" sz="1662" kern="0">
              <a:solidFill>
                <a:sysClr val="windowText" lastClr="000000"/>
              </a:solidFill>
              <a:latin typeface="Arial" charset="0"/>
            </a:endParaRPr>
          </a:p>
        </p:txBody>
      </p:sp>
      <p:grpSp>
        <p:nvGrpSpPr>
          <p:cNvPr id="34" name="Agrupar 13"/>
          <p:cNvGrpSpPr>
            <a:grpSpLocks/>
          </p:cNvGrpSpPr>
          <p:nvPr/>
        </p:nvGrpSpPr>
        <p:grpSpPr bwMode="auto">
          <a:xfrm flipH="1">
            <a:off x="-5862" y="836613"/>
            <a:ext cx="9144000" cy="49212"/>
            <a:chOff x="-6350" y="6332112"/>
            <a:chExt cx="9906000" cy="49216"/>
          </a:xfrm>
        </p:grpSpPr>
        <p:sp>
          <p:nvSpPr>
            <p:cNvPr id="35" name="Rectangle 13"/>
            <p:cNvSpPr>
              <a:spLocks/>
            </p:cNvSpPr>
            <p:nvPr userDrawn="1"/>
          </p:nvSpPr>
          <p:spPr bwMode="auto">
            <a:xfrm rot="10800000">
              <a:off x="7761312" y="6332112"/>
              <a:ext cx="936102" cy="49215"/>
            </a:xfrm>
            <a:prstGeom prst="rect">
              <a:avLst/>
            </a:prstGeom>
            <a:solidFill>
              <a:srgbClr val="15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>
                <a:defRPr/>
              </a:pPr>
              <a:endParaRPr lang="en-US" sz="1662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36" name="Rectangle 12"/>
            <p:cNvSpPr>
              <a:spLocks/>
            </p:cNvSpPr>
            <p:nvPr userDrawn="1"/>
          </p:nvSpPr>
          <p:spPr bwMode="auto">
            <a:xfrm rot="10800000">
              <a:off x="8682892" y="6332114"/>
              <a:ext cx="1216758" cy="49148"/>
            </a:xfrm>
            <a:prstGeom prst="rect">
              <a:avLst/>
            </a:prstGeom>
            <a:solidFill>
              <a:srgbClr val="1153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>
                <a:defRPr/>
              </a:pPr>
              <a:endParaRPr lang="en-US" sz="1662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37" name="Rectangle 14"/>
            <p:cNvSpPr>
              <a:spLocks/>
            </p:cNvSpPr>
            <p:nvPr userDrawn="1"/>
          </p:nvSpPr>
          <p:spPr bwMode="auto">
            <a:xfrm rot="10800000">
              <a:off x="6791568" y="6332112"/>
              <a:ext cx="969744" cy="49215"/>
            </a:xfrm>
            <a:prstGeom prst="rect">
              <a:avLst/>
            </a:prstGeom>
            <a:solidFill>
              <a:srgbClr val="1C8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>
                <a:defRPr/>
              </a:pPr>
              <a:endParaRPr lang="en-US" sz="1662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38" name="Rectangle 15"/>
            <p:cNvSpPr>
              <a:spLocks/>
            </p:cNvSpPr>
            <p:nvPr userDrawn="1"/>
          </p:nvSpPr>
          <p:spPr bwMode="auto">
            <a:xfrm rot="10800000">
              <a:off x="-6350" y="6332115"/>
              <a:ext cx="6797675" cy="49213"/>
            </a:xfrm>
            <a:prstGeom prst="rect">
              <a:avLst/>
            </a:prstGeom>
            <a:solidFill>
              <a:srgbClr val="29C6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>
                <a:defRPr/>
              </a:pPr>
              <a:endParaRPr lang="en-US" sz="1662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</p:grpSp>
      <p:sp>
        <p:nvSpPr>
          <p:cNvPr id="50" name="AutoShape 5"/>
          <p:cNvSpPr>
            <a:spLocks/>
          </p:cNvSpPr>
          <p:nvPr/>
        </p:nvSpPr>
        <p:spPr bwMode="auto">
          <a:xfrm>
            <a:off x="8028844" y="6502400"/>
            <a:ext cx="830873" cy="249238"/>
          </a:xfrm>
          <a:custGeom>
            <a:avLst/>
            <a:gdLst>
              <a:gd name="T0" fmla="*/ 0 w 21600"/>
              <a:gd name="T1" fmla="*/ 892206852 h 21600"/>
              <a:gd name="T2" fmla="*/ 2147483647 w 21600"/>
              <a:gd name="T3" fmla="*/ 141473318 h 21600"/>
              <a:gd name="T4" fmla="*/ 2147483647 w 21600"/>
              <a:gd name="T5" fmla="*/ 96575026 h 21600"/>
              <a:gd name="T6" fmla="*/ 2147483647 w 21600"/>
              <a:gd name="T7" fmla="*/ 275193756 h 21600"/>
              <a:gd name="T8" fmla="*/ 2147483647 w 21600"/>
              <a:gd name="T9" fmla="*/ 59300706 h 21600"/>
              <a:gd name="T10" fmla="*/ 2147483647 w 21600"/>
              <a:gd name="T11" fmla="*/ 702363606 h 21600"/>
              <a:gd name="T12" fmla="*/ 2147483647 w 21600"/>
              <a:gd name="T13" fmla="*/ 341566847 h 21600"/>
              <a:gd name="T14" fmla="*/ 2147483647 w 21600"/>
              <a:gd name="T15" fmla="*/ 6989884 h 21600"/>
              <a:gd name="T16" fmla="*/ 2147483647 w 21600"/>
              <a:gd name="T17" fmla="*/ 12835521 h 21600"/>
              <a:gd name="T18" fmla="*/ 2147483647 w 21600"/>
              <a:gd name="T19" fmla="*/ 406713202 h 21600"/>
              <a:gd name="T20" fmla="*/ 2147483647 w 21600"/>
              <a:gd name="T21" fmla="*/ 446866336 h 21600"/>
              <a:gd name="T22" fmla="*/ 2147483647 w 21600"/>
              <a:gd name="T23" fmla="*/ 193528986 h 21600"/>
              <a:gd name="T24" fmla="*/ 2147483647 w 21600"/>
              <a:gd name="T25" fmla="*/ 592022721 h 21600"/>
              <a:gd name="T26" fmla="*/ 2147483647 w 21600"/>
              <a:gd name="T27" fmla="*/ 635735349 h 21600"/>
              <a:gd name="T28" fmla="*/ 2147483647 w 21600"/>
              <a:gd name="T29" fmla="*/ 421156883 h 21600"/>
              <a:gd name="T30" fmla="*/ 2147483647 w 21600"/>
              <a:gd name="T31" fmla="*/ 88484663 h 21600"/>
              <a:gd name="T32" fmla="*/ 2147483647 w 21600"/>
              <a:gd name="T33" fmla="*/ 232540374 h 21600"/>
              <a:gd name="T34" fmla="*/ 2147483647 w 21600"/>
              <a:gd name="T35" fmla="*/ 232540374 h 21600"/>
              <a:gd name="T36" fmla="*/ 2147483647 w 21600"/>
              <a:gd name="T37" fmla="*/ 528997692 h 21600"/>
              <a:gd name="T38" fmla="*/ 2147483647 w 21600"/>
              <a:gd name="T39" fmla="*/ 523871306 h 21600"/>
              <a:gd name="T40" fmla="*/ 2147483647 w 21600"/>
              <a:gd name="T41" fmla="*/ 493754362 h 21600"/>
              <a:gd name="T42" fmla="*/ 2147483647 w 21600"/>
              <a:gd name="T43" fmla="*/ 631585869 h 21600"/>
              <a:gd name="T44" fmla="*/ 2147483647 w 21600"/>
              <a:gd name="T45" fmla="*/ 201322939 h 21600"/>
              <a:gd name="T46" fmla="*/ 2147483647 w 21600"/>
              <a:gd name="T47" fmla="*/ 482658754 h 21600"/>
              <a:gd name="T48" fmla="*/ 2147483647 w 21600"/>
              <a:gd name="T49" fmla="*/ 231014554 h 21600"/>
              <a:gd name="T50" fmla="*/ 2147483647 w 21600"/>
              <a:gd name="T51" fmla="*/ 318228550 h 21600"/>
              <a:gd name="T52" fmla="*/ 2147483647 w 21600"/>
              <a:gd name="T53" fmla="*/ 277015998 h 21600"/>
              <a:gd name="T54" fmla="*/ 2147483647 w 21600"/>
              <a:gd name="T55" fmla="*/ 522811888 h 21600"/>
              <a:gd name="T56" fmla="*/ 2147483647 w 21600"/>
              <a:gd name="T57" fmla="*/ 219323441 h 21600"/>
              <a:gd name="T58" fmla="*/ 2147483647 w 21600"/>
              <a:gd name="T59" fmla="*/ 536451489 h 21600"/>
              <a:gd name="T60" fmla="*/ 2147483647 w 21600"/>
              <a:gd name="T61" fmla="*/ 359611267 h 21600"/>
              <a:gd name="T62" fmla="*/ 2147483647 w 21600"/>
              <a:gd name="T63" fmla="*/ 245035739 h 21600"/>
              <a:gd name="T64" fmla="*/ 2147483647 w 21600"/>
              <a:gd name="T65" fmla="*/ 482658754 h 21600"/>
              <a:gd name="T66" fmla="*/ 2147483647 w 21600"/>
              <a:gd name="T67" fmla="*/ 710539155 h 21600"/>
              <a:gd name="T68" fmla="*/ 2147483647 w 21600"/>
              <a:gd name="T69" fmla="*/ 238512269 h 21600"/>
              <a:gd name="T70" fmla="*/ 2147483647 w 21600"/>
              <a:gd name="T71" fmla="*/ 386550130 h 21600"/>
              <a:gd name="T72" fmla="*/ 2147483647 w 21600"/>
              <a:gd name="T73" fmla="*/ 290400434 h 21600"/>
              <a:gd name="T74" fmla="*/ 2147483647 w 21600"/>
              <a:gd name="T75" fmla="*/ 415056069 h 21600"/>
              <a:gd name="T76" fmla="*/ 2147483647 w 21600"/>
              <a:gd name="T77" fmla="*/ 544753284 h 21600"/>
              <a:gd name="T78" fmla="*/ 2147483647 w 21600"/>
              <a:gd name="T79" fmla="*/ 589991905 h 21600"/>
              <a:gd name="T80" fmla="*/ 2147483647 w 21600"/>
              <a:gd name="T81" fmla="*/ 201067773 h 21600"/>
              <a:gd name="T82" fmla="*/ 2147483647 w 21600"/>
              <a:gd name="T83" fmla="*/ 231736294 h 21600"/>
              <a:gd name="T84" fmla="*/ 2147483647 w 21600"/>
              <a:gd name="T85" fmla="*/ 241690339 h 21600"/>
              <a:gd name="T86" fmla="*/ 2147483647 w 21600"/>
              <a:gd name="T87" fmla="*/ 501633500 h 21600"/>
              <a:gd name="T88" fmla="*/ 2147483647 w 21600"/>
              <a:gd name="T89" fmla="*/ 202171109 h 21600"/>
              <a:gd name="T90" fmla="*/ 2147483647 w 21600"/>
              <a:gd name="T91" fmla="*/ 34859246 h 21600"/>
              <a:gd name="T92" fmla="*/ 2147483647 w 21600"/>
              <a:gd name="T93" fmla="*/ 161040897 h 21600"/>
              <a:gd name="T94" fmla="*/ 2147483647 w 21600"/>
              <a:gd name="T95" fmla="*/ 209369568 h 21600"/>
              <a:gd name="T96" fmla="*/ 2147483647 w 21600"/>
              <a:gd name="T97" fmla="*/ 245966066 h 21600"/>
              <a:gd name="T98" fmla="*/ 2147483647 w 21600"/>
              <a:gd name="T99" fmla="*/ 501592243 h 21600"/>
              <a:gd name="T100" fmla="*/ 2147483647 w 21600"/>
              <a:gd name="T101" fmla="*/ 239486513 h 21600"/>
              <a:gd name="T102" fmla="*/ 2147483647 w 21600"/>
              <a:gd name="T103" fmla="*/ 497651349 h 21600"/>
              <a:gd name="T104" fmla="*/ 2147483647 w 21600"/>
              <a:gd name="T105" fmla="*/ 415522655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>
              <a:defRPr/>
            </a:pPr>
            <a:endParaRPr lang="en-US" sz="1662" kern="0">
              <a:solidFill>
                <a:sysClr val="windowText" lastClr="000000"/>
              </a:solidFill>
              <a:latin typeface="Arial" charset="0"/>
            </a:endParaRPr>
          </a:p>
        </p:txBody>
      </p:sp>
      <p:grpSp>
        <p:nvGrpSpPr>
          <p:cNvPr id="56" name="LegendBoxes" hidden="1"/>
          <p:cNvGrpSpPr>
            <a:grpSpLocks/>
          </p:cNvGrpSpPr>
          <p:nvPr/>
        </p:nvGrpSpPr>
        <p:grpSpPr bwMode="auto">
          <a:xfrm>
            <a:off x="8092050" y="952927"/>
            <a:ext cx="706438" cy="984251"/>
            <a:chOff x="4936" y="176"/>
            <a:chExt cx="445" cy="620"/>
          </a:xfrm>
        </p:grpSpPr>
        <p:sp>
          <p:nvSpPr>
            <p:cNvPr id="5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 fontAlgn="base">
                <a:spcBef>
                  <a:spcPct val="0"/>
                </a:spcBef>
                <a:spcAft>
                  <a:spcPct val="0"/>
                </a:spcAft>
                <a:buClr>
                  <a:srgbClr val="003245"/>
                </a:buClr>
              </a:pPr>
              <a:r>
                <a:rPr lang="en-US" sz="1108" smtClean="0">
                  <a:solidFill>
                    <a:srgbClr val="003245"/>
                  </a:solidFill>
                </a:rPr>
                <a:t>Legend</a:t>
              </a:r>
              <a:endParaRPr lang="en-US" sz="1108">
                <a:solidFill>
                  <a:srgbClr val="003245"/>
                </a:solidFill>
              </a:endParaRPr>
            </a:p>
          </p:txBody>
        </p:sp>
        <p:sp>
          <p:nvSpPr>
            <p:cNvPr id="5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108">
                <a:solidFill>
                  <a:srgbClr val="003245"/>
                </a:solidFill>
              </a:endParaRPr>
            </a:p>
          </p:txBody>
        </p:sp>
        <p:sp>
          <p:nvSpPr>
            <p:cNvPr id="5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 fontAlgn="base">
                <a:spcBef>
                  <a:spcPct val="0"/>
                </a:spcBef>
                <a:spcAft>
                  <a:spcPct val="0"/>
                </a:spcAft>
                <a:buClr>
                  <a:srgbClr val="003245"/>
                </a:buClr>
              </a:pPr>
              <a:r>
                <a:rPr lang="en-US" sz="1108" smtClean="0">
                  <a:solidFill>
                    <a:srgbClr val="003245"/>
                  </a:solidFill>
                </a:rPr>
                <a:t>Legend</a:t>
              </a:r>
              <a:endParaRPr lang="en-US" sz="1108">
                <a:solidFill>
                  <a:srgbClr val="003245"/>
                </a:solidFill>
              </a:endParaRPr>
            </a:p>
          </p:txBody>
        </p:sp>
        <p:sp>
          <p:nvSpPr>
            <p:cNvPr id="6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108">
                <a:solidFill>
                  <a:srgbClr val="003245"/>
                </a:solidFill>
              </a:endParaRPr>
            </a:p>
          </p:txBody>
        </p:sp>
        <p:sp>
          <p:nvSpPr>
            <p:cNvPr id="6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 fontAlgn="base">
                <a:spcBef>
                  <a:spcPct val="0"/>
                </a:spcBef>
                <a:spcAft>
                  <a:spcPct val="0"/>
                </a:spcAft>
                <a:buClr>
                  <a:srgbClr val="003245"/>
                </a:buClr>
              </a:pPr>
              <a:r>
                <a:rPr lang="en-US" sz="1108" smtClean="0">
                  <a:solidFill>
                    <a:srgbClr val="003245"/>
                  </a:solidFill>
                </a:rPr>
                <a:t>Legend</a:t>
              </a:r>
              <a:endParaRPr lang="en-US" sz="1108">
                <a:solidFill>
                  <a:srgbClr val="003245"/>
                </a:solidFill>
              </a:endParaRPr>
            </a:p>
          </p:txBody>
        </p:sp>
        <p:sp>
          <p:nvSpPr>
            <p:cNvPr id="6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108">
                <a:solidFill>
                  <a:srgbClr val="003245"/>
                </a:solidFill>
              </a:endParaRPr>
            </a:p>
          </p:txBody>
        </p:sp>
        <p:sp>
          <p:nvSpPr>
            <p:cNvPr id="6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 fontAlgn="base">
                <a:spcBef>
                  <a:spcPct val="0"/>
                </a:spcBef>
                <a:spcAft>
                  <a:spcPct val="0"/>
                </a:spcAft>
                <a:buClr>
                  <a:srgbClr val="003245"/>
                </a:buClr>
              </a:pPr>
              <a:r>
                <a:rPr lang="en-US" sz="1108" smtClean="0">
                  <a:solidFill>
                    <a:srgbClr val="003245"/>
                  </a:solidFill>
                </a:rPr>
                <a:t>Legend</a:t>
              </a:r>
              <a:endParaRPr lang="en-US" sz="1108">
                <a:solidFill>
                  <a:srgbClr val="003245"/>
                </a:solidFill>
              </a:endParaRPr>
            </a:p>
          </p:txBody>
        </p:sp>
        <p:sp>
          <p:nvSpPr>
            <p:cNvPr id="6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108">
                <a:solidFill>
                  <a:srgbClr val="003245"/>
                </a:solidFill>
              </a:endParaRPr>
            </a:p>
          </p:txBody>
        </p:sp>
      </p:grpSp>
      <p:grpSp>
        <p:nvGrpSpPr>
          <p:cNvPr id="65" name="LegendLines" hidden="1"/>
          <p:cNvGrpSpPr>
            <a:grpSpLocks/>
          </p:cNvGrpSpPr>
          <p:nvPr/>
        </p:nvGrpSpPr>
        <p:grpSpPr bwMode="auto">
          <a:xfrm>
            <a:off x="7784075" y="952921"/>
            <a:ext cx="1014413" cy="715963"/>
            <a:chOff x="4750" y="176"/>
            <a:chExt cx="639" cy="451"/>
          </a:xfrm>
        </p:grpSpPr>
        <p:sp>
          <p:nvSpPr>
            <p:cNvPr id="6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108">
                <a:solidFill>
                  <a:srgbClr val="003245"/>
                </a:solidFill>
              </a:endParaRPr>
            </a:p>
          </p:txBody>
        </p:sp>
        <p:sp>
          <p:nvSpPr>
            <p:cNvPr id="6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108">
                <a:solidFill>
                  <a:srgbClr val="003245"/>
                </a:solidFill>
              </a:endParaRPr>
            </a:p>
          </p:txBody>
        </p:sp>
        <p:sp>
          <p:nvSpPr>
            <p:cNvPr id="6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108">
                <a:solidFill>
                  <a:srgbClr val="003245"/>
                </a:solidFill>
              </a:endParaRPr>
            </a:p>
          </p:txBody>
        </p: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 fontAlgn="base">
                <a:spcBef>
                  <a:spcPct val="0"/>
                </a:spcBef>
                <a:spcAft>
                  <a:spcPct val="0"/>
                </a:spcAft>
                <a:buClr>
                  <a:srgbClr val="003245"/>
                </a:buClr>
              </a:pPr>
              <a:r>
                <a:rPr lang="en-US" sz="1108" smtClean="0">
                  <a:solidFill>
                    <a:srgbClr val="003245"/>
                  </a:solidFill>
                </a:rPr>
                <a:t>Legend</a:t>
              </a:r>
              <a:endParaRPr lang="en-US" sz="1108">
                <a:solidFill>
                  <a:srgbClr val="003245"/>
                </a:solidFill>
              </a:endParaRP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 fontAlgn="base">
                <a:spcBef>
                  <a:spcPct val="0"/>
                </a:spcBef>
                <a:spcAft>
                  <a:spcPct val="0"/>
                </a:spcAft>
                <a:buClr>
                  <a:srgbClr val="003245"/>
                </a:buClr>
              </a:pPr>
              <a:r>
                <a:rPr lang="en-US" sz="1108" smtClean="0">
                  <a:solidFill>
                    <a:srgbClr val="003245"/>
                  </a:solidFill>
                </a:rPr>
                <a:t>Legend</a:t>
              </a:r>
              <a:endParaRPr lang="en-US" sz="1108">
                <a:solidFill>
                  <a:srgbClr val="003245"/>
                </a:solidFill>
              </a:endParaRP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5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 fontAlgn="base">
                <a:spcBef>
                  <a:spcPct val="0"/>
                </a:spcBef>
                <a:spcAft>
                  <a:spcPct val="0"/>
                </a:spcAft>
                <a:buClr>
                  <a:srgbClr val="003245"/>
                </a:buClr>
              </a:pPr>
              <a:r>
                <a:rPr lang="en-US" sz="1108" smtClean="0">
                  <a:solidFill>
                    <a:srgbClr val="003245"/>
                  </a:solidFill>
                </a:rPr>
                <a:t>Legend</a:t>
              </a:r>
              <a:endParaRPr lang="en-US" sz="1108">
                <a:solidFill>
                  <a:srgbClr val="003245"/>
                </a:solidFill>
              </a:endParaRPr>
            </a:p>
          </p:txBody>
        </p:sp>
      </p:grpSp>
      <p:grpSp>
        <p:nvGrpSpPr>
          <p:cNvPr id="72" name="McKSticker" hidden="1"/>
          <p:cNvGrpSpPr/>
          <p:nvPr/>
        </p:nvGrpSpPr>
        <p:grpSpPr bwMode="auto">
          <a:xfrm>
            <a:off x="7997575" y="952920"/>
            <a:ext cx="858056" cy="198196"/>
            <a:chOff x="7882719" y="285750"/>
            <a:chExt cx="858056" cy="198196"/>
          </a:xfrm>
        </p:grpSpPr>
        <p:sp>
          <p:nvSpPr>
            <p:cNvPr id="73" name="StickerRectangle"/>
            <p:cNvSpPr>
              <a:spLocks noChangeArrowheads="1"/>
            </p:cNvSpPr>
            <p:nvPr/>
          </p:nvSpPr>
          <p:spPr bwMode="auto">
            <a:xfrm>
              <a:off x="7882719" y="285750"/>
              <a:ext cx="858056" cy="198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26498" fontAlgn="base">
                <a:spcBef>
                  <a:spcPct val="0"/>
                </a:spcBef>
                <a:spcAft>
                  <a:spcPct val="0"/>
                </a:spcAft>
                <a:buClr>
                  <a:srgbClr val="003245"/>
                </a:buClr>
              </a:pPr>
              <a:r>
                <a:rPr lang="en-US" sz="1108" smtClean="0">
                  <a:solidFill>
                    <a:srgbClr val="808080"/>
                  </a:solidFill>
                </a:rPr>
                <a:t>PRELIMINARY</a:t>
              </a:r>
              <a:endParaRPr lang="en-US" sz="1108">
                <a:solidFill>
                  <a:srgbClr val="808080"/>
                </a:solidFill>
              </a:endParaRPr>
            </a:p>
          </p:txBody>
        </p:sp>
        <p:cxnSp>
          <p:nvCxnSpPr>
            <p:cNvPr id="74" name="AutoShape 31"/>
            <p:cNvCxnSpPr>
              <a:cxnSpLocks noChangeShapeType="1"/>
              <a:stCxn id="73" idx="2"/>
              <a:endCxn id="73" idx="4"/>
            </p:cNvCxnSpPr>
            <p:nvPr/>
          </p:nvCxnSpPr>
          <p:spPr bwMode="auto">
            <a:xfrm>
              <a:off x="7882719" y="285750"/>
              <a:ext cx="0" cy="19819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5" name="AutoShape 32"/>
            <p:cNvCxnSpPr>
              <a:cxnSpLocks noChangeShapeType="1"/>
              <a:stCxn id="73" idx="4"/>
              <a:endCxn id="73" idx="6"/>
            </p:cNvCxnSpPr>
            <p:nvPr/>
          </p:nvCxnSpPr>
          <p:spPr bwMode="auto">
            <a:xfrm>
              <a:off x="7882719" y="483946"/>
              <a:ext cx="85805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7" name="McK Moon" hidden="1"/>
          <p:cNvGrpSpPr>
            <a:grpSpLocks noChangeAspect="1"/>
          </p:cNvGrpSpPr>
          <p:nvPr>
            <p:custDataLst>
              <p:tags r:id="rId18"/>
            </p:custDataLst>
          </p:nvPr>
        </p:nvGrpSpPr>
        <p:grpSpPr bwMode="auto">
          <a:xfrm>
            <a:off x="8025206" y="2559424"/>
            <a:ext cx="254000" cy="254000"/>
            <a:chOff x="1600" y="1600"/>
            <a:chExt cx="160" cy="160"/>
          </a:xfrm>
        </p:grpSpPr>
        <p:sp>
          <p:nvSpPr>
            <p:cNvPr id="98" name="Oval 90"/>
            <p:cNvSpPr>
              <a:spLocks noChangeAspect="1"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477">
                <a:solidFill>
                  <a:srgbClr val="003245"/>
                </a:solidFill>
                <a:latin typeface="Arial" charset="0"/>
              </a:endParaRPr>
            </a:p>
          </p:txBody>
        </p:sp>
        <p:sp>
          <p:nvSpPr>
            <p:cNvPr id="99" name="Arc 91"/>
            <p:cNvSpPr>
              <a:spLocks noChangeAspect="1"/>
            </p:cNvSpPr>
            <p:nvPr>
              <p:custDataLst>
                <p:tags r:id="rId35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477">
                <a:solidFill>
                  <a:srgbClr val="003245"/>
                </a:solidFill>
                <a:latin typeface="Arial" charset="0"/>
              </a:endParaRPr>
            </a:p>
          </p:txBody>
        </p:sp>
      </p:grpSp>
      <p:grpSp>
        <p:nvGrpSpPr>
          <p:cNvPr id="100" name="LegendMoons" hidden="1"/>
          <p:cNvGrpSpPr/>
          <p:nvPr/>
        </p:nvGrpSpPr>
        <p:grpSpPr bwMode="auto">
          <a:xfrm>
            <a:off x="8025200" y="952920"/>
            <a:ext cx="772723" cy="1306516"/>
            <a:chOff x="6655594" y="273840"/>
            <a:chExt cx="772721" cy="1306516"/>
          </a:xfrm>
        </p:grpSpPr>
        <p:grpSp>
          <p:nvGrpSpPr>
            <p:cNvPr id="101" name="MoonLegend1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19" name="Oval 38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8">
                  <a:solidFill>
                    <a:srgbClr val="003245"/>
                  </a:solidFill>
                </a:endParaRPr>
              </a:p>
            </p:txBody>
          </p:sp>
          <p:sp>
            <p:nvSpPr>
              <p:cNvPr id="120" name="Arc 39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8">
                  <a:solidFill>
                    <a:srgbClr val="003245"/>
                  </a:solidFill>
                </a:endParaRPr>
              </a:p>
            </p:txBody>
          </p:sp>
        </p:grpSp>
        <p:grpSp>
          <p:nvGrpSpPr>
            <p:cNvPr id="102" name="MoonLegend2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17" name="Oval 4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8">
                  <a:solidFill>
                    <a:srgbClr val="003245"/>
                  </a:solidFill>
                </a:endParaRPr>
              </a:p>
            </p:txBody>
          </p:sp>
          <p:sp>
            <p:nvSpPr>
              <p:cNvPr id="118" name="Arc 42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8">
                  <a:solidFill>
                    <a:srgbClr val="003245"/>
                  </a:solidFill>
                </a:endParaRPr>
              </a:p>
            </p:txBody>
          </p:sp>
        </p:grpSp>
        <p:grpSp>
          <p:nvGrpSpPr>
            <p:cNvPr id="103" name="MoonLegend4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15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8">
                  <a:solidFill>
                    <a:srgbClr val="003245"/>
                  </a:solidFill>
                </a:endParaRPr>
              </a:p>
            </p:txBody>
          </p:sp>
          <p:sp>
            <p:nvSpPr>
              <p:cNvPr id="116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8">
                  <a:solidFill>
                    <a:srgbClr val="003245"/>
                  </a:solidFill>
                </a:endParaRPr>
              </a:p>
            </p:txBody>
          </p:sp>
        </p:grpSp>
        <p:grpSp>
          <p:nvGrpSpPr>
            <p:cNvPr id="104" name="MoonLegend5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13" name="Oval 5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8">
                  <a:solidFill>
                    <a:srgbClr val="003245"/>
                  </a:solidFill>
                </a:endParaRPr>
              </a:p>
            </p:txBody>
          </p:sp>
          <p:sp>
            <p:nvSpPr>
              <p:cNvPr id="114" name="Oval 5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8">
                  <a:solidFill>
                    <a:srgbClr val="003245"/>
                  </a:solidFill>
                </a:endParaRPr>
              </a:p>
            </p:txBody>
          </p:sp>
        </p:grpSp>
        <p:sp>
          <p:nvSpPr>
            <p:cNvPr id="105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52046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 fontAlgn="base">
                <a:spcBef>
                  <a:spcPct val="0"/>
                </a:spcBef>
                <a:spcAft>
                  <a:spcPct val="0"/>
                </a:spcAft>
                <a:buClr>
                  <a:srgbClr val="003245"/>
                </a:buClr>
              </a:pPr>
              <a:r>
                <a:rPr lang="en-US" sz="1108" smtClean="0">
                  <a:solidFill>
                    <a:srgbClr val="003245"/>
                  </a:solidFill>
                </a:rPr>
                <a:t>Legend</a:t>
              </a:r>
              <a:endParaRPr lang="en-US" sz="1108">
                <a:solidFill>
                  <a:srgbClr val="003245"/>
                </a:solidFill>
              </a:endParaRPr>
            </a:p>
          </p:txBody>
        </p:sp>
        <p:sp>
          <p:nvSpPr>
            <p:cNvPr id="106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52046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 fontAlgn="base">
                <a:spcBef>
                  <a:spcPct val="0"/>
                </a:spcBef>
                <a:spcAft>
                  <a:spcPct val="0"/>
                </a:spcAft>
                <a:buClr>
                  <a:srgbClr val="003245"/>
                </a:buClr>
              </a:pPr>
              <a:r>
                <a:rPr lang="en-US" sz="1108" smtClean="0">
                  <a:solidFill>
                    <a:srgbClr val="003245"/>
                  </a:solidFill>
                </a:rPr>
                <a:t>Legend</a:t>
              </a:r>
              <a:endParaRPr lang="en-US" sz="1108">
                <a:solidFill>
                  <a:srgbClr val="003245"/>
                </a:solidFill>
              </a:endParaRPr>
            </a:p>
          </p:txBody>
        </p:sp>
        <p:sp>
          <p:nvSpPr>
            <p:cNvPr id="107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52046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 fontAlgn="base">
                <a:spcBef>
                  <a:spcPct val="0"/>
                </a:spcBef>
                <a:spcAft>
                  <a:spcPct val="0"/>
                </a:spcAft>
                <a:buClr>
                  <a:srgbClr val="003245"/>
                </a:buClr>
              </a:pPr>
              <a:r>
                <a:rPr lang="en-US" sz="1108" smtClean="0">
                  <a:solidFill>
                    <a:srgbClr val="003245"/>
                  </a:solidFill>
                </a:rPr>
                <a:t>Legend</a:t>
              </a:r>
              <a:endParaRPr lang="en-US" sz="1108">
                <a:solidFill>
                  <a:srgbClr val="003245"/>
                </a:solidFill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52046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 fontAlgn="base">
                <a:spcBef>
                  <a:spcPct val="0"/>
                </a:spcBef>
                <a:spcAft>
                  <a:spcPct val="0"/>
                </a:spcAft>
                <a:buClr>
                  <a:srgbClr val="003245"/>
                </a:buClr>
              </a:pPr>
              <a:r>
                <a:rPr lang="en-US" sz="1108" smtClean="0">
                  <a:solidFill>
                    <a:srgbClr val="003245"/>
                  </a:solidFill>
                </a:rPr>
                <a:t>Legend</a:t>
              </a:r>
              <a:endParaRPr lang="en-US" sz="1108">
                <a:solidFill>
                  <a:srgbClr val="003245"/>
                </a:solidFill>
              </a:endParaRPr>
            </a:p>
          </p:txBody>
        </p:sp>
        <p:sp>
          <p:nvSpPr>
            <p:cNvPr id="109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52046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 fontAlgn="base">
                <a:spcBef>
                  <a:spcPct val="0"/>
                </a:spcBef>
                <a:spcAft>
                  <a:spcPct val="0"/>
                </a:spcAft>
                <a:buClr>
                  <a:srgbClr val="003245"/>
                </a:buClr>
              </a:pPr>
              <a:r>
                <a:rPr lang="en-US" sz="1108" smtClean="0">
                  <a:solidFill>
                    <a:srgbClr val="003245"/>
                  </a:solidFill>
                </a:rPr>
                <a:t>Legend</a:t>
              </a:r>
              <a:endParaRPr lang="en-US" sz="1108">
                <a:solidFill>
                  <a:srgbClr val="003245"/>
                </a:solidFill>
              </a:endParaRPr>
            </a:p>
          </p:txBody>
        </p:sp>
        <p:grpSp>
          <p:nvGrpSpPr>
            <p:cNvPr id="110" name="MoonLegend3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11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8">
                  <a:solidFill>
                    <a:srgbClr val="003245"/>
                  </a:solidFill>
                </a:endParaRPr>
              </a:p>
            </p:txBody>
          </p:sp>
          <p:sp>
            <p:nvSpPr>
              <p:cNvPr id="112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8">
                  <a:solidFill>
                    <a:srgbClr val="003245"/>
                  </a:solidFill>
                </a:endParaRPr>
              </a:p>
            </p:txBody>
          </p:sp>
        </p:grpSp>
      </p:grpSp>
      <p:grpSp>
        <p:nvGrpSpPr>
          <p:cNvPr id="76" name="Grupo 10"/>
          <p:cNvGrpSpPr/>
          <p:nvPr userDrawn="1"/>
        </p:nvGrpSpPr>
        <p:grpSpPr>
          <a:xfrm>
            <a:off x="38406" y="6464183"/>
            <a:ext cx="1957588" cy="347874"/>
            <a:chOff x="41600" y="6464175"/>
            <a:chExt cx="2120725" cy="347874"/>
          </a:xfrm>
        </p:grpSpPr>
        <p:grpSp>
          <p:nvGrpSpPr>
            <p:cNvPr id="77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79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pPr algn="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1108">
                  <a:solidFill>
                    <a:srgbClr val="003245"/>
                  </a:solidFill>
                  <a:latin typeface="TheSansCorrespondence" pitchFamily="34" charset="0"/>
                </a:endParaRPr>
              </a:p>
            </p:txBody>
          </p:sp>
          <p:sp>
            <p:nvSpPr>
              <p:cNvPr id="80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pPr algn="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1108">
                  <a:solidFill>
                    <a:srgbClr val="003245"/>
                  </a:solidFill>
                  <a:latin typeface="TheSansCorrespondence" pitchFamily="34" charset="0"/>
                </a:endParaRPr>
              </a:p>
            </p:txBody>
          </p:sp>
        </p:grpSp>
        <p:sp>
          <p:nvSpPr>
            <p:cNvPr id="78" name="22 CuadroTexto"/>
            <p:cNvSpPr txBox="1"/>
            <p:nvPr userDrawn="1"/>
          </p:nvSpPr>
          <p:spPr>
            <a:xfrm>
              <a:off x="41600" y="6577689"/>
              <a:ext cx="2120725" cy="2343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923" i="1" smtClean="0">
                  <a:solidFill>
                    <a:srgbClr val="4BACC6">
                      <a:lumMod val="75000"/>
                    </a:srgbClr>
                  </a:solidFill>
                  <a:latin typeface="Arial" charset="0"/>
                  <a:cs typeface="Arial" panose="020B0604020202020204" pitchFamily="34" charset="0"/>
                </a:rPr>
                <a:t>DISCOVER, DISRUPT, DELIVER</a:t>
              </a:r>
              <a:endParaRPr lang="en-US" sz="923" i="1">
                <a:solidFill>
                  <a:srgbClr val="4BACC6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0405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9" r:id="rId1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43276" rtl="0" eaLnBrk="1" fontAlgn="base" hangingPunct="1">
        <a:spcBef>
          <a:spcPct val="0"/>
        </a:spcBef>
        <a:spcAft>
          <a:spcPct val="0"/>
        </a:spcAft>
        <a:tabLst>
          <a:tab pos="254178" algn="l"/>
        </a:tabLst>
        <a:defRPr sz="2215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2pPr>
      <a:lvl3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3pPr>
      <a:lvl4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4pPr>
      <a:lvl5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5pPr>
      <a:lvl6pPr marL="430609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6pPr>
      <a:lvl7pPr marL="861217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7pPr>
      <a:lvl8pPr marL="1291826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8pPr>
      <a:lvl9pPr marL="1722435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77" baseline="0">
          <a:solidFill>
            <a:schemeClr val="tx1"/>
          </a:solidFill>
          <a:latin typeface="+mn-lt"/>
          <a:ea typeface="+mn-ea"/>
          <a:cs typeface="+mn-cs"/>
        </a:defRPr>
      </a:lvl1pPr>
      <a:lvl2pPr marL="182411" indent="-180916" algn="l" defTabSz="84327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25000"/>
        <a:buFont typeface="Trebuchet MS" pitchFamily="34" charset="0"/>
        <a:buChar char="•"/>
        <a:defRPr sz="1477" baseline="0">
          <a:solidFill>
            <a:schemeClr val="tx1"/>
          </a:solidFill>
          <a:latin typeface="+mn-lt"/>
        </a:defRPr>
      </a:lvl2pPr>
      <a:lvl3pPr marL="332651" indent="-149473" algn="l" defTabSz="84327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itchFamily="34" charset="0"/>
        <a:buChar char="▪"/>
        <a:defRPr sz="1477" baseline="0">
          <a:solidFill>
            <a:schemeClr val="tx1"/>
          </a:solidFill>
          <a:latin typeface="+mn-lt"/>
        </a:defRPr>
      </a:lvl3pPr>
      <a:lvl4pPr marL="511432" indent="-169989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Trebuchet MS" pitchFamily="34" charset="0"/>
        <a:buChar char="•"/>
        <a:defRPr sz="1477" baseline="0">
          <a:solidFill>
            <a:schemeClr val="tx1"/>
          </a:solidFill>
          <a:latin typeface="+mn-lt"/>
        </a:defRPr>
      </a:lvl4pPr>
      <a:lvl5pPr marL="665301" indent="-153870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▪"/>
        <a:defRPr sz="1477" baseline="0">
          <a:solidFill>
            <a:schemeClr val="tx1"/>
          </a:solidFill>
          <a:latin typeface="+mn-lt"/>
        </a:defRPr>
      </a:lvl5pPr>
      <a:lvl6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 baseline="0">
          <a:solidFill>
            <a:schemeClr val="tx1"/>
          </a:solidFill>
          <a:latin typeface="+mn-lt"/>
        </a:defRPr>
      </a:lvl6pPr>
      <a:lvl7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 baseline="0">
          <a:solidFill>
            <a:schemeClr val="tx1"/>
          </a:solidFill>
          <a:latin typeface="+mn-lt"/>
        </a:defRPr>
      </a:lvl7pPr>
      <a:lvl8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 baseline="0">
          <a:solidFill>
            <a:schemeClr val="tx1"/>
          </a:solidFill>
          <a:latin typeface="+mn-lt"/>
        </a:defRPr>
      </a:lvl8pPr>
      <a:lvl9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30609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61217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91826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722435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53044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83653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3014261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444870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AutoShape 5"/>
          <p:cNvSpPr>
            <a:spLocks/>
          </p:cNvSpPr>
          <p:nvPr/>
        </p:nvSpPr>
        <p:spPr bwMode="auto">
          <a:xfrm>
            <a:off x="8028844" y="6502400"/>
            <a:ext cx="830873" cy="249238"/>
          </a:xfrm>
          <a:custGeom>
            <a:avLst/>
            <a:gdLst>
              <a:gd name="T0" fmla="*/ 0 w 21600"/>
              <a:gd name="T1" fmla="*/ 892206852 h 21600"/>
              <a:gd name="T2" fmla="*/ 2147483647 w 21600"/>
              <a:gd name="T3" fmla="*/ 141473318 h 21600"/>
              <a:gd name="T4" fmla="*/ 2147483647 w 21600"/>
              <a:gd name="T5" fmla="*/ 96575026 h 21600"/>
              <a:gd name="T6" fmla="*/ 2147483647 w 21600"/>
              <a:gd name="T7" fmla="*/ 275193756 h 21600"/>
              <a:gd name="T8" fmla="*/ 2147483647 w 21600"/>
              <a:gd name="T9" fmla="*/ 59300706 h 21600"/>
              <a:gd name="T10" fmla="*/ 2147483647 w 21600"/>
              <a:gd name="T11" fmla="*/ 702363606 h 21600"/>
              <a:gd name="T12" fmla="*/ 2147483647 w 21600"/>
              <a:gd name="T13" fmla="*/ 341566847 h 21600"/>
              <a:gd name="T14" fmla="*/ 2147483647 w 21600"/>
              <a:gd name="T15" fmla="*/ 6989884 h 21600"/>
              <a:gd name="T16" fmla="*/ 2147483647 w 21600"/>
              <a:gd name="T17" fmla="*/ 12835521 h 21600"/>
              <a:gd name="T18" fmla="*/ 2147483647 w 21600"/>
              <a:gd name="T19" fmla="*/ 406713202 h 21600"/>
              <a:gd name="T20" fmla="*/ 2147483647 w 21600"/>
              <a:gd name="T21" fmla="*/ 446866336 h 21600"/>
              <a:gd name="T22" fmla="*/ 2147483647 w 21600"/>
              <a:gd name="T23" fmla="*/ 193528986 h 21600"/>
              <a:gd name="T24" fmla="*/ 2147483647 w 21600"/>
              <a:gd name="T25" fmla="*/ 592022721 h 21600"/>
              <a:gd name="T26" fmla="*/ 2147483647 w 21600"/>
              <a:gd name="T27" fmla="*/ 635735349 h 21600"/>
              <a:gd name="T28" fmla="*/ 2147483647 w 21600"/>
              <a:gd name="T29" fmla="*/ 421156883 h 21600"/>
              <a:gd name="T30" fmla="*/ 2147483647 w 21600"/>
              <a:gd name="T31" fmla="*/ 88484663 h 21600"/>
              <a:gd name="T32" fmla="*/ 2147483647 w 21600"/>
              <a:gd name="T33" fmla="*/ 232540374 h 21600"/>
              <a:gd name="T34" fmla="*/ 2147483647 w 21600"/>
              <a:gd name="T35" fmla="*/ 232540374 h 21600"/>
              <a:gd name="T36" fmla="*/ 2147483647 w 21600"/>
              <a:gd name="T37" fmla="*/ 528997692 h 21600"/>
              <a:gd name="T38" fmla="*/ 2147483647 w 21600"/>
              <a:gd name="T39" fmla="*/ 523871306 h 21600"/>
              <a:gd name="T40" fmla="*/ 2147483647 w 21600"/>
              <a:gd name="T41" fmla="*/ 493754362 h 21600"/>
              <a:gd name="T42" fmla="*/ 2147483647 w 21600"/>
              <a:gd name="T43" fmla="*/ 631585869 h 21600"/>
              <a:gd name="T44" fmla="*/ 2147483647 w 21600"/>
              <a:gd name="T45" fmla="*/ 201322939 h 21600"/>
              <a:gd name="T46" fmla="*/ 2147483647 w 21600"/>
              <a:gd name="T47" fmla="*/ 482658754 h 21600"/>
              <a:gd name="T48" fmla="*/ 2147483647 w 21600"/>
              <a:gd name="T49" fmla="*/ 231014554 h 21600"/>
              <a:gd name="T50" fmla="*/ 2147483647 w 21600"/>
              <a:gd name="T51" fmla="*/ 318228550 h 21600"/>
              <a:gd name="T52" fmla="*/ 2147483647 w 21600"/>
              <a:gd name="T53" fmla="*/ 277015998 h 21600"/>
              <a:gd name="T54" fmla="*/ 2147483647 w 21600"/>
              <a:gd name="T55" fmla="*/ 522811888 h 21600"/>
              <a:gd name="T56" fmla="*/ 2147483647 w 21600"/>
              <a:gd name="T57" fmla="*/ 219323441 h 21600"/>
              <a:gd name="T58" fmla="*/ 2147483647 w 21600"/>
              <a:gd name="T59" fmla="*/ 536451489 h 21600"/>
              <a:gd name="T60" fmla="*/ 2147483647 w 21600"/>
              <a:gd name="T61" fmla="*/ 359611267 h 21600"/>
              <a:gd name="T62" fmla="*/ 2147483647 w 21600"/>
              <a:gd name="T63" fmla="*/ 245035739 h 21600"/>
              <a:gd name="T64" fmla="*/ 2147483647 w 21600"/>
              <a:gd name="T65" fmla="*/ 482658754 h 21600"/>
              <a:gd name="T66" fmla="*/ 2147483647 w 21600"/>
              <a:gd name="T67" fmla="*/ 710539155 h 21600"/>
              <a:gd name="T68" fmla="*/ 2147483647 w 21600"/>
              <a:gd name="T69" fmla="*/ 238512269 h 21600"/>
              <a:gd name="T70" fmla="*/ 2147483647 w 21600"/>
              <a:gd name="T71" fmla="*/ 386550130 h 21600"/>
              <a:gd name="T72" fmla="*/ 2147483647 w 21600"/>
              <a:gd name="T73" fmla="*/ 290400434 h 21600"/>
              <a:gd name="T74" fmla="*/ 2147483647 w 21600"/>
              <a:gd name="T75" fmla="*/ 415056069 h 21600"/>
              <a:gd name="T76" fmla="*/ 2147483647 w 21600"/>
              <a:gd name="T77" fmla="*/ 544753284 h 21600"/>
              <a:gd name="T78" fmla="*/ 2147483647 w 21600"/>
              <a:gd name="T79" fmla="*/ 589991905 h 21600"/>
              <a:gd name="T80" fmla="*/ 2147483647 w 21600"/>
              <a:gd name="T81" fmla="*/ 201067773 h 21600"/>
              <a:gd name="T82" fmla="*/ 2147483647 w 21600"/>
              <a:gd name="T83" fmla="*/ 231736294 h 21600"/>
              <a:gd name="T84" fmla="*/ 2147483647 w 21600"/>
              <a:gd name="T85" fmla="*/ 241690339 h 21600"/>
              <a:gd name="T86" fmla="*/ 2147483647 w 21600"/>
              <a:gd name="T87" fmla="*/ 501633500 h 21600"/>
              <a:gd name="T88" fmla="*/ 2147483647 w 21600"/>
              <a:gd name="T89" fmla="*/ 202171109 h 21600"/>
              <a:gd name="T90" fmla="*/ 2147483647 w 21600"/>
              <a:gd name="T91" fmla="*/ 34859246 h 21600"/>
              <a:gd name="T92" fmla="*/ 2147483647 w 21600"/>
              <a:gd name="T93" fmla="*/ 161040897 h 21600"/>
              <a:gd name="T94" fmla="*/ 2147483647 w 21600"/>
              <a:gd name="T95" fmla="*/ 209369568 h 21600"/>
              <a:gd name="T96" fmla="*/ 2147483647 w 21600"/>
              <a:gd name="T97" fmla="*/ 245966066 h 21600"/>
              <a:gd name="T98" fmla="*/ 2147483647 w 21600"/>
              <a:gd name="T99" fmla="*/ 501592243 h 21600"/>
              <a:gd name="T100" fmla="*/ 2147483647 w 21600"/>
              <a:gd name="T101" fmla="*/ 239486513 h 21600"/>
              <a:gd name="T102" fmla="*/ 2147483647 w 21600"/>
              <a:gd name="T103" fmla="*/ 497651349 h 21600"/>
              <a:gd name="T104" fmla="*/ 2147483647 w 21600"/>
              <a:gd name="T105" fmla="*/ 415522655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GB" dirty="0">
              <a:solidFill>
                <a:srgbClr val="003245"/>
              </a:solidFill>
            </a:endParaRPr>
          </a:p>
        </p:txBody>
      </p:sp>
      <p:sp>
        <p:nvSpPr>
          <p:cNvPr id="6148" name="Rectangle 13"/>
          <p:cNvSpPr>
            <a:spLocks/>
          </p:cNvSpPr>
          <p:nvPr/>
        </p:nvSpPr>
        <p:spPr bwMode="auto">
          <a:xfrm rot="10800000">
            <a:off x="7164292" y="6332538"/>
            <a:ext cx="864577" cy="49212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 dirty="0">
              <a:solidFill>
                <a:srgbClr val="003245"/>
              </a:solidFill>
            </a:endParaRPr>
          </a:p>
        </p:txBody>
      </p:sp>
      <p:sp>
        <p:nvSpPr>
          <p:cNvPr id="6149" name="Rectangle 12"/>
          <p:cNvSpPr>
            <a:spLocks/>
          </p:cNvSpPr>
          <p:nvPr/>
        </p:nvSpPr>
        <p:spPr bwMode="auto">
          <a:xfrm rot="10800000">
            <a:off x="8015680" y="6332538"/>
            <a:ext cx="1122485" cy="49212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 dirty="0">
              <a:solidFill>
                <a:srgbClr val="003245"/>
              </a:solidFill>
            </a:endParaRPr>
          </a:p>
        </p:txBody>
      </p:sp>
      <p:sp>
        <p:nvSpPr>
          <p:cNvPr id="6150" name="Rectangle 14"/>
          <p:cNvSpPr>
            <a:spLocks/>
          </p:cNvSpPr>
          <p:nvPr/>
        </p:nvSpPr>
        <p:spPr bwMode="auto">
          <a:xfrm rot="10800000">
            <a:off x="6268916" y="6332538"/>
            <a:ext cx="895350" cy="49212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 dirty="0">
              <a:solidFill>
                <a:srgbClr val="003245"/>
              </a:solidFill>
            </a:endParaRPr>
          </a:p>
        </p:txBody>
      </p:sp>
      <p:sp>
        <p:nvSpPr>
          <p:cNvPr id="6151" name="Rectangle 15"/>
          <p:cNvSpPr>
            <a:spLocks/>
          </p:cNvSpPr>
          <p:nvPr/>
        </p:nvSpPr>
        <p:spPr bwMode="auto">
          <a:xfrm rot="10800000">
            <a:off x="-5857" y="6332538"/>
            <a:ext cx="6274777" cy="49212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 dirty="0">
              <a:solidFill>
                <a:srgbClr val="003245"/>
              </a:solidFill>
            </a:endParaRPr>
          </a:p>
        </p:txBody>
      </p:sp>
      <p:sp>
        <p:nvSpPr>
          <p:cNvPr id="1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rgbClr val="072534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/>
              <a:pPr/>
              <a:t>‹Nº›</a:t>
            </a:fld>
            <a:endParaRPr lang="en-GB" dirty="0"/>
          </a:p>
        </p:txBody>
      </p:sp>
      <p:grpSp>
        <p:nvGrpSpPr>
          <p:cNvPr id="2" name="Grupo 10"/>
          <p:cNvGrpSpPr/>
          <p:nvPr userDrawn="1"/>
        </p:nvGrpSpPr>
        <p:grpSpPr>
          <a:xfrm>
            <a:off x="58864" y="6464175"/>
            <a:ext cx="2103461" cy="359735"/>
            <a:chOff x="58864" y="6464175"/>
            <a:chExt cx="2103461" cy="359735"/>
          </a:xfrm>
        </p:grpSpPr>
        <p:grpSp>
          <p:nvGrpSpPr>
            <p:cNvPr id="3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15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GB" dirty="0">
                  <a:solidFill>
                    <a:srgbClr val="003245"/>
                  </a:solidFill>
                </a:endParaRPr>
              </a:p>
            </p:txBody>
          </p:sp>
          <p:sp>
            <p:nvSpPr>
              <p:cNvPr id="16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GB" dirty="0">
                  <a:solidFill>
                    <a:srgbClr val="003245"/>
                  </a:solidFill>
                </a:endParaRPr>
              </a:p>
            </p:txBody>
          </p:sp>
        </p:grpSp>
        <p:sp>
          <p:nvSpPr>
            <p:cNvPr id="13" name="22 CuadroTexto"/>
            <p:cNvSpPr txBox="1"/>
            <p:nvPr userDrawn="1"/>
          </p:nvSpPr>
          <p:spPr>
            <a:xfrm>
              <a:off x="58864" y="6577689"/>
              <a:ext cx="210346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i="1" dirty="0">
                  <a:solidFill>
                    <a:srgbClr val="4BACC6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OVER, DISRUPT, DELIV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81005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7B4C6"/>
          </a:solidFill>
          <a:latin typeface="+mj-lt"/>
          <a:ea typeface="+mj-ea"/>
          <a:cs typeface="+mj-cs"/>
          <a:sym typeface="Gill Sans" pitchFamily="122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889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1pPr>
      <a:lvl2pPr marL="13335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2pPr>
      <a:lvl3pPr marL="1778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3pPr>
      <a:lvl4pPr marL="22225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4pPr>
      <a:lvl5pPr marL="2667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5pPr>
      <a:lvl6pPr marL="31242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5814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40386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44958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88913"/>
            <a:ext cx="82296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smtClean="0"/>
              <a:t>Haga clic para cambiar el estilo de título	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</p:txBody>
      </p:sp>
    </p:spTree>
    <p:extLst>
      <p:ext uri="{BB962C8B-B14F-4D97-AF65-F5344CB8AC3E}">
        <p14:creationId xmlns:p14="http://schemas.microsoft.com/office/powerpoint/2010/main" val="435611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751" r:id="rId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ＭＳ Ｐゴシック" pitchFamily="100" charset="-128"/>
          <a:cs typeface="ＭＳ Ｐゴシック" pitchFamily="100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  <a:ea typeface="ＭＳ Ｐゴシック" pitchFamily="100" charset="-128"/>
          <a:cs typeface="ＭＳ Ｐゴシック" pitchFamily="10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  <a:ea typeface="ＭＳ Ｐゴシック" pitchFamily="100" charset="-128"/>
          <a:cs typeface="ＭＳ Ｐゴシック" pitchFamily="10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  <a:ea typeface="ＭＳ Ｐゴシック" pitchFamily="100" charset="-128"/>
          <a:cs typeface="ＭＳ Ｐゴシック" pitchFamily="10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  <a:ea typeface="ＭＳ Ｐゴシック" pitchFamily="100" charset="-128"/>
          <a:cs typeface="ＭＳ Ｐゴシック" pitchFamily="10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200000"/>
        <a:buChar char="•"/>
        <a:defRPr sz="3200">
          <a:solidFill>
            <a:schemeClr val="tx1"/>
          </a:solidFill>
          <a:latin typeface="+mn-lt"/>
          <a:ea typeface="ＭＳ Ｐゴシック" pitchFamily="100" charset="-128"/>
          <a:cs typeface="ＭＳ Ｐゴシック" pitchFamily="100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ea typeface="ＭＳ Ｐゴシック" pitchFamily="10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+mn-lt"/>
          <a:ea typeface="ＭＳ Ｐゴシック" pitchFamily="10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10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10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AutoShape 5"/>
          <p:cNvSpPr>
            <a:spLocks/>
          </p:cNvSpPr>
          <p:nvPr/>
        </p:nvSpPr>
        <p:spPr bwMode="auto">
          <a:xfrm>
            <a:off x="8028844" y="6502400"/>
            <a:ext cx="830873" cy="249238"/>
          </a:xfrm>
          <a:custGeom>
            <a:avLst/>
            <a:gdLst>
              <a:gd name="T0" fmla="*/ 0 w 21600"/>
              <a:gd name="T1" fmla="*/ 892206852 h 21600"/>
              <a:gd name="T2" fmla="*/ 2147483647 w 21600"/>
              <a:gd name="T3" fmla="*/ 141473318 h 21600"/>
              <a:gd name="T4" fmla="*/ 2147483647 w 21600"/>
              <a:gd name="T5" fmla="*/ 96575026 h 21600"/>
              <a:gd name="T6" fmla="*/ 2147483647 w 21600"/>
              <a:gd name="T7" fmla="*/ 275193756 h 21600"/>
              <a:gd name="T8" fmla="*/ 2147483647 w 21600"/>
              <a:gd name="T9" fmla="*/ 59300706 h 21600"/>
              <a:gd name="T10" fmla="*/ 2147483647 w 21600"/>
              <a:gd name="T11" fmla="*/ 702363606 h 21600"/>
              <a:gd name="T12" fmla="*/ 2147483647 w 21600"/>
              <a:gd name="T13" fmla="*/ 341566847 h 21600"/>
              <a:gd name="T14" fmla="*/ 2147483647 w 21600"/>
              <a:gd name="T15" fmla="*/ 6989884 h 21600"/>
              <a:gd name="T16" fmla="*/ 2147483647 w 21600"/>
              <a:gd name="T17" fmla="*/ 12835521 h 21600"/>
              <a:gd name="T18" fmla="*/ 2147483647 w 21600"/>
              <a:gd name="T19" fmla="*/ 406713202 h 21600"/>
              <a:gd name="T20" fmla="*/ 2147483647 w 21600"/>
              <a:gd name="T21" fmla="*/ 446866336 h 21600"/>
              <a:gd name="T22" fmla="*/ 2147483647 w 21600"/>
              <a:gd name="T23" fmla="*/ 193528986 h 21600"/>
              <a:gd name="T24" fmla="*/ 2147483647 w 21600"/>
              <a:gd name="T25" fmla="*/ 592022721 h 21600"/>
              <a:gd name="T26" fmla="*/ 2147483647 w 21600"/>
              <a:gd name="T27" fmla="*/ 635735349 h 21600"/>
              <a:gd name="T28" fmla="*/ 2147483647 w 21600"/>
              <a:gd name="T29" fmla="*/ 421156883 h 21600"/>
              <a:gd name="T30" fmla="*/ 2147483647 w 21600"/>
              <a:gd name="T31" fmla="*/ 88484663 h 21600"/>
              <a:gd name="T32" fmla="*/ 2147483647 w 21600"/>
              <a:gd name="T33" fmla="*/ 232540374 h 21600"/>
              <a:gd name="T34" fmla="*/ 2147483647 w 21600"/>
              <a:gd name="T35" fmla="*/ 232540374 h 21600"/>
              <a:gd name="T36" fmla="*/ 2147483647 w 21600"/>
              <a:gd name="T37" fmla="*/ 528997692 h 21600"/>
              <a:gd name="T38" fmla="*/ 2147483647 w 21600"/>
              <a:gd name="T39" fmla="*/ 523871306 h 21600"/>
              <a:gd name="T40" fmla="*/ 2147483647 w 21600"/>
              <a:gd name="T41" fmla="*/ 493754362 h 21600"/>
              <a:gd name="T42" fmla="*/ 2147483647 w 21600"/>
              <a:gd name="T43" fmla="*/ 631585869 h 21600"/>
              <a:gd name="T44" fmla="*/ 2147483647 w 21600"/>
              <a:gd name="T45" fmla="*/ 201322939 h 21600"/>
              <a:gd name="T46" fmla="*/ 2147483647 w 21600"/>
              <a:gd name="T47" fmla="*/ 482658754 h 21600"/>
              <a:gd name="T48" fmla="*/ 2147483647 w 21600"/>
              <a:gd name="T49" fmla="*/ 231014554 h 21600"/>
              <a:gd name="T50" fmla="*/ 2147483647 w 21600"/>
              <a:gd name="T51" fmla="*/ 318228550 h 21600"/>
              <a:gd name="T52" fmla="*/ 2147483647 w 21600"/>
              <a:gd name="T53" fmla="*/ 277015998 h 21600"/>
              <a:gd name="T54" fmla="*/ 2147483647 w 21600"/>
              <a:gd name="T55" fmla="*/ 522811888 h 21600"/>
              <a:gd name="T56" fmla="*/ 2147483647 w 21600"/>
              <a:gd name="T57" fmla="*/ 219323441 h 21600"/>
              <a:gd name="T58" fmla="*/ 2147483647 w 21600"/>
              <a:gd name="T59" fmla="*/ 536451489 h 21600"/>
              <a:gd name="T60" fmla="*/ 2147483647 w 21600"/>
              <a:gd name="T61" fmla="*/ 359611267 h 21600"/>
              <a:gd name="T62" fmla="*/ 2147483647 w 21600"/>
              <a:gd name="T63" fmla="*/ 245035739 h 21600"/>
              <a:gd name="T64" fmla="*/ 2147483647 w 21600"/>
              <a:gd name="T65" fmla="*/ 482658754 h 21600"/>
              <a:gd name="T66" fmla="*/ 2147483647 w 21600"/>
              <a:gd name="T67" fmla="*/ 710539155 h 21600"/>
              <a:gd name="T68" fmla="*/ 2147483647 w 21600"/>
              <a:gd name="T69" fmla="*/ 238512269 h 21600"/>
              <a:gd name="T70" fmla="*/ 2147483647 w 21600"/>
              <a:gd name="T71" fmla="*/ 386550130 h 21600"/>
              <a:gd name="T72" fmla="*/ 2147483647 w 21600"/>
              <a:gd name="T73" fmla="*/ 290400434 h 21600"/>
              <a:gd name="T74" fmla="*/ 2147483647 w 21600"/>
              <a:gd name="T75" fmla="*/ 415056069 h 21600"/>
              <a:gd name="T76" fmla="*/ 2147483647 w 21600"/>
              <a:gd name="T77" fmla="*/ 544753284 h 21600"/>
              <a:gd name="T78" fmla="*/ 2147483647 w 21600"/>
              <a:gd name="T79" fmla="*/ 589991905 h 21600"/>
              <a:gd name="T80" fmla="*/ 2147483647 w 21600"/>
              <a:gd name="T81" fmla="*/ 201067773 h 21600"/>
              <a:gd name="T82" fmla="*/ 2147483647 w 21600"/>
              <a:gd name="T83" fmla="*/ 231736294 h 21600"/>
              <a:gd name="T84" fmla="*/ 2147483647 w 21600"/>
              <a:gd name="T85" fmla="*/ 241690339 h 21600"/>
              <a:gd name="T86" fmla="*/ 2147483647 w 21600"/>
              <a:gd name="T87" fmla="*/ 501633500 h 21600"/>
              <a:gd name="T88" fmla="*/ 2147483647 w 21600"/>
              <a:gd name="T89" fmla="*/ 202171109 h 21600"/>
              <a:gd name="T90" fmla="*/ 2147483647 w 21600"/>
              <a:gd name="T91" fmla="*/ 34859246 h 21600"/>
              <a:gd name="T92" fmla="*/ 2147483647 w 21600"/>
              <a:gd name="T93" fmla="*/ 161040897 h 21600"/>
              <a:gd name="T94" fmla="*/ 2147483647 w 21600"/>
              <a:gd name="T95" fmla="*/ 209369568 h 21600"/>
              <a:gd name="T96" fmla="*/ 2147483647 w 21600"/>
              <a:gd name="T97" fmla="*/ 245966066 h 21600"/>
              <a:gd name="T98" fmla="*/ 2147483647 w 21600"/>
              <a:gd name="T99" fmla="*/ 501592243 h 21600"/>
              <a:gd name="T100" fmla="*/ 2147483647 w 21600"/>
              <a:gd name="T101" fmla="*/ 239486513 h 21600"/>
              <a:gd name="T102" fmla="*/ 2147483647 w 21600"/>
              <a:gd name="T103" fmla="*/ 497651349 h 21600"/>
              <a:gd name="T104" fmla="*/ 2147483647 w 21600"/>
              <a:gd name="T105" fmla="*/ 415522655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GB">
              <a:solidFill>
                <a:srgbClr val="003245"/>
              </a:solidFill>
            </a:endParaRPr>
          </a:p>
        </p:txBody>
      </p:sp>
      <p:sp>
        <p:nvSpPr>
          <p:cNvPr id="6148" name="Rectangle 13"/>
          <p:cNvSpPr>
            <a:spLocks/>
          </p:cNvSpPr>
          <p:nvPr/>
        </p:nvSpPr>
        <p:spPr bwMode="auto">
          <a:xfrm rot="10800000">
            <a:off x="7164292" y="6332538"/>
            <a:ext cx="864577" cy="49212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6149" name="Rectangle 12"/>
          <p:cNvSpPr>
            <a:spLocks/>
          </p:cNvSpPr>
          <p:nvPr/>
        </p:nvSpPr>
        <p:spPr bwMode="auto">
          <a:xfrm rot="10800000">
            <a:off x="8015680" y="6332538"/>
            <a:ext cx="1122485" cy="49212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6150" name="Rectangle 14"/>
          <p:cNvSpPr>
            <a:spLocks/>
          </p:cNvSpPr>
          <p:nvPr/>
        </p:nvSpPr>
        <p:spPr bwMode="auto">
          <a:xfrm rot="10800000">
            <a:off x="6268916" y="6332538"/>
            <a:ext cx="895350" cy="49212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6151" name="Rectangle 15"/>
          <p:cNvSpPr>
            <a:spLocks/>
          </p:cNvSpPr>
          <p:nvPr/>
        </p:nvSpPr>
        <p:spPr bwMode="auto">
          <a:xfrm rot="10800000">
            <a:off x="-5857" y="6332538"/>
            <a:ext cx="6274777" cy="49212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1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rgbClr val="072534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/>
              <a:pPr/>
              <a:t>‹Nº›</a:t>
            </a:fld>
            <a:endParaRPr lang="en-GB" dirty="0"/>
          </a:p>
        </p:txBody>
      </p:sp>
      <p:grpSp>
        <p:nvGrpSpPr>
          <p:cNvPr id="2" name="Grupo 10"/>
          <p:cNvGrpSpPr/>
          <p:nvPr userDrawn="1"/>
        </p:nvGrpSpPr>
        <p:grpSpPr>
          <a:xfrm>
            <a:off x="58864" y="6464175"/>
            <a:ext cx="2103461" cy="359735"/>
            <a:chOff x="58864" y="6464175"/>
            <a:chExt cx="2103461" cy="359735"/>
          </a:xfrm>
        </p:grpSpPr>
        <p:grpSp>
          <p:nvGrpSpPr>
            <p:cNvPr id="3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15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GB">
                  <a:solidFill>
                    <a:srgbClr val="003245"/>
                  </a:solidFill>
                </a:endParaRPr>
              </a:p>
            </p:txBody>
          </p:sp>
          <p:sp>
            <p:nvSpPr>
              <p:cNvPr id="16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GB">
                  <a:solidFill>
                    <a:srgbClr val="003245"/>
                  </a:solidFill>
                </a:endParaRPr>
              </a:p>
            </p:txBody>
          </p:sp>
        </p:grpSp>
        <p:sp>
          <p:nvSpPr>
            <p:cNvPr id="13" name="22 CuadroTexto"/>
            <p:cNvSpPr txBox="1"/>
            <p:nvPr userDrawn="1"/>
          </p:nvSpPr>
          <p:spPr>
            <a:xfrm>
              <a:off x="58864" y="6577689"/>
              <a:ext cx="210346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i="1" dirty="0">
                  <a:solidFill>
                    <a:srgbClr val="4BACC6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OVER, DISRUPT, DELIV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52305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7B4C6"/>
          </a:solidFill>
          <a:latin typeface="+mj-lt"/>
          <a:ea typeface="+mj-ea"/>
          <a:cs typeface="+mj-cs"/>
          <a:sym typeface="Gill Sans" pitchFamily="122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889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1pPr>
      <a:lvl2pPr marL="13335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2pPr>
      <a:lvl3pPr marL="1778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3pPr>
      <a:lvl4pPr marL="22225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4pPr>
      <a:lvl5pPr marL="2667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5pPr>
      <a:lvl6pPr marL="31242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5814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40386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44958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AutoShape 5"/>
          <p:cNvSpPr>
            <a:spLocks/>
          </p:cNvSpPr>
          <p:nvPr/>
        </p:nvSpPr>
        <p:spPr bwMode="auto">
          <a:xfrm>
            <a:off x="8028844" y="6502400"/>
            <a:ext cx="830873" cy="249238"/>
          </a:xfrm>
          <a:custGeom>
            <a:avLst/>
            <a:gdLst>
              <a:gd name="T0" fmla="*/ 0 w 21600"/>
              <a:gd name="T1" fmla="*/ 892206852 h 21600"/>
              <a:gd name="T2" fmla="*/ 2147483647 w 21600"/>
              <a:gd name="T3" fmla="*/ 141473318 h 21600"/>
              <a:gd name="T4" fmla="*/ 2147483647 w 21600"/>
              <a:gd name="T5" fmla="*/ 96575026 h 21600"/>
              <a:gd name="T6" fmla="*/ 2147483647 w 21600"/>
              <a:gd name="T7" fmla="*/ 275193756 h 21600"/>
              <a:gd name="T8" fmla="*/ 2147483647 w 21600"/>
              <a:gd name="T9" fmla="*/ 59300706 h 21600"/>
              <a:gd name="T10" fmla="*/ 2147483647 w 21600"/>
              <a:gd name="T11" fmla="*/ 702363606 h 21600"/>
              <a:gd name="T12" fmla="*/ 2147483647 w 21600"/>
              <a:gd name="T13" fmla="*/ 341566847 h 21600"/>
              <a:gd name="T14" fmla="*/ 2147483647 w 21600"/>
              <a:gd name="T15" fmla="*/ 6989884 h 21600"/>
              <a:gd name="T16" fmla="*/ 2147483647 w 21600"/>
              <a:gd name="T17" fmla="*/ 12835521 h 21600"/>
              <a:gd name="T18" fmla="*/ 2147483647 w 21600"/>
              <a:gd name="T19" fmla="*/ 406713202 h 21600"/>
              <a:gd name="T20" fmla="*/ 2147483647 w 21600"/>
              <a:gd name="T21" fmla="*/ 446866336 h 21600"/>
              <a:gd name="T22" fmla="*/ 2147483647 w 21600"/>
              <a:gd name="T23" fmla="*/ 193528986 h 21600"/>
              <a:gd name="T24" fmla="*/ 2147483647 w 21600"/>
              <a:gd name="T25" fmla="*/ 592022721 h 21600"/>
              <a:gd name="T26" fmla="*/ 2147483647 w 21600"/>
              <a:gd name="T27" fmla="*/ 635735349 h 21600"/>
              <a:gd name="T28" fmla="*/ 2147483647 w 21600"/>
              <a:gd name="T29" fmla="*/ 421156883 h 21600"/>
              <a:gd name="T30" fmla="*/ 2147483647 w 21600"/>
              <a:gd name="T31" fmla="*/ 88484663 h 21600"/>
              <a:gd name="T32" fmla="*/ 2147483647 w 21600"/>
              <a:gd name="T33" fmla="*/ 232540374 h 21600"/>
              <a:gd name="T34" fmla="*/ 2147483647 w 21600"/>
              <a:gd name="T35" fmla="*/ 232540374 h 21600"/>
              <a:gd name="T36" fmla="*/ 2147483647 w 21600"/>
              <a:gd name="T37" fmla="*/ 528997692 h 21600"/>
              <a:gd name="T38" fmla="*/ 2147483647 w 21600"/>
              <a:gd name="T39" fmla="*/ 523871306 h 21600"/>
              <a:gd name="T40" fmla="*/ 2147483647 w 21600"/>
              <a:gd name="T41" fmla="*/ 493754362 h 21600"/>
              <a:gd name="T42" fmla="*/ 2147483647 w 21600"/>
              <a:gd name="T43" fmla="*/ 631585869 h 21600"/>
              <a:gd name="T44" fmla="*/ 2147483647 w 21600"/>
              <a:gd name="T45" fmla="*/ 201322939 h 21600"/>
              <a:gd name="T46" fmla="*/ 2147483647 w 21600"/>
              <a:gd name="T47" fmla="*/ 482658754 h 21600"/>
              <a:gd name="T48" fmla="*/ 2147483647 w 21600"/>
              <a:gd name="T49" fmla="*/ 231014554 h 21600"/>
              <a:gd name="T50" fmla="*/ 2147483647 w 21600"/>
              <a:gd name="T51" fmla="*/ 318228550 h 21600"/>
              <a:gd name="T52" fmla="*/ 2147483647 w 21600"/>
              <a:gd name="T53" fmla="*/ 277015998 h 21600"/>
              <a:gd name="T54" fmla="*/ 2147483647 w 21600"/>
              <a:gd name="T55" fmla="*/ 522811888 h 21600"/>
              <a:gd name="T56" fmla="*/ 2147483647 w 21600"/>
              <a:gd name="T57" fmla="*/ 219323441 h 21600"/>
              <a:gd name="T58" fmla="*/ 2147483647 w 21600"/>
              <a:gd name="T59" fmla="*/ 536451489 h 21600"/>
              <a:gd name="T60" fmla="*/ 2147483647 w 21600"/>
              <a:gd name="T61" fmla="*/ 359611267 h 21600"/>
              <a:gd name="T62" fmla="*/ 2147483647 w 21600"/>
              <a:gd name="T63" fmla="*/ 245035739 h 21600"/>
              <a:gd name="T64" fmla="*/ 2147483647 w 21600"/>
              <a:gd name="T65" fmla="*/ 482658754 h 21600"/>
              <a:gd name="T66" fmla="*/ 2147483647 w 21600"/>
              <a:gd name="T67" fmla="*/ 710539155 h 21600"/>
              <a:gd name="T68" fmla="*/ 2147483647 w 21600"/>
              <a:gd name="T69" fmla="*/ 238512269 h 21600"/>
              <a:gd name="T70" fmla="*/ 2147483647 w 21600"/>
              <a:gd name="T71" fmla="*/ 386550130 h 21600"/>
              <a:gd name="T72" fmla="*/ 2147483647 w 21600"/>
              <a:gd name="T73" fmla="*/ 290400434 h 21600"/>
              <a:gd name="T74" fmla="*/ 2147483647 w 21600"/>
              <a:gd name="T75" fmla="*/ 415056069 h 21600"/>
              <a:gd name="T76" fmla="*/ 2147483647 w 21600"/>
              <a:gd name="T77" fmla="*/ 544753284 h 21600"/>
              <a:gd name="T78" fmla="*/ 2147483647 w 21600"/>
              <a:gd name="T79" fmla="*/ 589991905 h 21600"/>
              <a:gd name="T80" fmla="*/ 2147483647 w 21600"/>
              <a:gd name="T81" fmla="*/ 201067773 h 21600"/>
              <a:gd name="T82" fmla="*/ 2147483647 w 21600"/>
              <a:gd name="T83" fmla="*/ 231736294 h 21600"/>
              <a:gd name="T84" fmla="*/ 2147483647 w 21600"/>
              <a:gd name="T85" fmla="*/ 241690339 h 21600"/>
              <a:gd name="T86" fmla="*/ 2147483647 w 21600"/>
              <a:gd name="T87" fmla="*/ 501633500 h 21600"/>
              <a:gd name="T88" fmla="*/ 2147483647 w 21600"/>
              <a:gd name="T89" fmla="*/ 202171109 h 21600"/>
              <a:gd name="T90" fmla="*/ 2147483647 w 21600"/>
              <a:gd name="T91" fmla="*/ 34859246 h 21600"/>
              <a:gd name="T92" fmla="*/ 2147483647 w 21600"/>
              <a:gd name="T93" fmla="*/ 161040897 h 21600"/>
              <a:gd name="T94" fmla="*/ 2147483647 w 21600"/>
              <a:gd name="T95" fmla="*/ 209369568 h 21600"/>
              <a:gd name="T96" fmla="*/ 2147483647 w 21600"/>
              <a:gd name="T97" fmla="*/ 245966066 h 21600"/>
              <a:gd name="T98" fmla="*/ 2147483647 w 21600"/>
              <a:gd name="T99" fmla="*/ 501592243 h 21600"/>
              <a:gd name="T100" fmla="*/ 2147483647 w 21600"/>
              <a:gd name="T101" fmla="*/ 239486513 h 21600"/>
              <a:gd name="T102" fmla="*/ 2147483647 w 21600"/>
              <a:gd name="T103" fmla="*/ 497651349 h 21600"/>
              <a:gd name="T104" fmla="*/ 2147483647 w 21600"/>
              <a:gd name="T105" fmla="*/ 415522655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GB">
              <a:solidFill>
                <a:srgbClr val="003245"/>
              </a:solidFill>
            </a:endParaRPr>
          </a:p>
        </p:txBody>
      </p:sp>
      <p:sp>
        <p:nvSpPr>
          <p:cNvPr id="6148" name="Rectangle 13"/>
          <p:cNvSpPr>
            <a:spLocks/>
          </p:cNvSpPr>
          <p:nvPr/>
        </p:nvSpPr>
        <p:spPr bwMode="auto">
          <a:xfrm rot="10800000">
            <a:off x="7164292" y="6332538"/>
            <a:ext cx="864577" cy="49212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6149" name="Rectangle 12"/>
          <p:cNvSpPr>
            <a:spLocks/>
          </p:cNvSpPr>
          <p:nvPr/>
        </p:nvSpPr>
        <p:spPr bwMode="auto">
          <a:xfrm rot="10800000">
            <a:off x="8015680" y="6332538"/>
            <a:ext cx="1122485" cy="49212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6150" name="Rectangle 14"/>
          <p:cNvSpPr>
            <a:spLocks/>
          </p:cNvSpPr>
          <p:nvPr/>
        </p:nvSpPr>
        <p:spPr bwMode="auto">
          <a:xfrm rot="10800000">
            <a:off x="6268916" y="6332538"/>
            <a:ext cx="895350" cy="49212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6151" name="Rectangle 15"/>
          <p:cNvSpPr>
            <a:spLocks/>
          </p:cNvSpPr>
          <p:nvPr/>
        </p:nvSpPr>
        <p:spPr bwMode="auto">
          <a:xfrm rot="10800000">
            <a:off x="-5857" y="6332538"/>
            <a:ext cx="6274777" cy="49212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1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rgbClr val="072534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/>
              <a:pPr/>
              <a:t>‹Nº›</a:t>
            </a:fld>
            <a:endParaRPr lang="en-GB" dirty="0"/>
          </a:p>
        </p:txBody>
      </p:sp>
      <p:grpSp>
        <p:nvGrpSpPr>
          <p:cNvPr id="2" name="Grupo 10"/>
          <p:cNvGrpSpPr/>
          <p:nvPr userDrawn="1"/>
        </p:nvGrpSpPr>
        <p:grpSpPr>
          <a:xfrm>
            <a:off x="58864" y="6464175"/>
            <a:ext cx="2103461" cy="359735"/>
            <a:chOff x="58864" y="6464175"/>
            <a:chExt cx="2103461" cy="359735"/>
          </a:xfrm>
        </p:grpSpPr>
        <p:grpSp>
          <p:nvGrpSpPr>
            <p:cNvPr id="3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15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GB">
                  <a:solidFill>
                    <a:srgbClr val="003245"/>
                  </a:solidFill>
                </a:endParaRPr>
              </a:p>
            </p:txBody>
          </p:sp>
          <p:sp>
            <p:nvSpPr>
              <p:cNvPr id="16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GB">
                  <a:solidFill>
                    <a:srgbClr val="003245"/>
                  </a:solidFill>
                </a:endParaRPr>
              </a:p>
            </p:txBody>
          </p:sp>
        </p:grpSp>
        <p:sp>
          <p:nvSpPr>
            <p:cNvPr id="13" name="22 CuadroTexto"/>
            <p:cNvSpPr txBox="1"/>
            <p:nvPr userDrawn="1"/>
          </p:nvSpPr>
          <p:spPr>
            <a:xfrm>
              <a:off x="58864" y="6577689"/>
              <a:ext cx="210346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i="1" dirty="0">
                  <a:solidFill>
                    <a:srgbClr val="4BACC6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OVER, DISRUPT, DELIV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75623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7B4C6"/>
          </a:solidFill>
          <a:latin typeface="+mj-lt"/>
          <a:ea typeface="+mj-ea"/>
          <a:cs typeface="+mj-cs"/>
          <a:sym typeface="Gill Sans" pitchFamily="122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889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1pPr>
      <a:lvl2pPr marL="13335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2pPr>
      <a:lvl3pPr marL="1778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3pPr>
      <a:lvl4pPr marL="22225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4pPr>
      <a:lvl5pPr marL="2667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5pPr>
      <a:lvl6pPr marL="31242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5814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40386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44958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88913"/>
            <a:ext cx="82296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smtClean="0"/>
              <a:t>Haga clic para cambiar el estilo de título	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ＭＳ Ｐゴシック" pitchFamily="100" charset="-128"/>
          <a:cs typeface="ＭＳ Ｐゴシック" pitchFamily="100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  <a:ea typeface="ＭＳ Ｐゴシック" pitchFamily="100" charset="-128"/>
          <a:cs typeface="ＭＳ Ｐゴシック" pitchFamily="10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  <a:ea typeface="ＭＳ Ｐゴシック" pitchFamily="100" charset="-128"/>
          <a:cs typeface="ＭＳ Ｐゴシック" pitchFamily="10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  <a:ea typeface="ＭＳ Ｐゴシック" pitchFamily="100" charset="-128"/>
          <a:cs typeface="ＭＳ Ｐゴシック" pitchFamily="10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  <a:ea typeface="ＭＳ Ｐゴシック" pitchFamily="100" charset="-128"/>
          <a:cs typeface="ＭＳ Ｐゴシック" pitchFamily="10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200000"/>
        <a:buChar char="•"/>
        <a:defRPr sz="3200">
          <a:solidFill>
            <a:schemeClr val="tx1"/>
          </a:solidFill>
          <a:latin typeface="+mn-lt"/>
          <a:ea typeface="ＭＳ Ｐゴシック" pitchFamily="100" charset="-128"/>
          <a:cs typeface="ＭＳ Ｐゴシック" pitchFamily="100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ea typeface="ＭＳ Ｐゴシック" pitchFamily="10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+mn-lt"/>
          <a:ea typeface="ＭＳ Ｐゴシック" pitchFamily="10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10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10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88913"/>
            <a:ext cx="82296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smtClean="0"/>
              <a:t>Haga clic para cambiar el estilo de título	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ＭＳ Ｐゴシック" pitchFamily="100" charset="-128"/>
          <a:cs typeface="ＭＳ Ｐゴシック" pitchFamily="100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  <a:ea typeface="ＭＳ Ｐゴシック" pitchFamily="100" charset="-128"/>
          <a:cs typeface="ＭＳ Ｐゴシック" pitchFamily="10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  <a:ea typeface="ＭＳ Ｐゴシック" pitchFamily="100" charset="-128"/>
          <a:cs typeface="ＭＳ Ｐゴシック" pitchFamily="10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  <a:ea typeface="ＭＳ Ｐゴシック" pitchFamily="100" charset="-128"/>
          <a:cs typeface="ＭＳ Ｐゴシック" pitchFamily="10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  <a:ea typeface="ＭＳ Ｐゴシック" pitchFamily="100" charset="-128"/>
          <a:cs typeface="ＭＳ Ｐゴシック" pitchFamily="10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200000"/>
        <a:buChar char="•"/>
        <a:defRPr sz="3200">
          <a:solidFill>
            <a:schemeClr val="tx1"/>
          </a:solidFill>
          <a:latin typeface="+mn-lt"/>
          <a:ea typeface="ＭＳ Ｐゴシック" pitchFamily="100" charset="-128"/>
          <a:cs typeface="ＭＳ Ｐゴシック" pitchFamily="100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ea typeface="ＭＳ Ｐゴシック" pitchFamily="10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+mn-lt"/>
          <a:ea typeface="ＭＳ Ｐゴシック" pitchFamily="10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10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10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AutoShape 5"/>
          <p:cNvSpPr>
            <a:spLocks/>
          </p:cNvSpPr>
          <p:nvPr/>
        </p:nvSpPr>
        <p:spPr bwMode="auto">
          <a:xfrm>
            <a:off x="8028844" y="6502400"/>
            <a:ext cx="830873" cy="249238"/>
          </a:xfrm>
          <a:custGeom>
            <a:avLst/>
            <a:gdLst>
              <a:gd name="T0" fmla="*/ 0 w 21600"/>
              <a:gd name="T1" fmla="*/ 892206852 h 21600"/>
              <a:gd name="T2" fmla="*/ 2147483647 w 21600"/>
              <a:gd name="T3" fmla="*/ 141473318 h 21600"/>
              <a:gd name="T4" fmla="*/ 2147483647 w 21600"/>
              <a:gd name="T5" fmla="*/ 96575026 h 21600"/>
              <a:gd name="T6" fmla="*/ 2147483647 w 21600"/>
              <a:gd name="T7" fmla="*/ 275193756 h 21600"/>
              <a:gd name="T8" fmla="*/ 2147483647 w 21600"/>
              <a:gd name="T9" fmla="*/ 59300706 h 21600"/>
              <a:gd name="T10" fmla="*/ 2147483647 w 21600"/>
              <a:gd name="T11" fmla="*/ 702363606 h 21600"/>
              <a:gd name="T12" fmla="*/ 2147483647 w 21600"/>
              <a:gd name="T13" fmla="*/ 341566847 h 21600"/>
              <a:gd name="T14" fmla="*/ 2147483647 w 21600"/>
              <a:gd name="T15" fmla="*/ 6989884 h 21600"/>
              <a:gd name="T16" fmla="*/ 2147483647 w 21600"/>
              <a:gd name="T17" fmla="*/ 12835521 h 21600"/>
              <a:gd name="T18" fmla="*/ 2147483647 w 21600"/>
              <a:gd name="T19" fmla="*/ 406713202 h 21600"/>
              <a:gd name="T20" fmla="*/ 2147483647 w 21600"/>
              <a:gd name="T21" fmla="*/ 446866336 h 21600"/>
              <a:gd name="T22" fmla="*/ 2147483647 w 21600"/>
              <a:gd name="T23" fmla="*/ 193528986 h 21600"/>
              <a:gd name="T24" fmla="*/ 2147483647 w 21600"/>
              <a:gd name="T25" fmla="*/ 592022721 h 21600"/>
              <a:gd name="T26" fmla="*/ 2147483647 w 21600"/>
              <a:gd name="T27" fmla="*/ 635735349 h 21600"/>
              <a:gd name="T28" fmla="*/ 2147483647 w 21600"/>
              <a:gd name="T29" fmla="*/ 421156883 h 21600"/>
              <a:gd name="T30" fmla="*/ 2147483647 w 21600"/>
              <a:gd name="T31" fmla="*/ 88484663 h 21600"/>
              <a:gd name="T32" fmla="*/ 2147483647 w 21600"/>
              <a:gd name="T33" fmla="*/ 232540374 h 21600"/>
              <a:gd name="T34" fmla="*/ 2147483647 w 21600"/>
              <a:gd name="T35" fmla="*/ 232540374 h 21600"/>
              <a:gd name="T36" fmla="*/ 2147483647 w 21600"/>
              <a:gd name="T37" fmla="*/ 528997692 h 21600"/>
              <a:gd name="T38" fmla="*/ 2147483647 w 21600"/>
              <a:gd name="T39" fmla="*/ 523871306 h 21600"/>
              <a:gd name="T40" fmla="*/ 2147483647 w 21600"/>
              <a:gd name="T41" fmla="*/ 493754362 h 21600"/>
              <a:gd name="T42" fmla="*/ 2147483647 w 21600"/>
              <a:gd name="T43" fmla="*/ 631585869 h 21600"/>
              <a:gd name="T44" fmla="*/ 2147483647 w 21600"/>
              <a:gd name="T45" fmla="*/ 201322939 h 21600"/>
              <a:gd name="T46" fmla="*/ 2147483647 w 21600"/>
              <a:gd name="T47" fmla="*/ 482658754 h 21600"/>
              <a:gd name="T48" fmla="*/ 2147483647 w 21600"/>
              <a:gd name="T49" fmla="*/ 231014554 h 21600"/>
              <a:gd name="T50" fmla="*/ 2147483647 w 21600"/>
              <a:gd name="T51" fmla="*/ 318228550 h 21600"/>
              <a:gd name="T52" fmla="*/ 2147483647 w 21600"/>
              <a:gd name="T53" fmla="*/ 277015998 h 21600"/>
              <a:gd name="T54" fmla="*/ 2147483647 w 21600"/>
              <a:gd name="T55" fmla="*/ 522811888 h 21600"/>
              <a:gd name="T56" fmla="*/ 2147483647 w 21600"/>
              <a:gd name="T57" fmla="*/ 219323441 h 21600"/>
              <a:gd name="T58" fmla="*/ 2147483647 w 21600"/>
              <a:gd name="T59" fmla="*/ 536451489 h 21600"/>
              <a:gd name="T60" fmla="*/ 2147483647 w 21600"/>
              <a:gd name="T61" fmla="*/ 359611267 h 21600"/>
              <a:gd name="T62" fmla="*/ 2147483647 w 21600"/>
              <a:gd name="T63" fmla="*/ 245035739 h 21600"/>
              <a:gd name="T64" fmla="*/ 2147483647 w 21600"/>
              <a:gd name="T65" fmla="*/ 482658754 h 21600"/>
              <a:gd name="T66" fmla="*/ 2147483647 w 21600"/>
              <a:gd name="T67" fmla="*/ 710539155 h 21600"/>
              <a:gd name="T68" fmla="*/ 2147483647 w 21600"/>
              <a:gd name="T69" fmla="*/ 238512269 h 21600"/>
              <a:gd name="T70" fmla="*/ 2147483647 w 21600"/>
              <a:gd name="T71" fmla="*/ 386550130 h 21600"/>
              <a:gd name="T72" fmla="*/ 2147483647 w 21600"/>
              <a:gd name="T73" fmla="*/ 290400434 h 21600"/>
              <a:gd name="T74" fmla="*/ 2147483647 w 21600"/>
              <a:gd name="T75" fmla="*/ 415056069 h 21600"/>
              <a:gd name="T76" fmla="*/ 2147483647 w 21600"/>
              <a:gd name="T77" fmla="*/ 544753284 h 21600"/>
              <a:gd name="T78" fmla="*/ 2147483647 w 21600"/>
              <a:gd name="T79" fmla="*/ 589991905 h 21600"/>
              <a:gd name="T80" fmla="*/ 2147483647 w 21600"/>
              <a:gd name="T81" fmla="*/ 201067773 h 21600"/>
              <a:gd name="T82" fmla="*/ 2147483647 w 21600"/>
              <a:gd name="T83" fmla="*/ 231736294 h 21600"/>
              <a:gd name="T84" fmla="*/ 2147483647 w 21600"/>
              <a:gd name="T85" fmla="*/ 241690339 h 21600"/>
              <a:gd name="T86" fmla="*/ 2147483647 w 21600"/>
              <a:gd name="T87" fmla="*/ 501633500 h 21600"/>
              <a:gd name="T88" fmla="*/ 2147483647 w 21600"/>
              <a:gd name="T89" fmla="*/ 202171109 h 21600"/>
              <a:gd name="T90" fmla="*/ 2147483647 w 21600"/>
              <a:gd name="T91" fmla="*/ 34859246 h 21600"/>
              <a:gd name="T92" fmla="*/ 2147483647 w 21600"/>
              <a:gd name="T93" fmla="*/ 161040897 h 21600"/>
              <a:gd name="T94" fmla="*/ 2147483647 w 21600"/>
              <a:gd name="T95" fmla="*/ 209369568 h 21600"/>
              <a:gd name="T96" fmla="*/ 2147483647 w 21600"/>
              <a:gd name="T97" fmla="*/ 245966066 h 21600"/>
              <a:gd name="T98" fmla="*/ 2147483647 w 21600"/>
              <a:gd name="T99" fmla="*/ 501592243 h 21600"/>
              <a:gd name="T100" fmla="*/ 2147483647 w 21600"/>
              <a:gd name="T101" fmla="*/ 239486513 h 21600"/>
              <a:gd name="T102" fmla="*/ 2147483647 w 21600"/>
              <a:gd name="T103" fmla="*/ 497651349 h 21600"/>
              <a:gd name="T104" fmla="*/ 2147483647 w 21600"/>
              <a:gd name="T105" fmla="*/ 415522655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GB">
              <a:solidFill>
                <a:srgbClr val="003245"/>
              </a:solidFill>
            </a:endParaRPr>
          </a:p>
        </p:txBody>
      </p:sp>
      <p:sp>
        <p:nvSpPr>
          <p:cNvPr id="6148" name="Rectangle 13"/>
          <p:cNvSpPr>
            <a:spLocks/>
          </p:cNvSpPr>
          <p:nvPr/>
        </p:nvSpPr>
        <p:spPr bwMode="auto">
          <a:xfrm rot="10800000">
            <a:off x="7164292" y="6332538"/>
            <a:ext cx="864577" cy="49212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6149" name="Rectangle 12"/>
          <p:cNvSpPr>
            <a:spLocks/>
          </p:cNvSpPr>
          <p:nvPr/>
        </p:nvSpPr>
        <p:spPr bwMode="auto">
          <a:xfrm rot="10800000">
            <a:off x="8015680" y="6332538"/>
            <a:ext cx="1122485" cy="49212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6150" name="Rectangle 14"/>
          <p:cNvSpPr>
            <a:spLocks/>
          </p:cNvSpPr>
          <p:nvPr/>
        </p:nvSpPr>
        <p:spPr bwMode="auto">
          <a:xfrm rot="10800000">
            <a:off x="6268916" y="6332538"/>
            <a:ext cx="895350" cy="49212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6151" name="Rectangle 15"/>
          <p:cNvSpPr>
            <a:spLocks/>
          </p:cNvSpPr>
          <p:nvPr/>
        </p:nvSpPr>
        <p:spPr bwMode="auto">
          <a:xfrm rot="10800000">
            <a:off x="-5857" y="6332538"/>
            <a:ext cx="6274777" cy="49212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1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rgbClr val="072534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/>
              <a:pPr/>
              <a:t>‹Nº›</a:t>
            </a:fld>
            <a:endParaRPr lang="en-GB" dirty="0"/>
          </a:p>
        </p:txBody>
      </p:sp>
      <p:grpSp>
        <p:nvGrpSpPr>
          <p:cNvPr id="2" name="Grupo 10"/>
          <p:cNvGrpSpPr/>
          <p:nvPr userDrawn="1"/>
        </p:nvGrpSpPr>
        <p:grpSpPr>
          <a:xfrm>
            <a:off x="58864" y="6464175"/>
            <a:ext cx="2103461" cy="359735"/>
            <a:chOff x="58864" y="6464175"/>
            <a:chExt cx="2103461" cy="359735"/>
          </a:xfrm>
        </p:grpSpPr>
        <p:grpSp>
          <p:nvGrpSpPr>
            <p:cNvPr id="3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15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GB">
                  <a:solidFill>
                    <a:srgbClr val="003245"/>
                  </a:solidFill>
                </a:endParaRPr>
              </a:p>
            </p:txBody>
          </p:sp>
          <p:sp>
            <p:nvSpPr>
              <p:cNvPr id="16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GB">
                  <a:solidFill>
                    <a:srgbClr val="003245"/>
                  </a:solidFill>
                </a:endParaRPr>
              </a:p>
            </p:txBody>
          </p:sp>
        </p:grpSp>
        <p:sp>
          <p:nvSpPr>
            <p:cNvPr id="13" name="22 CuadroTexto"/>
            <p:cNvSpPr txBox="1"/>
            <p:nvPr userDrawn="1"/>
          </p:nvSpPr>
          <p:spPr>
            <a:xfrm>
              <a:off x="58864" y="6577689"/>
              <a:ext cx="210346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i="1" dirty="0">
                  <a:solidFill>
                    <a:srgbClr val="4BACC6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OVER, DISRUPT, DELIV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3195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7" r:id="rId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7B4C6"/>
          </a:solidFill>
          <a:latin typeface="+mj-lt"/>
          <a:ea typeface="+mj-ea"/>
          <a:cs typeface="+mj-cs"/>
          <a:sym typeface="Gill Sans" pitchFamily="122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889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1pPr>
      <a:lvl2pPr marL="13335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2pPr>
      <a:lvl3pPr marL="1778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3pPr>
      <a:lvl4pPr marL="22225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4pPr>
      <a:lvl5pPr marL="2667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5pPr>
      <a:lvl6pPr marL="31242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5814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40386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44958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AutoShape 5"/>
          <p:cNvSpPr>
            <a:spLocks/>
          </p:cNvSpPr>
          <p:nvPr/>
        </p:nvSpPr>
        <p:spPr bwMode="auto">
          <a:xfrm>
            <a:off x="8028844" y="6502400"/>
            <a:ext cx="830873" cy="249238"/>
          </a:xfrm>
          <a:custGeom>
            <a:avLst/>
            <a:gdLst>
              <a:gd name="T0" fmla="*/ 0 w 21600"/>
              <a:gd name="T1" fmla="*/ 892206852 h 21600"/>
              <a:gd name="T2" fmla="*/ 2147483647 w 21600"/>
              <a:gd name="T3" fmla="*/ 141473318 h 21600"/>
              <a:gd name="T4" fmla="*/ 2147483647 w 21600"/>
              <a:gd name="T5" fmla="*/ 96575026 h 21600"/>
              <a:gd name="T6" fmla="*/ 2147483647 w 21600"/>
              <a:gd name="T7" fmla="*/ 275193756 h 21600"/>
              <a:gd name="T8" fmla="*/ 2147483647 w 21600"/>
              <a:gd name="T9" fmla="*/ 59300706 h 21600"/>
              <a:gd name="T10" fmla="*/ 2147483647 w 21600"/>
              <a:gd name="T11" fmla="*/ 702363606 h 21600"/>
              <a:gd name="T12" fmla="*/ 2147483647 w 21600"/>
              <a:gd name="T13" fmla="*/ 341566847 h 21600"/>
              <a:gd name="T14" fmla="*/ 2147483647 w 21600"/>
              <a:gd name="T15" fmla="*/ 6989884 h 21600"/>
              <a:gd name="T16" fmla="*/ 2147483647 w 21600"/>
              <a:gd name="T17" fmla="*/ 12835521 h 21600"/>
              <a:gd name="T18" fmla="*/ 2147483647 w 21600"/>
              <a:gd name="T19" fmla="*/ 406713202 h 21600"/>
              <a:gd name="T20" fmla="*/ 2147483647 w 21600"/>
              <a:gd name="T21" fmla="*/ 446866336 h 21600"/>
              <a:gd name="T22" fmla="*/ 2147483647 w 21600"/>
              <a:gd name="T23" fmla="*/ 193528986 h 21600"/>
              <a:gd name="T24" fmla="*/ 2147483647 w 21600"/>
              <a:gd name="T25" fmla="*/ 592022721 h 21600"/>
              <a:gd name="T26" fmla="*/ 2147483647 w 21600"/>
              <a:gd name="T27" fmla="*/ 635735349 h 21600"/>
              <a:gd name="T28" fmla="*/ 2147483647 w 21600"/>
              <a:gd name="T29" fmla="*/ 421156883 h 21600"/>
              <a:gd name="T30" fmla="*/ 2147483647 w 21600"/>
              <a:gd name="T31" fmla="*/ 88484663 h 21600"/>
              <a:gd name="T32" fmla="*/ 2147483647 w 21600"/>
              <a:gd name="T33" fmla="*/ 232540374 h 21600"/>
              <a:gd name="T34" fmla="*/ 2147483647 w 21600"/>
              <a:gd name="T35" fmla="*/ 232540374 h 21600"/>
              <a:gd name="T36" fmla="*/ 2147483647 w 21600"/>
              <a:gd name="T37" fmla="*/ 528997692 h 21600"/>
              <a:gd name="T38" fmla="*/ 2147483647 w 21600"/>
              <a:gd name="T39" fmla="*/ 523871306 h 21600"/>
              <a:gd name="T40" fmla="*/ 2147483647 w 21600"/>
              <a:gd name="T41" fmla="*/ 493754362 h 21600"/>
              <a:gd name="T42" fmla="*/ 2147483647 w 21600"/>
              <a:gd name="T43" fmla="*/ 631585869 h 21600"/>
              <a:gd name="T44" fmla="*/ 2147483647 w 21600"/>
              <a:gd name="T45" fmla="*/ 201322939 h 21600"/>
              <a:gd name="T46" fmla="*/ 2147483647 w 21600"/>
              <a:gd name="T47" fmla="*/ 482658754 h 21600"/>
              <a:gd name="T48" fmla="*/ 2147483647 w 21600"/>
              <a:gd name="T49" fmla="*/ 231014554 h 21600"/>
              <a:gd name="T50" fmla="*/ 2147483647 w 21600"/>
              <a:gd name="T51" fmla="*/ 318228550 h 21600"/>
              <a:gd name="T52" fmla="*/ 2147483647 w 21600"/>
              <a:gd name="T53" fmla="*/ 277015998 h 21600"/>
              <a:gd name="T54" fmla="*/ 2147483647 w 21600"/>
              <a:gd name="T55" fmla="*/ 522811888 h 21600"/>
              <a:gd name="T56" fmla="*/ 2147483647 w 21600"/>
              <a:gd name="T57" fmla="*/ 219323441 h 21600"/>
              <a:gd name="T58" fmla="*/ 2147483647 w 21600"/>
              <a:gd name="T59" fmla="*/ 536451489 h 21600"/>
              <a:gd name="T60" fmla="*/ 2147483647 w 21600"/>
              <a:gd name="T61" fmla="*/ 359611267 h 21600"/>
              <a:gd name="T62" fmla="*/ 2147483647 w 21600"/>
              <a:gd name="T63" fmla="*/ 245035739 h 21600"/>
              <a:gd name="T64" fmla="*/ 2147483647 w 21600"/>
              <a:gd name="T65" fmla="*/ 482658754 h 21600"/>
              <a:gd name="T66" fmla="*/ 2147483647 w 21600"/>
              <a:gd name="T67" fmla="*/ 710539155 h 21600"/>
              <a:gd name="T68" fmla="*/ 2147483647 w 21600"/>
              <a:gd name="T69" fmla="*/ 238512269 h 21600"/>
              <a:gd name="T70" fmla="*/ 2147483647 w 21600"/>
              <a:gd name="T71" fmla="*/ 386550130 h 21600"/>
              <a:gd name="T72" fmla="*/ 2147483647 w 21600"/>
              <a:gd name="T73" fmla="*/ 290400434 h 21600"/>
              <a:gd name="T74" fmla="*/ 2147483647 w 21600"/>
              <a:gd name="T75" fmla="*/ 415056069 h 21600"/>
              <a:gd name="T76" fmla="*/ 2147483647 w 21600"/>
              <a:gd name="T77" fmla="*/ 544753284 h 21600"/>
              <a:gd name="T78" fmla="*/ 2147483647 w 21600"/>
              <a:gd name="T79" fmla="*/ 589991905 h 21600"/>
              <a:gd name="T80" fmla="*/ 2147483647 w 21600"/>
              <a:gd name="T81" fmla="*/ 201067773 h 21600"/>
              <a:gd name="T82" fmla="*/ 2147483647 w 21600"/>
              <a:gd name="T83" fmla="*/ 231736294 h 21600"/>
              <a:gd name="T84" fmla="*/ 2147483647 w 21600"/>
              <a:gd name="T85" fmla="*/ 241690339 h 21600"/>
              <a:gd name="T86" fmla="*/ 2147483647 w 21600"/>
              <a:gd name="T87" fmla="*/ 501633500 h 21600"/>
              <a:gd name="T88" fmla="*/ 2147483647 w 21600"/>
              <a:gd name="T89" fmla="*/ 202171109 h 21600"/>
              <a:gd name="T90" fmla="*/ 2147483647 w 21600"/>
              <a:gd name="T91" fmla="*/ 34859246 h 21600"/>
              <a:gd name="T92" fmla="*/ 2147483647 w 21600"/>
              <a:gd name="T93" fmla="*/ 161040897 h 21600"/>
              <a:gd name="T94" fmla="*/ 2147483647 w 21600"/>
              <a:gd name="T95" fmla="*/ 209369568 h 21600"/>
              <a:gd name="T96" fmla="*/ 2147483647 w 21600"/>
              <a:gd name="T97" fmla="*/ 245966066 h 21600"/>
              <a:gd name="T98" fmla="*/ 2147483647 w 21600"/>
              <a:gd name="T99" fmla="*/ 501592243 h 21600"/>
              <a:gd name="T100" fmla="*/ 2147483647 w 21600"/>
              <a:gd name="T101" fmla="*/ 239486513 h 21600"/>
              <a:gd name="T102" fmla="*/ 2147483647 w 21600"/>
              <a:gd name="T103" fmla="*/ 497651349 h 21600"/>
              <a:gd name="T104" fmla="*/ 2147483647 w 21600"/>
              <a:gd name="T105" fmla="*/ 415522655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GB">
              <a:solidFill>
                <a:srgbClr val="003245"/>
              </a:solidFill>
            </a:endParaRPr>
          </a:p>
        </p:txBody>
      </p:sp>
      <p:sp>
        <p:nvSpPr>
          <p:cNvPr id="6148" name="Rectangle 13"/>
          <p:cNvSpPr>
            <a:spLocks/>
          </p:cNvSpPr>
          <p:nvPr/>
        </p:nvSpPr>
        <p:spPr bwMode="auto">
          <a:xfrm rot="10800000">
            <a:off x="7164292" y="6332538"/>
            <a:ext cx="864577" cy="49212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6149" name="Rectangle 12"/>
          <p:cNvSpPr>
            <a:spLocks/>
          </p:cNvSpPr>
          <p:nvPr/>
        </p:nvSpPr>
        <p:spPr bwMode="auto">
          <a:xfrm rot="10800000">
            <a:off x="8015680" y="6332538"/>
            <a:ext cx="1122485" cy="49212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6150" name="Rectangle 14"/>
          <p:cNvSpPr>
            <a:spLocks/>
          </p:cNvSpPr>
          <p:nvPr/>
        </p:nvSpPr>
        <p:spPr bwMode="auto">
          <a:xfrm rot="10800000">
            <a:off x="6268916" y="6332538"/>
            <a:ext cx="895350" cy="49212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6151" name="Rectangle 15"/>
          <p:cNvSpPr>
            <a:spLocks/>
          </p:cNvSpPr>
          <p:nvPr/>
        </p:nvSpPr>
        <p:spPr bwMode="auto">
          <a:xfrm rot="10800000">
            <a:off x="-5857" y="6332538"/>
            <a:ext cx="6274777" cy="49212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245"/>
              </a:solidFill>
            </a:endParaRPr>
          </a:p>
        </p:txBody>
      </p:sp>
      <p:sp>
        <p:nvSpPr>
          <p:cNvPr id="1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0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rgbClr val="072534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/>
              <a:pPr/>
              <a:t>‹Nº›</a:t>
            </a:fld>
            <a:endParaRPr lang="en-GB" dirty="0"/>
          </a:p>
        </p:txBody>
      </p:sp>
      <p:grpSp>
        <p:nvGrpSpPr>
          <p:cNvPr id="2" name="Grupo 10"/>
          <p:cNvGrpSpPr/>
          <p:nvPr userDrawn="1"/>
        </p:nvGrpSpPr>
        <p:grpSpPr>
          <a:xfrm>
            <a:off x="58864" y="6464175"/>
            <a:ext cx="2103461" cy="359735"/>
            <a:chOff x="58864" y="6464175"/>
            <a:chExt cx="2103461" cy="359735"/>
          </a:xfrm>
        </p:grpSpPr>
        <p:grpSp>
          <p:nvGrpSpPr>
            <p:cNvPr id="3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15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GB">
                  <a:solidFill>
                    <a:srgbClr val="003245"/>
                  </a:solidFill>
                </a:endParaRPr>
              </a:p>
            </p:txBody>
          </p:sp>
          <p:sp>
            <p:nvSpPr>
              <p:cNvPr id="16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GB">
                  <a:solidFill>
                    <a:srgbClr val="003245"/>
                  </a:solidFill>
                </a:endParaRPr>
              </a:p>
            </p:txBody>
          </p:sp>
        </p:grpSp>
        <p:sp>
          <p:nvSpPr>
            <p:cNvPr id="13" name="22 CuadroTexto"/>
            <p:cNvSpPr txBox="1"/>
            <p:nvPr userDrawn="1"/>
          </p:nvSpPr>
          <p:spPr>
            <a:xfrm>
              <a:off x="58864" y="6577689"/>
              <a:ext cx="210346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i="1" dirty="0">
                  <a:solidFill>
                    <a:srgbClr val="4BACC6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OVER, DISRUPT, DELIV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3195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1" r:id="rId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7B4C6"/>
          </a:solidFill>
          <a:latin typeface="+mj-lt"/>
          <a:ea typeface="+mj-ea"/>
          <a:cs typeface="+mj-cs"/>
          <a:sym typeface="Gill Sans" pitchFamily="122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889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1pPr>
      <a:lvl2pPr marL="13335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2pPr>
      <a:lvl3pPr marL="1778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3pPr>
      <a:lvl4pPr marL="22225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4pPr>
      <a:lvl5pPr marL="2667000" indent="-571500" algn="l" rtl="0" eaLnBrk="0" fontAlgn="base" hangingPunct="0">
        <a:spcBef>
          <a:spcPts val="3400"/>
        </a:spcBef>
        <a:spcAft>
          <a:spcPct val="0"/>
        </a:spcAft>
        <a:buSzPct val="171000"/>
        <a:buFont typeface="Gill Sans" pitchFamily="122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5pPr>
      <a:lvl6pPr marL="31242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5814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40386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4495800" indent="-571500" algn="l" rtl="0" fontAlgn="base">
        <a:spcBef>
          <a:spcPts val="3400"/>
        </a:spcBef>
        <a:spcAft>
          <a:spcPct val="0"/>
        </a:spcAft>
        <a:buSzPct val="171000"/>
        <a:buFont typeface="Gill Sans" charset="0"/>
        <a:buChar char="•"/>
        <a:defRPr sz="28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mailto:nicolas.castagnino@telefoncia.com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4.xml"/><Relationship Id="rId7" Type="http://schemas.openxmlformats.org/officeDocument/2006/relationships/image" Target="../media/image11.png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117" Type="http://schemas.openxmlformats.org/officeDocument/2006/relationships/tags" Target="../tags/tag141.xml"/><Relationship Id="rId299" Type="http://schemas.openxmlformats.org/officeDocument/2006/relationships/tags" Target="../tags/tag323.xml"/><Relationship Id="rId303" Type="http://schemas.openxmlformats.org/officeDocument/2006/relationships/tags" Target="../tags/tag327.xml"/><Relationship Id="rId21" Type="http://schemas.openxmlformats.org/officeDocument/2006/relationships/tags" Target="../tags/tag45.xml"/><Relationship Id="rId42" Type="http://schemas.openxmlformats.org/officeDocument/2006/relationships/tags" Target="../tags/tag66.xml"/><Relationship Id="rId63" Type="http://schemas.openxmlformats.org/officeDocument/2006/relationships/tags" Target="../tags/tag87.xml"/><Relationship Id="rId84" Type="http://schemas.openxmlformats.org/officeDocument/2006/relationships/tags" Target="../tags/tag108.xml"/><Relationship Id="rId138" Type="http://schemas.openxmlformats.org/officeDocument/2006/relationships/tags" Target="../tags/tag162.xml"/><Relationship Id="rId159" Type="http://schemas.openxmlformats.org/officeDocument/2006/relationships/tags" Target="../tags/tag183.xml"/><Relationship Id="rId170" Type="http://schemas.openxmlformats.org/officeDocument/2006/relationships/tags" Target="../tags/tag194.xml"/><Relationship Id="rId191" Type="http://schemas.openxmlformats.org/officeDocument/2006/relationships/tags" Target="../tags/tag215.xml"/><Relationship Id="rId205" Type="http://schemas.openxmlformats.org/officeDocument/2006/relationships/tags" Target="../tags/tag229.xml"/><Relationship Id="rId226" Type="http://schemas.openxmlformats.org/officeDocument/2006/relationships/tags" Target="../tags/tag250.xml"/><Relationship Id="rId247" Type="http://schemas.openxmlformats.org/officeDocument/2006/relationships/tags" Target="../tags/tag271.xml"/><Relationship Id="rId107" Type="http://schemas.openxmlformats.org/officeDocument/2006/relationships/tags" Target="../tags/tag131.xml"/><Relationship Id="rId268" Type="http://schemas.openxmlformats.org/officeDocument/2006/relationships/tags" Target="../tags/tag292.xml"/><Relationship Id="rId289" Type="http://schemas.openxmlformats.org/officeDocument/2006/relationships/tags" Target="../tags/tag313.xml"/><Relationship Id="rId11" Type="http://schemas.openxmlformats.org/officeDocument/2006/relationships/tags" Target="../tags/tag35.xml"/><Relationship Id="rId32" Type="http://schemas.openxmlformats.org/officeDocument/2006/relationships/tags" Target="../tags/tag56.xml"/><Relationship Id="rId53" Type="http://schemas.openxmlformats.org/officeDocument/2006/relationships/tags" Target="../tags/tag77.xml"/><Relationship Id="rId74" Type="http://schemas.openxmlformats.org/officeDocument/2006/relationships/tags" Target="../tags/tag98.xml"/><Relationship Id="rId128" Type="http://schemas.openxmlformats.org/officeDocument/2006/relationships/tags" Target="../tags/tag152.xml"/><Relationship Id="rId149" Type="http://schemas.openxmlformats.org/officeDocument/2006/relationships/tags" Target="../tags/tag173.xml"/><Relationship Id="rId5" Type="http://schemas.openxmlformats.org/officeDocument/2006/relationships/tags" Target="../tags/tag29.xml"/><Relationship Id="rId95" Type="http://schemas.openxmlformats.org/officeDocument/2006/relationships/tags" Target="../tags/tag119.xml"/><Relationship Id="rId160" Type="http://schemas.openxmlformats.org/officeDocument/2006/relationships/tags" Target="../tags/tag184.xml"/><Relationship Id="rId181" Type="http://schemas.openxmlformats.org/officeDocument/2006/relationships/tags" Target="../tags/tag205.xml"/><Relationship Id="rId216" Type="http://schemas.openxmlformats.org/officeDocument/2006/relationships/tags" Target="../tags/tag240.xml"/><Relationship Id="rId237" Type="http://schemas.openxmlformats.org/officeDocument/2006/relationships/tags" Target="../tags/tag261.xml"/><Relationship Id="rId258" Type="http://schemas.openxmlformats.org/officeDocument/2006/relationships/tags" Target="../tags/tag282.xml"/><Relationship Id="rId279" Type="http://schemas.openxmlformats.org/officeDocument/2006/relationships/tags" Target="../tags/tag303.xml"/><Relationship Id="rId22" Type="http://schemas.openxmlformats.org/officeDocument/2006/relationships/tags" Target="../tags/tag46.xml"/><Relationship Id="rId43" Type="http://schemas.openxmlformats.org/officeDocument/2006/relationships/tags" Target="../tags/tag67.xml"/><Relationship Id="rId64" Type="http://schemas.openxmlformats.org/officeDocument/2006/relationships/tags" Target="../tags/tag88.xml"/><Relationship Id="rId118" Type="http://schemas.openxmlformats.org/officeDocument/2006/relationships/tags" Target="../tags/tag142.xml"/><Relationship Id="rId139" Type="http://schemas.openxmlformats.org/officeDocument/2006/relationships/tags" Target="../tags/tag163.xml"/><Relationship Id="rId290" Type="http://schemas.openxmlformats.org/officeDocument/2006/relationships/tags" Target="../tags/tag314.xml"/><Relationship Id="rId304" Type="http://schemas.openxmlformats.org/officeDocument/2006/relationships/slideLayout" Target="../slideLayouts/slideLayout15.xml"/><Relationship Id="rId85" Type="http://schemas.openxmlformats.org/officeDocument/2006/relationships/tags" Target="../tags/tag109.xml"/><Relationship Id="rId150" Type="http://schemas.openxmlformats.org/officeDocument/2006/relationships/tags" Target="../tags/tag174.xml"/><Relationship Id="rId171" Type="http://schemas.openxmlformats.org/officeDocument/2006/relationships/tags" Target="../tags/tag195.xml"/><Relationship Id="rId192" Type="http://schemas.openxmlformats.org/officeDocument/2006/relationships/tags" Target="../tags/tag216.xml"/><Relationship Id="rId206" Type="http://schemas.openxmlformats.org/officeDocument/2006/relationships/tags" Target="../tags/tag230.xml"/><Relationship Id="rId227" Type="http://schemas.openxmlformats.org/officeDocument/2006/relationships/tags" Target="../tags/tag251.xml"/><Relationship Id="rId248" Type="http://schemas.openxmlformats.org/officeDocument/2006/relationships/tags" Target="../tags/tag272.xml"/><Relationship Id="rId269" Type="http://schemas.openxmlformats.org/officeDocument/2006/relationships/tags" Target="../tags/tag293.xml"/><Relationship Id="rId12" Type="http://schemas.openxmlformats.org/officeDocument/2006/relationships/tags" Target="../tags/tag36.xml"/><Relationship Id="rId33" Type="http://schemas.openxmlformats.org/officeDocument/2006/relationships/tags" Target="../tags/tag57.xml"/><Relationship Id="rId108" Type="http://schemas.openxmlformats.org/officeDocument/2006/relationships/tags" Target="../tags/tag132.xml"/><Relationship Id="rId129" Type="http://schemas.openxmlformats.org/officeDocument/2006/relationships/tags" Target="../tags/tag153.xml"/><Relationship Id="rId280" Type="http://schemas.openxmlformats.org/officeDocument/2006/relationships/tags" Target="../tags/tag304.xml"/><Relationship Id="rId54" Type="http://schemas.openxmlformats.org/officeDocument/2006/relationships/tags" Target="../tags/tag78.xml"/><Relationship Id="rId75" Type="http://schemas.openxmlformats.org/officeDocument/2006/relationships/tags" Target="../tags/tag99.xml"/><Relationship Id="rId96" Type="http://schemas.openxmlformats.org/officeDocument/2006/relationships/tags" Target="../tags/tag120.xml"/><Relationship Id="rId140" Type="http://schemas.openxmlformats.org/officeDocument/2006/relationships/tags" Target="../tags/tag164.xml"/><Relationship Id="rId161" Type="http://schemas.openxmlformats.org/officeDocument/2006/relationships/tags" Target="../tags/tag185.xml"/><Relationship Id="rId182" Type="http://schemas.openxmlformats.org/officeDocument/2006/relationships/tags" Target="../tags/tag206.xml"/><Relationship Id="rId217" Type="http://schemas.openxmlformats.org/officeDocument/2006/relationships/tags" Target="../tags/tag241.xml"/><Relationship Id="rId6" Type="http://schemas.openxmlformats.org/officeDocument/2006/relationships/tags" Target="../tags/tag30.xml"/><Relationship Id="rId238" Type="http://schemas.openxmlformats.org/officeDocument/2006/relationships/tags" Target="../tags/tag262.xml"/><Relationship Id="rId259" Type="http://schemas.openxmlformats.org/officeDocument/2006/relationships/tags" Target="../tags/tag283.xml"/><Relationship Id="rId23" Type="http://schemas.openxmlformats.org/officeDocument/2006/relationships/tags" Target="../tags/tag47.xml"/><Relationship Id="rId119" Type="http://schemas.openxmlformats.org/officeDocument/2006/relationships/tags" Target="../tags/tag143.xml"/><Relationship Id="rId270" Type="http://schemas.openxmlformats.org/officeDocument/2006/relationships/tags" Target="../tags/tag294.xml"/><Relationship Id="rId291" Type="http://schemas.openxmlformats.org/officeDocument/2006/relationships/tags" Target="../tags/tag315.xml"/><Relationship Id="rId44" Type="http://schemas.openxmlformats.org/officeDocument/2006/relationships/tags" Target="../tags/tag68.xml"/><Relationship Id="rId65" Type="http://schemas.openxmlformats.org/officeDocument/2006/relationships/tags" Target="../tags/tag89.xml"/><Relationship Id="rId86" Type="http://schemas.openxmlformats.org/officeDocument/2006/relationships/tags" Target="../tags/tag110.xml"/><Relationship Id="rId130" Type="http://schemas.openxmlformats.org/officeDocument/2006/relationships/tags" Target="../tags/tag154.xml"/><Relationship Id="rId151" Type="http://schemas.openxmlformats.org/officeDocument/2006/relationships/tags" Target="../tags/tag175.xml"/><Relationship Id="rId172" Type="http://schemas.openxmlformats.org/officeDocument/2006/relationships/tags" Target="../tags/tag196.xml"/><Relationship Id="rId193" Type="http://schemas.openxmlformats.org/officeDocument/2006/relationships/tags" Target="../tags/tag217.xml"/><Relationship Id="rId207" Type="http://schemas.openxmlformats.org/officeDocument/2006/relationships/tags" Target="../tags/tag231.xml"/><Relationship Id="rId228" Type="http://schemas.openxmlformats.org/officeDocument/2006/relationships/tags" Target="../tags/tag252.xml"/><Relationship Id="rId249" Type="http://schemas.openxmlformats.org/officeDocument/2006/relationships/tags" Target="../tags/tag273.xml"/><Relationship Id="rId13" Type="http://schemas.openxmlformats.org/officeDocument/2006/relationships/tags" Target="../tags/tag37.xml"/><Relationship Id="rId109" Type="http://schemas.openxmlformats.org/officeDocument/2006/relationships/tags" Target="../tags/tag133.xml"/><Relationship Id="rId260" Type="http://schemas.openxmlformats.org/officeDocument/2006/relationships/tags" Target="../tags/tag284.xml"/><Relationship Id="rId281" Type="http://schemas.openxmlformats.org/officeDocument/2006/relationships/tags" Target="../tags/tag305.xml"/><Relationship Id="rId34" Type="http://schemas.openxmlformats.org/officeDocument/2006/relationships/tags" Target="../tags/tag58.xml"/><Relationship Id="rId55" Type="http://schemas.openxmlformats.org/officeDocument/2006/relationships/tags" Target="../tags/tag79.xml"/><Relationship Id="rId76" Type="http://schemas.openxmlformats.org/officeDocument/2006/relationships/tags" Target="../tags/tag100.xml"/><Relationship Id="rId97" Type="http://schemas.openxmlformats.org/officeDocument/2006/relationships/tags" Target="../tags/tag121.xml"/><Relationship Id="rId120" Type="http://schemas.openxmlformats.org/officeDocument/2006/relationships/tags" Target="../tags/tag144.xml"/><Relationship Id="rId141" Type="http://schemas.openxmlformats.org/officeDocument/2006/relationships/tags" Target="../tags/tag165.xml"/><Relationship Id="rId7" Type="http://schemas.openxmlformats.org/officeDocument/2006/relationships/tags" Target="../tags/tag31.xml"/><Relationship Id="rId162" Type="http://schemas.openxmlformats.org/officeDocument/2006/relationships/tags" Target="../tags/tag186.xml"/><Relationship Id="rId183" Type="http://schemas.openxmlformats.org/officeDocument/2006/relationships/tags" Target="../tags/tag207.xml"/><Relationship Id="rId218" Type="http://schemas.openxmlformats.org/officeDocument/2006/relationships/tags" Target="../tags/tag242.xml"/><Relationship Id="rId239" Type="http://schemas.openxmlformats.org/officeDocument/2006/relationships/tags" Target="../tags/tag263.xml"/><Relationship Id="rId2" Type="http://schemas.openxmlformats.org/officeDocument/2006/relationships/tags" Target="../tags/tag26.xml"/><Relationship Id="rId29" Type="http://schemas.openxmlformats.org/officeDocument/2006/relationships/tags" Target="../tags/tag53.xml"/><Relationship Id="rId250" Type="http://schemas.openxmlformats.org/officeDocument/2006/relationships/tags" Target="../tags/tag274.xml"/><Relationship Id="rId255" Type="http://schemas.openxmlformats.org/officeDocument/2006/relationships/tags" Target="../tags/tag279.xml"/><Relationship Id="rId271" Type="http://schemas.openxmlformats.org/officeDocument/2006/relationships/tags" Target="../tags/tag295.xml"/><Relationship Id="rId276" Type="http://schemas.openxmlformats.org/officeDocument/2006/relationships/tags" Target="../tags/tag300.xml"/><Relationship Id="rId292" Type="http://schemas.openxmlformats.org/officeDocument/2006/relationships/tags" Target="../tags/tag316.xml"/><Relationship Id="rId297" Type="http://schemas.openxmlformats.org/officeDocument/2006/relationships/tags" Target="../tags/tag321.xml"/><Relationship Id="rId24" Type="http://schemas.openxmlformats.org/officeDocument/2006/relationships/tags" Target="../tags/tag48.xml"/><Relationship Id="rId40" Type="http://schemas.openxmlformats.org/officeDocument/2006/relationships/tags" Target="../tags/tag64.xml"/><Relationship Id="rId45" Type="http://schemas.openxmlformats.org/officeDocument/2006/relationships/tags" Target="../tags/tag69.xml"/><Relationship Id="rId66" Type="http://schemas.openxmlformats.org/officeDocument/2006/relationships/tags" Target="../tags/tag90.xml"/><Relationship Id="rId87" Type="http://schemas.openxmlformats.org/officeDocument/2006/relationships/tags" Target="../tags/tag111.xml"/><Relationship Id="rId110" Type="http://schemas.openxmlformats.org/officeDocument/2006/relationships/tags" Target="../tags/tag134.xml"/><Relationship Id="rId115" Type="http://schemas.openxmlformats.org/officeDocument/2006/relationships/tags" Target="../tags/tag139.xml"/><Relationship Id="rId131" Type="http://schemas.openxmlformats.org/officeDocument/2006/relationships/tags" Target="../tags/tag155.xml"/><Relationship Id="rId136" Type="http://schemas.openxmlformats.org/officeDocument/2006/relationships/tags" Target="../tags/tag160.xml"/><Relationship Id="rId157" Type="http://schemas.openxmlformats.org/officeDocument/2006/relationships/tags" Target="../tags/tag181.xml"/><Relationship Id="rId178" Type="http://schemas.openxmlformats.org/officeDocument/2006/relationships/tags" Target="../tags/tag202.xml"/><Relationship Id="rId301" Type="http://schemas.openxmlformats.org/officeDocument/2006/relationships/tags" Target="../tags/tag325.xml"/><Relationship Id="rId61" Type="http://schemas.openxmlformats.org/officeDocument/2006/relationships/tags" Target="../tags/tag85.xml"/><Relationship Id="rId82" Type="http://schemas.openxmlformats.org/officeDocument/2006/relationships/tags" Target="../tags/tag106.xml"/><Relationship Id="rId152" Type="http://schemas.openxmlformats.org/officeDocument/2006/relationships/tags" Target="../tags/tag176.xml"/><Relationship Id="rId173" Type="http://schemas.openxmlformats.org/officeDocument/2006/relationships/tags" Target="../tags/tag197.xml"/><Relationship Id="rId194" Type="http://schemas.openxmlformats.org/officeDocument/2006/relationships/tags" Target="../tags/tag218.xml"/><Relationship Id="rId199" Type="http://schemas.openxmlformats.org/officeDocument/2006/relationships/tags" Target="../tags/tag223.xml"/><Relationship Id="rId203" Type="http://schemas.openxmlformats.org/officeDocument/2006/relationships/tags" Target="../tags/tag227.xml"/><Relationship Id="rId208" Type="http://schemas.openxmlformats.org/officeDocument/2006/relationships/tags" Target="../tags/tag232.xml"/><Relationship Id="rId229" Type="http://schemas.openxmlformats.org/officeDocument/2006/relationships/tags" Target="../tags/tag253.xml"/><Relationship Id="rId19" Type="http://schemas.openxmlformats.org/officeDocument/2006/relationships/tags" Target="../tags/tag43.xml"/><Relationship Id="rId224" Type="http://schemas.openxmlformats.org/officeDocument/2006/relationships/tags" Target="../tags/tag248.xml"/><Relationship Id="rId240" Type="http://schemas.openxmlformats.org/officeDocument/2006/relationships/tags" Target="../tags/tag264.xml"/><Relationship Id="rId245" Type="http://schemas.openxmlformats.org/officeDocument/2006/relationships/tags" Target="../tags/tag269.xml"/><Relationship Id="rId261" Type="http://schemas.openxmlformats.org/officeDocument/2006/relationships/tags" Target="../tags/tag285.xml"/><Relationship Id="rId266" Type="http://schemas.openxmlformats.org/officeDocument/2006/relationships/tags" Target="../tags/tag290.xml"/><Relationship Id="rId287" Type="http://schemas.openxmlformats.org/officeDocument/2006/relationships/tags" Target="../tags/tag311.xml"/><Relationship Id="rId14" Type="http://schemas.openxmlformats.org/officeDocument/2006/relationships/tags" Target="../tags/tag38.xml"/><Relationship Id="rId30" Type="http://schemas.openxmlformats.org/officeDocument/2006/relationships/tags" Target="../tags/tag54.xml"/><Relationship Id="rId35" Type="http://schemas.openxmlformats.org/officeDocument/2006/relationships/tags" Target="../tags/tag59.xml"/><Relationship Id="rId56" Type="http://schemas.openxmlformats.org/officeDocument/2006/relationships/tags" Target="../tags/tag80.xml"/><Relationship Id="rId77" Type="http://schemas.openxmlformats.org/officeDocument/2006/relationships/tags" Target="../tags/tag101.xml"/><Relationship Id="rId100" Type="http://schemas.openxmlformats.org/officeDocument/2006/relationships/tags" Target="../tags/tag124.xml"/><Relationship Id="rId105" Type="http://schemas.openxmlformats.org/officeDocument/2006/relationships/tags" Target="../tags/tag129.xml"/><Relationship Id="rId126" Type="http://schemas.openxmlformats.org/officeDocument/2006/relationships/tags" Target="../tags/tag150.xml"/><Relationship Id="rId147" Type="http://schemas.openxmlformats.org/officeDocument/2006/relationships/tags" Target="../tags/tag171.xml"/><Relationship Id="rId168" Type="http://schemas.openxmlformats.org/officeDocument/2006/relationships/tags" Target="../tags/tag192.xml"/><Relationship Id="rId282" Type="http://schemas.openxmlformats.org/officeDocument/2006/relationships/tags" Target="../tags/tag306.xml"/><Relationship Id="rId8" Type="http://schemas.openxmlformats.org/officeDocument/2006/relationships/tags" Target="../tags/tag32.xml"/><Relationship Id="rId51" Type="http://schemas.openxmlformats.org/officeDocument/2006/relationships/tags" Target="../tags/tag75.xml"/><Relationship Id="rId72" Type="http://schemas.openxmlformats.org/officeDocument/2006/relationships/tags" Target="../tags/tag96.xml"/><Relationship Id="rId93" Type="http://schemas.openxmlformats.org/officeDocument/2006/relationships/tags" Target="../tags/tag117.xml"/><Relationship Id="rId98" Type="http://schemas.openxmlformats.org/officeDocument/2006/relationships/tags" Target="../tags/tag122.xml"/><Relationship Id="rId121" Type="http://schemas.openxmlformats.org/officeDocument/2006/relationships/tags" Target="../tags/tag145.xml"/><Relationship Id="rId142" Type="http://schemas.openxmlformats.org/officeDocument/2006/relationships/tags" Target="../tags/tag166.xml"/><Relationship Id="rId163" Type="http://schemas.openxmlformats.org/officeDocument/2006/relationships/tags" Target="../tags/tag187.xml"/><Relationship Id="rId184" Type="http://schemas.openxmlformats.org/officeDocument/2006/relationships/tags" Target="../tags/tag208.xml"/><Relationship Id="rId189" Type="http://schemas.openxmlformats.org/officeDocument/2006/relationships/tags" Target="../tags/tag213.xml"/><Relationship Id="rId219" Type="http://schemas.openxmlformats.org/officeDocument/2006/relationships/tags" Target="../tags/tag243.xml"/><Relationship Id="rId3" Type="http://schemas.openxmlformats.org/officeDocument/2006/relationships/tags" Target="../tags/tag27.xml"/><Relationship Id="rId214" Type="http://schemas.openxmlformats.org/officeDocument/2006/relationships/tags" Target="../tags/tag238.xml"/><Relationship Id="rId230" Type="http://schemas.openxmlformats.org/officeDocument/2006/relationships/tags" Target="../tags/tag254.xml"/><Relationship Id="rId235" Type="http://schemas.openxmlformats.org/officeDocument/2006/relationships/tags" Target="../tags/tag259.xml"/><Relationship Id="rId251" Type="http://schemas.openxmlformats.org/officeDocument/2006/relationships/tags" Target="../tags/tag275.xml"/><Relationship Id="rId256" Type="http://schemas.openxmlformats.org/officeDocument/2006/relationships/tags" Target="../tags/tag280.xml"/><Relationship Id="rId277" Type="http://schemas.openxmlformats.org/officeDocument/2006/relationships/tags" Target="../tags/tag301.xml"/><Relationship Id="rId298" Type="http://schemas.openxmlformats.org/officeDocument/2006/relationships/tags" Target="../tags/tag322.xml"/><Relationship Id="rId25" Type="http://schemas.openxmlformats.org/officeDocument/2006/relationships/tags" Target="../tags/tag49.xml"/><Relationship Id="rId46" Type="http://schemas.openxmlformats.org/officeDocument/2006/relationships/tags" Target="../tags/tag70.xml"/><Relationship Id="rId67" Type="http://schemas.openxmlformats.org/officeDocument/2006/relationships/tags" Target="../tags/tag91.xml"/><Relationship Id="rId116" Type="http://schemas.openxmlformats.org/officeDocument/2006/relationships/tags" Target="../tags/tag140.xml"/><Relationship Id="rId137" Type="http://schemas.openxmlformats.org/officeDocument/2006/relationships/tags" Target="../tags/tag161.xml"/><Relationship Id="rId158" Type="http://schemas.openxmlformats.org/officeDocument/2006/relationships/tags" Target="../tags/tag182.xml"/><Relationship Id="rId272" Type="http://schemas.openxmlformats.org/officeDocument/2006/relationships/tags" Target="../tags/tag296.xml"/><Relationship Id="rId293" Type="http://schemas.openxmlformats.org/officeDocument/2006/relationships/tags" Target="../tags/tag317.xml"/><Relationship Id="rId302" Type="http://schemas.openxmlformats.org/officeDocument/2006/relationships/tags" Target="../tags/tag326.xml"/><Relationship Id="rId20" Type="http://schemas.openxmlformats.org/officeDocument/2006/relationships/tags" Target="../tags/tag44.xml"/><Relationship Id="rId41" Type="http://schemas.openxmlformats.org/officeDocument/2006/relationships/tags" Target="../tags/tag65.xml"/><Relationship Id="rId62" Type="http://schemas.openxmlformats.org/officeDocument/2006/relationships/tags" Target="../tags/tag86.xml"/><Relationship Id="rId83" Type="http://schemas.openxmlformats.org/officeDocument/2006/relationships/tags" Target="../tags/tag107.xml"/><Relationship Id="rId88" Type="http://schemas.openxmlformats.org/officeDocument/2006/relationships/tags" Target="../tags/tag112.xml"/><Relationship Id="rId111" Type="http://schemas.openxmlformats.org/officeDocument/2006/relationships/tags" Target="../tags/tag135.xml"/><Relationship Id="rId132" Type="http://schemas.openxmlformats.org/officeDocument/2006/relationships/tags" Target="../tags/tag156.xml"/><Relationship Id="rId153" Type="http://schemas.openxmlformats.org/officeDocument/2006/relationships/tags" Target="../tags/tag177.xml"/><Relationship Id="rId174" Type="http://schemas.openxmlformats.org/officeDocument/2006/relationships/tags" Target="../tags/tag198.xml"/><Relationship Id="rId179" Type="http://schemas.openxmlformats.org/officeDocument/2006/relationships/tags" Target="../tags/tag203.xml"/><Relationship Id="rId195" Type="http://schemas.openxmlformats.org/officeDocument/2006/relationships/tags" Target="../tags/tag219.xml"/><Relationship Id="rId209" Type="http://schemas.openxmlformats.org/officeDocument/2006/relationships/tags" Target="../tags/tag233.xml"/><Relationship Id="rId190" Type="http://schemas.openxmlformats.org/officeDocument/2006/relationships/tags" Target="../tags/tag214.xml"/><Relationship Id="rId204" Type="http://schemas.openxmlformats.org/officeDocument/2006/relationships/tags" Target="../tags/tag228.xml"/><Relationship Id="rId220" Type="http://schemas.openxmlformats.org/officeDocument/2006/relationships/tags" Target="../tags/tag244.xml"/><Relationship Id="rId225" Type="http://schemas.openxmlformats.org/officeDocument/2006/relationships/tags" Target="../tags/tag249.xml"/><Relationship Id="rId241" Type="http://schemas.openxmlformats.org/officeDocument/2006/relationships/tags" Target="../tags/tag265.xml"/><Relationship Id="rId246" Type="http://schemas.openxmlformats.org/officeDocument/2006/relationships/tags" Target="../tags/tag270.xml"/><Relationship Id="rId267" Type="http://schemas.openxmlformats.org/officeDocument/2006/relationships/tags" Target="../tags/tag291.xml"/><Relationship Id="rId288" Type="http://schemas.openxmlformats.org/officeDocument/2006/relationships/tags" Target="../tags/tag312.xml"/><Relationship Id="rId15" Type="http://schemas.openxmlformats.org/officeDocument/2006/relationships/tags" Target="../tags/tag39.xml"/><Relationship Id="rId36" Type="http://schemas.openxmlformats.org/officeDocument/2006/relationships/tags" Target="../tags/tag60.xml"/><Relationship Id="rId57" Type="http://schemas.openxmlformats.org/officeDocument/2006/relationships/tags" Target="../tags/tag81.xml"/><Relationship Id="rId106" Type="http://schemas.openxmlformats.org/officeDocument/2006/relationships/tags" Target="../tags/tag130.xml"/><Relationship Id="rId127" Type="http://schemas.openxmlformats.org/officeDocument/2006/relationships/tags" Target="../tags/tag151.xml"/><Relationship Id="rId262" Type="http://schemas.openxmlformats.org/officeDocument/2006/relationships/tags" Target="../tags/tag286.xml"/><Relationship Id="rId283" Type="http://schemas.openxmlformats.org/officeDocument/2006/relationships/tags" Target="../tags/tag307.xml"/><Relationship Id="rId10" Type="http://schemas.openxmlformats.org/officeDocument/2006/relationships/tags" Target="../tags/tag34.xml"/><Relationship Id="rId31" Type="http://schemas.openxmlformats.org/officeDocument/2006/relationships/tags" Target="../tags/tag55.xml"/><Relationship Id="rId52" Type="http://schemas.openxmlformats.org/officeDocument/2006/relationships/tags" Target="../tags/tag76.xml"/><Relationship Id="rId73" Type="http://schemas.openxmlformats.org/officeDocument/2006/relationships/tags" Target="../tags/tag97.xml"/><Relationship Id="rId78" Type="http://schemas.openxmlformats.org/officeDocument/2006/relationships/tags" Target="../tags/tag102.xml"/><Relationship Id="rId94" Type="http://schemas.openxmlformats.org/officeDocument/2006/relationships/tags" Target="../tags/tag118.xml"/><Relationship Id="rId99" Type="http://schemas.openxmlformats.org/officeDocument/2006/relationships/tags" Target="../tags/tag123.xml"/><Relationship Id="rId101" Type="http://schemas.openxmlformats.org/officeDocument/2006/relationships/tags" Target="../tags/tag125.xml"/><Relationship Id="rId122" Type="http://schemas.openxmlformats.org/officeDocument/2006/relationships/tags" Target="../tags/tag146.xml"/><Relationship Id="rId143" Type="http://schemas.openxmlformats.org/officeDocument/2006/relationships/tags" Target="../tags/tag167.xml"/><Relationship Id="rId148" Type="http://schemas.openxmlformats.org/officeDocument/2006/relationships/tags" Target="../tags/tag172.xml"/><Relationship Id="rId164" Type="http://schemas.openxmlformats.org/officeDocument/2006/relationships/tags" Target="../tags/tag188.xml"/><Relationship Id="rId169" Type="http://schemas.openxmlformats.org/officeDocument/2006/relationships/tags" Target="../tags/tag193.xml"/><Relationship Id="rId185" Type="http://schemas.openxmlformats.org/officeDocument/2006/relationships/tags" Target="../tags/tag209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80" Type="http://schemas.openxmlformats.org/officeDocument/2006/relationships/tags" Target="../tags/tag204.xml"/><Relationship Id="rId210" Type="http://schemas.openxmlformats.org/officeDocument/2006/relationships/tags" Target="../tags/tag234.xml"/><Relationship Id="rId215" Type="http://schemas.openxmlformats.org/officeDocument/2006/relationships/tags" Target="../tags/tag239.xml"/><Relationship Id="rId236" Type="http://schemas.openxmlformats.org/officeDocument/2006/relationships/tags" Target="../tags/tag260.xml"/><Relationship Id="rId257" Type="http://schemas.openxmlformats.org/officeDocument/2006/relationships/tags" Target="../tags/tag281.xml"/><Relationship Id="rId278" Type="http://schemas.openxmlformats.org/officeDocument/2006/relationships/tags" Target="../tags/tag302.xml"/><Relationship Id="rId26" Type="http://schemas.openxmlformats.org/officeDocument/2006/relationships/tags" Target="../tags/tag50.xml"/><Relationship Id="rId231" Type="http://schemas.openxmlformats.org/officeDocument/2006/relationships/tags" Target="../tags/tag255.xml"/><Relationship Id="rId252" Type="http://schemas.openxmlformats.org/officeDocument/2006/relationships/tags" Target="../tags/tag276.xml"/><Relationship Id="rId273" Type="http://schemas.openxmlformats.org/officeDocument/2006/relationships/tags" Target="../tags/tag297.xml"/><Relationship Id="rId294" Type="http://schemas.openxmlformats.org/officeDocument/2006/relationships/tags" Target="../tags/tag318.xml"/><Relationship Id="rId47" Type="http://schemas.openxmlformats.org/officeDocument/2006/relationships/tags" Target="../tags/tag71.xml"/><Relationship Id="rId68" Type="http://schemas.openxmlformats.org/officeDocument/2006/relationships/tags" Target="../tags/tag92.xml"/><Relationship Id="rId89" Type="http://schemas.openxmlformats.org/officeDocument/2006/relationships/tags" Target="../tags/tag113.xml"/><Relationship Id="rId112" Type="http://schemas.openxmlformats.org/officeDocument/2006/relationships/tags" Target="../tags/tag136.xml"/><Relationship Id="rId133" Type="http://schemas.openxmlformats.org/officeDocument/2006/relationships/tags" Target="../tags/tag157.xml"/><Relationship Id="rId154" Type="http://schemas.openxmlformats.org/officeDocument/2006/relationships/tags" Target="../tags/tag178.xml"/><Relationship Id="rId175" Type="http://schemas.openxmlformats.org/officeDocument/2006/relationships/tags" Target="../tags/tag199.xml"/><Relationship Id="rId196" Type="http://schemas.openxmlformats.org/officeDocument/2006/relationships/tags" Target="../tags/tag220.xml"/><Relationship Id="rId200" Type="http://schemas.openxmlformats.org/officeDocument/2006/relationships/tags" Target="../tags/tag224.xml"/><Relationship Id="rId16" Type="http://schemas.openxmlformats.org/officeDocument/2006/relationships/tags" Target="../tags/tag40.xml"/><Relationship Id="rId221" Type="http://schemas.openxmlformats.org/officeDocument/2006/relationships/tags" Target="../tags/tag245.xml"/><Relationship Id="rId242" Type="http://schemas.openxmlformats.org/officeDocument/2006/relationships/tags" Target="../tags/tag266.xml"/><Relationship Id="rId263" Type="http://schemas.openxmlformats.org/officeDocument/2006/relationships/tags" Target="../tags/tag287.xml"/><Relationship Id="rId284" Type="http://schemas.openxmlformats.org/officeDocument/2006/relationships/tags" Target="../tags/tag308.xml"/><Relationship Id="rId37" Type="http://schemas.openxmlformats.org/officeDocument/2006/relationships/tags" Target="../tags/tag61.xml"/><Relationship Id="rId58" Type="http://schemas.openxmlformats.org/officeDocument/2006/relationships/tags" Target="../tags/tag82.xml"/><Relationship Id="rId79" Type="http://schemas.openxmlformats.org/officeDocument/2006/relationships/tags" Target="../tags/tag103.xml"/><Relationship Id="rId102" Type="http://schemas.openxmlformats.org/officeDocument/2006/relationships/tags" Target="../tags/tag126.xml"/><Relationship Id="rId123" Type="http://schemas.openxmlformats.org/officeDocument/2006/relationships/tags" Target="../tags/tag147.xml"/><Relationship Id="rId144" Type="http://schemas.openxmlformats.org/officeDocument/2006/relationships/tags" Target="../tags/tag168.xml"/><Relationship Id="rId90" Type="http://schemas.openxmlformats.org/officeDocument/2006/relationships/tags" Target="../tags/tag114.xml"/><Relationship Id="rId165" Type="http://schemas.openxmlformats.org/officeDocument/2006/relationships/tags" Target="../tags/tag189.xml"/><Relationship Id="rId186" Type="http://schemas.openxmlformats.org/officeDocument/2006/relationships/tags" Target="../tags/tag210.xml"/><Relationship Id="rId211" Type="http://schemas.openxmlformats.org/officeDocument/2006/relationships/tags" Target="../tags/tag235.xml"/><Relationship Id="rId232" Type="http://schemas.openxmlformats.org/officeDocument/2006/relationships/tags" Target="../tags/tag256.xml"/><Relationship Id="rId253" Type="http://schemas.openxmlformats.org/officeDocument/2006/relationships/tags" Target="../tags/tag277.xml"/><Relationship Id="rId274" Type="http://schemas.openxmlformats.org/officeDocument/2006/relationships/tags" Target="../tags/tag298.xml"/><Relationship Id="rId295" Type="http://schemas.openxmlformats.org/officeDocument/2006/relationships/tags" Target="../tags/tag319.xml"/><Relationship Id="rId27" Type="http://schemas.openxmlformats.org/officeDocument/2006/relationships/tags" Target="../tags/tag51.xml"/><Relationship Id="rId48" Type="http://schemas.openxmlformats.org/officeDocument/2006/relationships/tags" Target="../tags/tag72.xml"/><Relationship Id="rId69" Type="http://schemas.openxmlformats.org/officeDocument/2006/relationships/tags" Target="../tags/tag93.xml"/><Relationship Id="rId113" Type="http://schemas.openxmlformats.org/officeDocument/2006/relationships/tags" Target="../tags/tag137.xml"/><Relationship Id="rId134" Type="http://schemas.openxmlformats.org/officeDocument/2006/relationships/tags" Target="../tags/tag158.xml"/><Relationship Id="rId80" Type="http://schemas.openxmlformats.org/officeDocument/2006/relationships/tags" Target="../tags/tag104.xml"/><Relationship Id="rId155" Type="http://schemas.openxmlformats.org/officeDocument/2006/relationships/tags" Target="../tags/tag179.xml"/><Relationship Id="rId176" Type="http://schemas.openxmlformats.org/officeDocument/2006/relationships/tags" Target="../tags/tag200.xml"/><Relationship Id="rId197" Type="http://schemas.openxmlformats.org/officeDocument/2006/relationships/tags" Target="../tags/tag221.xml"/><Relationship Id="rId201" Type="http://schemas.openxmlformats.org/officeDocument/2006/relationships/tags" Target="../tags/tag225.xml"/><Relationship Id="rId222" Type="http://schemas.openxmlformats.org/officeDocument/2006/relationships/tags" Target="../tags/tag246.xml"/><Relationship Id="rId243" Type="http://schemas.openxmlformats.org/officeDocument/2006/relationships/tags" Target="../tags/tag267.xml"/><Relationship Id="rId264" Type="http://schemas.openxmlformats.org/officeDocument/2006/relationships/tags" Target="../tags/tag288.xml"/><Relationship Id="rId285" Type="http://schemas.openxmlformats.org/officeDocument/2006/relationships/tags" Target="../tags/tag309.xml"/><Relationship Id="rId17" Type="http://schemas.openxmlformats.org/officeDocument/2006/relationships/tags" Target="../tags/tag41.xml"/><Relationship Id="rId38" Type="http://schemas.openxmlformats.org/officeDocument/2006/relationships/tags" Target="../tags/tag62.xml"/><Relationship Id="rId59" Type="http://schemas.openxmlformats.org/officeDocument/2006/relationships/tags" Target="../tags/tag83.xml"/><Relationship Id="rId103" Type="http://schemas.openxmlformats.org/officeDocument/2006/relationships/tags" Target="../tags/tag127.xml"/><Relationship Id="rId124" Type="http://schemas.openxmlformats.org/officeDocument/2006/relationships/tags" Target="../tags/tag148.xml"/><Relationship Id="rId70" Type="http://schemas.openxmlformats.org/officeDocument/2006/relationships/tags" Target="../tags/tag94.xml"/><Relationship Id="rId91" Type="http://schemas.openxmlformats.org/officeDocument/2006/relationships/tags" Target="../tags/tag115.xml"/><Relationship Id="rId145" Type="http://schemas.openxmlformats.org/officeDocument/2006/relationships/tags" Target="../tags/tag169.xml"/><Relationship Id="rId166" Type="http://schemas.openxmlformats.org/officeDocument/2006/relationships/tags" Target="../tags/tag190.xml"/><Relationship Id="rId187" Type="http://schemas.openxmlformats.org/officeDocument/2006/relationships/tags" Target="../tags/tag211.xml"/><Relationship Id="rId1" Type="http://schemas.openxmlformats.org/officeDocument/2006/relationships/tags" Target="../tags/tag25.xml"/><Relationship Id="rId212" Type="http://schemas.openxmlformats.org/officeDocument/2006/relationships/tags" Target="../tags/tag236.xml"/><Relationship Id="rId233" Type="http://schemas.openxmlformats.org/officeDocument/2006/relationships/tags" Target="../tags/tag257.xml"/><Relationship Id="rId254" Type="http://schemas.openxmlformats.org/officeDocument/2006/relationships/tags" Target="../tags/tag278.xml"/><Relationship Id="rId28" Type="http://schemas.openxmlformats.org/officeDocument/2006/relationships/tags" Target="../tags/tag52.xml"/><Relationship Id="rId49" Type="http://schemas.openxmlformats.org/officeDocument/2006/relationships/tags" Target="../tags/tag73.xml"/><Relationship Id="rId114" Type="http://schemas.openxmlformats.org/officeDocument/2006/relationships/tags" Target="../tags/tag138.xml"/><Relationship Id="rId275" Type="http://schemas.openxmlformats.org/officeDocument/2006/relationships/tags" Target="../tags/tag299.xml"/><Relationship Id="rId296" Type="http://schemas.openxmlformats.org/officeDocument/2006/relationships/tags" Target="../tags/tag320.xml"/><Relationship Id="rId300" Type="http://schemas.openxmlformats.org/officeDocument/2006/relationships/tags" Target="../tags/tag324.xml"/><Relationship Id="rId60" Type="http://schemas.openxmlformats.org/officeDocument/2006/relationships/tags" Target="../tags/tag84.xml"/><Relationship Id="rId81" Type="http://schemas.openxmlformats.org/officeDocument/2006/relationships/tags" Target="../tags/tag105.xml"/><Relationship Id="rId135" Type="http://schemas.openxmlformats.org/officeDocument/2006/relationships/tags" Target="../tags/tag159.xml"/><Relationship Id="rId156" Type="http://schemas.openxmlformats.org/officeDocument/2006/relationships/tags" Target="../tags/tag180.xml"/><Relationship Id="rId177" Type="http://schemas.openxmlformats.org/officeDocument/2006/relationships/tags" Target="../tags/tag201.xml"/><Relationship Id="rId198" Type="http://schemas.openxmlformats.org/officeDocument/2006/relationships/tags" Target="../tags/tag222.xml"/><Relationship Id="rId202" Type="http://schemas.openxmlformats.org/officeDocument/2006/relationships/tags" Target="../tags/tag226.xml"/><Relationship Id="rId223" Type="http://schemas.openxmlformats.org/officeDocument/2006/relationships/tags" Target="../tags/tag247.xml"/><Relationship Id="rId244" Type="http://schemas.openxmlformats.org/officeDocument/2006/relationships/tags" Target="../tags/tag268.xml"/><Relationship Id="rId18" Type="http://schemas.openxmlformats.org/officeDocument/2006/relationships/tags" Target="../tags/tag42.xml"/><Relationship Id="rId39" Type="http://schemas.openxmlformats.org/officeDocument/2006/relationships/tags" Target="../tags/tag63.xml"/><Relationship Id="rId265" Type="http://schemas.openxmlformats.org/officeDocument/2006/relationships/tags" Target="../tags/tag289.xml"/><Relationship Id="rId286" Type="http://schemas.openxmlformats.org/officeDocument/2006/relationships/tags" Target="../tags/tag310.xml"/><Relationship Id="rId50" Type="http://schemas.openxmlformats.org/officeDocument/2006/relationships/tags" Target="../tags/tag74.xml"/><Relationship Id="rId104" Type="http://schemas.openxmlformats.org/officeDocument/2006/relationships/tags" Target="../tags/tag128.xml"/><Relationship Id="rId125" Type="http://schemas.openxmlformats.org/officeDocument/2006/relationships/tags" Target="../tags/tag149.xml"/><Relationship Id="rId146" Type="http://schemas.openxmlformats.org/officeDocument/2006/relationships/tags" Target="../tags/tag170.xml"/><Relationship Id="rId167" Type="http://schemas.openxmlformats.org/officeDocument/2006/relationships/tags" Target="../tags/tag191.xml"/><Relationship Id="rId188" Type="http://schemas.openxmlformats.org/officeDocument/2006/relationships/tags" Target="../tags/tag212.xml"/><Relationship Id="rId71" Type="http://schemas.openxmlformats.org/officeDocument/2006/relationships/tags" Target="../tags/tag95.xml"/><Relationship Id="rId92" Type="http://schemas.openxmlformats.org/officeDocument/2006/relationships/tags" Target="../tags/tag116.xml"/><Relationship Id="rId213" Type="http://schemas.openxmlformats.org/officeDocument/2006/relationships/tags" Target="../tags/tag237.xml"/><Relationship Id="rId234" Type="http://schemas.openxmlformats.org/officeDocument/2006/relationships/tags" Target="../tags/tag25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g"/><Relationship Id="rId3" Type="http://schemas.openxmlformats.org/officeDocument/2006/relationships/image" Target="../media/image14.png"/><Relationship Id="rId7" Type="http://schemas.openxmlformats.org/officeDocument/2006/relationships/image" Target="../media/image1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10" Type="http://schemas.openxmlformats.org/officeDocument/2006/relationships/image" Target="../media/image34.jpe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2.jpe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 descr="https://odnmedia.s3.amazonaws.com/image/unnamed_20150219092820400183.png"/>
          <p:cNvPicPr>
            <a:picLocks noChangeAspect="1" noChangeArrowheads="1"/>
          </p:cNvPicPr>
          <p:nvPr/>
        </p:nvPicPr>
        <p:blipFill>
          <a:blip r:embed="rId3" cstate="print"/>
          <a:srcRect r="9556"/>
          <a:stretch>
            <a:fillRect/>
          </a:stretch>
        </p:blipFill>
        <p:spPr bwMode="auto">
          <a:xfrm>
            <a:off x="-1" y="0"/>
            <a:ext cx="9144001" cy="6858000"/>
          </a:xfrm>
          <a:prstGeom prst="rect">
            <a:avLst/>
          </a:prstGeom>
          <a:noFill/>
        </p:spPr>
      </p:pic>
      <p:pic>
        <p:nvPicPr>
          <p:cNvPr id="5" name="Picture 5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96336" y="6309320"/>
            <a:ext cx="1296987" cy="35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6 CuadroTexto"/>
          <p:cNvSpPr txBox="1"/>
          <p:nvPr/>
        </p:nvSpPr>
        <p:spPr>
          <a:xfrm>
            <a:off x="2843808" y="6464369"/>
            <a:ext cx="25202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1200" dirty="0" smtClean="0"/>
              <a:t>-USO RESTRINGIDO-</a:t>
            </a:r>
            <a:endParaRPr lang="es-AR" sz="1200" dirty="0"/>
          </a:p>
        </p:txBody>
      </p:sp>
      <p:sp>
        <p:nvSpPr>
          <p:cNvPr id="13" name="12 Rectángulo"/>
          <p:cNvSpPr/>
          <p:nvPr/>
        </p:nvSpPr>
        <p:spPr>
          <a:xfrm>
            <a:off x="-349720" y="0"/>
            <a:ext cx="9746256" cy="6957392"/>
          </a:xfrm>
          <a:prstGeom prst="rect">
            <a:avLst/>
          </a:prstGeom>
          <a:solidFill>
            <a:schemeClr val="tx1">
              <a:lumMod val="10000"/>
              <a:lumOff val="90000"/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>
              <a:solidFill>
                <a:srgbClr val="FFFFFF"/>
              </a:solidFill>
            </a:endParaRPr>
          </a:p>
        </p:txBody>
      </p:sp>
      <p:sp>
        <p:nvSpPr>
          <p:cNvPr id="22" name="AutoShape 7"/>
          <p:cNvSpPr>
            <a:spLocks/>
          </p:cNvSpPr>
          <p:nvPr/>
        </p:nvSpPr>
        <p:spPr bwMode="auto">
          <a:xfrm>
            <a:off x="270918" y="476672"/>
            <a:ext cx="4229074" cy="3096344"/>
          </a:xfrm>
          <a:prstGeom prst="roundRect">
            <a:avLst>
              <a:gd name="adj" fmla="val 2796"/>
            </a:avLst>
          </a:prstGeom>
          <a:solidFill>
            <a:srgbClr val="072534">
              <a:alpha val="59999"/>
            </a:srgbClr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>
            <a:lvl1pPr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1pPr>
            <a:lvl2pPr marL="37931725" indent="-37474525"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2pPr>
            <a:lvl3pPr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3pPr>
            <a:lvl4pPr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4pPr>
            <a:lvl5pPr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ES" sz="1800" kern="0"/>
          </a:p>
        </p:txBody>
      </p:sp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92696"/>
            <a:ext cx="1163637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9"/>
          <p:cNvSpPr>
            <a:spLocks/>
          </p:cNvSpPr>
          <p:nvPr/>
        </p:nvSpPr>
        <p:spPr bwMode="auto">
          <a:xfrm>
            <a:off x="467544" y="1397521"/>
            <a:ext cx="3888432" cy="109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52363" bIns="0"/>
          <a:lstStyle>
            <a:lvl1pPr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1pPr>
            <a:lvl2pPr marL="37931725" indent="-37474525"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2pPr>
            <a:lvl3pPr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3pPr>
            <a:lvl4pPr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4pPr>
            <a:lvl5pPr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s-ES_tradnl" dirty="0" smtClean="0">
                <a:solidFill>
                  <a:srgbClr val="FFFFFF"/>
                </a:solidFill>
                <a:latin typeface="Calibri" pitchFamily="34" charset="0"/>
                <a:ea typeface="ヒラギノ角ゴ Pro W3" pitchFamily="105" charset="-128"/>
                <a:cs typeface="Calibri" pitchFamily="34" charset="0"/>
                <a:sym typeface="Trebuchet MS" panose="020B0603020202020204" pitchFamily="34" charset="0"/>
              </a:rPr>
              <a:t>Telefónica Mayorista y el negocio de los </a:t>
            </a:r>
            <a:r>
              <a:rPr lang="es-ES_tradnl" dirty="0" err="1" smtClean="0">
                <a:solidFill>
                  <a:srgbClr val="FFFFFF"/>
                </a:solidFill>
                <a:latin typeface="Calibri" pitchFamily="34" charset="0"/>
                <a:ea typeface="ヒラギノ角ゴ Pro W3" pitchFamily="105" charset="-128"/>
                <a:cs typeface="Calibri" pitchFamily="34" charset="0"/>
                <a:sym typeface="Trebuchet MS" panose="020B0603020202020204" pitchFamily="34" charset="0"/>
              </a:rPr>
              <a:t>ISPs</a:t>
            </a:r>
            <a:endParaRPr lang="es-ES_tradnl" dirty="0" smtClean="0">
              <a:solidFill>
                <a:srgbClr val="FFFFFF"/>
              </a:solidFill>
              <a:latin typeface="Calibri" pitchFamily="34" charset="0"/>
              <a:ea typeface="ヒラギノ角ゴ Pro W3" pitchFamily="105" charset="-128"/>
              <a:cs typeface="Calibri" pitchFamily="34" charset="0"/>
              <a:sym typeface="Trebuchet MS" panose="020B0603020202020204" pitchFamily="34" charset="0"/>
            </a:endParaRPr>
          </a:p>
        </p:txBody>
      </p:sp>
      <p:sp>
        <p:nvSpPr>
          <p:cNvPr id="28" name="Rectangle 11"/>
          <p:cNvSpPr>
            <a:spLocks/>
          </p:cNvSpPr>
          <p:nvPr/>
        </p:nvSpPr>
        <p:spPr bwMode="auto">
          <a:xfrm>
            <a:off x="395536" y="2796898"/>
            <a:ext cx="2894682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55374" bIns="0" anchor="b" anchorCtr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1pPr>
            <a:lvl2pPr marL="37931725" indent="-37474525"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2pPr>
            <a:lvl3pPr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3pPr>
            <a:lvl4pPr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4pPr>
            <a:lvl5pPr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s-ES" sz="1300" dirty="0" smtClean="0">
                <a:solidFill>
                  <a:srgbClr val="FFFFFF"/>
                </a:solidFill>
                <a:latin typeface="Trebuchet MS" panose="020B0603020202020204" pitchFamily="34" charset="0"/>
                <a:ea typeface="ヒラギノ角ゴ Pro W3" pitchFamily="105" charset="-128"/>
                <a:sym typeface="Trebuchet MS" panose="020B0603020202020204" pitchFamily="34" charset="0"/>
              </a:rPr>
              <a:t>Evento CAPPI Cuyo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s-ES" sz="1300" dirty="0" smtClean="0">
                <a:solidFill>
                  <a:srgbClr val="FFFFFF"/>
                </a:solidFill>
                <a:latin typeface="Trebuchet MS" panose="020B0603020202020204" pitchFamily="34" charset="0"/>
                <a:ea typeface="ヒラギノ角ゴ Pro W3" pitchFamily="105" charset="-128"/>
                <a:sym typeface="Trebuchet MS" panose="020B0603020202020204" pitchFamily="34" charset="0"/>
              </a:rPr>
              <a:t>21 de Agosto de 2015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s-AR" sz="1300" dirty="0" smtClean="0">
                <a:solidFill>
                  <a:srgbClr val="FFFFFF"/>
                </a:solidFill>
                <a:latin typeface="Trebuchet MS" panose="020B0603020202020204" pitchFamily="34" charset="0"/>
                <a:ea typeface="ヒラギノ角ゴ Pro W3" pitchFamily="105" charset="-128"/>
                <a:sym typeface="Trebuchet MS" panose="020B0603020202020204" pitchFamily="34" charset="0"/>
              </a:rPr>
              <a:t>San Rafael, Mendoza</a:t>
            </a:r>
            <a:endParaRPr lang="es-ES" sz="1300" dirty="0">
              <a:solidFill>
                <a:srgbClr val="FFFFFF"/>
              </a:solidFill>
              <a:latin typeface="Trebuchet MS" panose="020B0603020202020204" pitchFamily="34" charset="0"/>
              <a:ea typeface="ヒラギノ角ゴ Pro W3" pitchFamily="105" charset="-128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314599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utoShape 7"/>
          <p:cNvSpPr>
            <a:spLocks/>
          </p:cNvSpPr>
          <p:nvPr/>
        </p:nvSpPr>
        <p:spPr bwMode="auto">
          <a:xfrm>
            <a:off x="2411760" y="2708920"/>
            <a:ext cx="6264696" cy="3096344"/>
          </a:xfrm>
          <a:prstGeom prst="roundRect">
            <a:avLst>
              <a:gd name="adj" fmla="val 2796"/>
            </a:avLst>
          </a:prstGeom>
          <a:solidFill>
            <a:schemeClr val="tx1">
              <a:lumMod val="90000"/>
              <a:lumOff val="10000"/>
              <a:alpha val="59999"/>
            </a:schemeClr>
          </a:solidFill>
          <a:ln w="25400">
            <a:solidFill>
              <a:schemeClr val="tx1"/>
            </a:solidFill>
            <a:miter lim="800000"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lIns="0" tIns="0" rIns="0" bIns="0"/>
          <a:lstStyle>
            <a:lvl1pPr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1pPr>
            <a:lvl2pPr marL="37931725" indent="-37474525"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2pPr>
            <a:lvl3pPr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3pPr>
            <a:lvl4pPr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4pPr>
            <a:lvl5pPr eaLnBrk="0" hangingPunct="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pitchFamily="105" charset="-128"/>
                <a:sym typeface="Gill Sans" pitchFamily="105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ES" sz="1800" kern="0"/>
          </a:p>
        </p:txBody>
      </p:sp>
      <p:sp>
        <p:nvSpPr>
          <p:cNvPr id="8" name="1 Título"/>
          <p:cNvSpPr txBox="1">
            <a:spLocks/>
          </p:cNvSpPr>
          <p:nvPr/>
        </p:nvSpPr>
        <p:spPr>
          <a:xfrm>
            <a:off x="720080" y="1268760"/>
            <a:ext cx="5832648" cy="6477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3200" kern="0" dirty="0">
                <a:solidFill>
                  <a:srgbClr val="123E51">
                    <a:lumMod val="90000"/>
                    <a:lumOff val="10000"/>
                  </a:srgbClr>
                </a:solidFill>
                <a:latin typeface="+mj-lt"/>
                <a:ea typeface="ＭＳ Ｐゴシック" pitchFamily="100" charset="-128"/>
                <a:cs typeface="ＭＳ Ｐゴシック" pitchFamily="100" charset="-128"/>
              </a:rPr>
              <a:t>¡</a:t>
            </a:r>
            <a:r>
              <a:rPr lang="es-ES" sz="3200" kern="0" dirty="0" smtClean="0">
                <a:solidFill>
                  <a:srgbClr val="123E51">
                    <a:lumMod val="90000"/>
                    <a:lumOff val="10000"/>
                  </a:srgbClr>
                </a:solidFill>
                <a:latin typeface="+mj-lt"/>
                <a:ea typeface="ＭＳ Ｐゴシック" pitchFamily="100" charset="-128"/>
                <a:cs typeface="ＭＳ Ｐゴシック" pitchFamily="100" charset="-128"/>
              </a:rPr>
              <a:t>Muchas gracias!</a:t>
            </a:r>
          </a:p>
        </p:txBody>
      </p:sp>
      <p:sp>
        <p:nvSpPr>
          <p:cNvPr id="9" name="1 Título"/>
          <p:cNvSpPr txBox="1">
            <a:spLocks/>
          </p:cNvSpPr>
          <p:nvPr/>
        </p:nvSpPr>
        <p:spPr>
          <a:xfrm>
            <a:off x="2520280" y="2924944"/>
            <a:ext cx="6228184" cy="2736304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2400" kern="0" dirty="0" smtClean="0">
                <a:solidFill>
                  <a:schemeClr val="bg1"/>
                </a:solidFill>
                <a:latin typeface="+mj-lt"/>
                <a:ea typeface="ＭＳ Ｐゴシック" pitchFamily="100" charset="-128"/>
                <a:cs typeface="ＭＳ Ｐゴシック" pitchFamily="100" charset="-128"/>
              </a:rPr>
              <a:t>Nicolás Castagnino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2400" kern="0" dirty="0" smtClean="0">
                <a:solidFill>
                  <a:schemeClr val="bg1"/>
                </a:solidFill>
                <a:latin typeface="+mj-lt"/>
                <a:ea typeface="ＭＳ Ｐゴシック" pitchFamily="100" charset="-128"/>
                <a:cs typeface="ＭＳ Ｐゴシック" pitchFamily="100" charset="-128"/>
              </a:rPr>
              <a:t>Gerente Comercial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2400" kern="0" dirty="0" smtClean="0">
                <a:solidFill>
                  <a:schemeClr val="bg1"/>
                </a:solidFill>
                <a:latin typeface="+mj-lt"/>
                <a:ea typeface="ＭＳ Ｐゴシック" pitchFamily="100" charset="-128"/>
                <a:cs typeface="ＭＳ Ｐゴシック" pitchFamily="100" charset="-128"/>
              </a:rPr>
              <a:t>Dirección Mayorista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2400" kern="0" dirty="0" smtClean="0">
                <a:solidFill>
                  <a:schemeClr val="bg1"/>
                </a:solidFill>
                <a:latin typeface="+mj-lt"/>
                <a:ea typeface="ＭＳ Ｐゴシック" pitchFamily="100" charset="-128"/>
                <a:cs typeface="ＭＳ Ｐゴシック" pitchFamily="100" charset="-128"/>
              </a:rPr>
              <a:t>Telefónica de Argentina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2400" kern="0" dirty="0" smtClean="0">
              <a:solidFill>
                <a:schemeClr val="bg1"/>
              </a:solidFill>
              <a:latin typeface="+mj-lt"/>
              <a:ea typeface="ＭＳ Ｐゴシック" pitchFamily="100" charset="-128"/>
              <a:cs typeface="ＭＳ Ｐゴシック" pitchFamily="100" charset="-128"/>
              <a:hlinkClick r:id="rId3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2400" kern="0" dirty="0" smtClean="0">
                <a:solidFill>
                  <a:schemeClr val="bg1"/>
                </a:solidFill>
                <a:latin typeface="+mj-lt"/>
                <a:ea typeface="ＭＳ Ｐゴシック" pitchFamily="100" charset="-128"/>
                <a:cs typeface="ＭＳ Ｐゴシック" pitchFamily="100" charset="-128"/>
                <a:hlinkClick r:id="rId3"/>
              </a:rPr>
              <a:t>(</a:t>
            </a:r>
            <a:r>
              <a:rPr lang="es-ES" sz="2400" kern="0" dirty="0">
                <a:solidFill>
                  <a:schemeClr val="bg1"/>
                </a:solidFill>
                <a:latin typeface="+mj-lt"/>
                <a:ea typeface="ＭＳ Ｐゴシック" pitchFamily="100" charset="-128"/>
                <a:cs typeface="ＭＳ Ｐゴシック" pitchFamily="100" charset="-128"/>
                <a:hlinkClick r:id="rId3"/>
              </a:rPr>
              <a:t>11) 4332 3146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2400" kern="0" dirty="0" smtClean="0">
                <a:solidFill>
                  <a:schemeClr val="bg1"/>
                </a:solidFill>
                <a:latin typeface="+mj-lt"/>
                <a:ea typeface="ＭＳ Ｐゴシック" pitchFamily="100" charset="-128"/>
                <a:cs typeface="ＭＳ Ｐゴシック" pitchFamily="100" charset="-128"/>
                <a:hlinkClick r:id="rId3"/>
              </a:rPr>
              <a:t>nicolas.castagnino@telefonica.com</a:t>
            </a:r>
            <a:endParaRPr lang="es-ES" sz="2400" kern="0" dirty="0">
              <a:solidFill>
                <a:schemeClr val="bg1"/>
              </a:solidFill>
              <a:latin typeface="+mj-lt"/>
              <a:ea typeface="ＭＳ Ｐゴシック" pitchFamily="100" charset="-128"/>
              <a:cs typeface="ＭＳ Ｐゴシック" pitchFamily="100" charset="-128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2996952"/>
            <a:ext cx="1426234" cy="391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212778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2"/>
          <p:cNvSpPr>
            <a:spLocks noChangeAspect="1"/>
          </p:cNvSpPr>
          <p:nvPr/>
        </p:nvSpPr>
        <p:spPr bwMode="auto">
          <a:xfrm>
            <a:off x="2627784" y="2924944"/>
            <a:ext cx="3813175" cy="1054100"/>
          </a:xfrm>
          <a:custGeom>
            <a:avLst/>
            <a:gdLst>
              <a:gd name="T0" fmla="*/ 0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2147483647 w 21600"/>
              <a:gd name="T13" fmla="*/ 2147483647 h 21600"/>
              <a:gd name="T14" fmla="*/ 2147483647 w 21600"/>
              <a:gd name="T15" fmla="*/ 2147483647 h 21600"/>
              <a:gd name="T16" fmla="*/ 2147483647 w 21600"/>
              <a:gd name="T17" fmla="*/ 2147483647 h 21600"/>
              <a:gd name="T18" fmla="*/ 2147483647 w 21600"/>
              <a:gd name="T19" fmla="*/ 2147483647 h 21600"/>
              <a:gd name="T20" fmla="*/ 2147483647 w 21600"/>
              <a:gd name="T21" fmla="*/ 2147483647 h 21600"/>
              <a:gd name="T22" fmla="*/ 2147483647 w 21600"/>
              <a:gd name="T23" fmla="*/ 2147483647 h 21600"/>
              <a:gd name="T24" fmla="*/ 2147483647 w 21600"/>
              <a:gd name="T25" fmla="*/ 2147483647 h 21600"/>
              <a:gd name="T26" fmla="*/ 2147483647 w 21600"/>
              <a:gd name="T27" fmla="*/ 2147483647 h 21600"/>
              <a:gd name="T28" fmla="*/ 2147483647 w 21600"/>
              <a:gd name="T29" fmla="*/ 2147483647 h 21600"/>
              <a:gd name="T30" fmla="*/ 2147483647 w 21600"/>
              <a:gd name="T31" fmla="*/ 2147483647 h 21600"/>
              <a:gd name="T32" fmla="*/ 2147483647 w 21600"/>
              <a:gd name="T33" fmla="*/ 2147483647 h 21600"/>
              <a:gd name="T34" fmla="*/ 2147483647 w 21600"/>
              <a:gd name="T35" fmla="*/ 2147483647 h 21600"/>
              <a:gd name="T36" fmla="*/ 2147483647 w 21600"/>
              <a:gd name="T37" fmla="*/ 2147483647 h 21600"/>
              <a:gd name="T38" fmla="*/ 2147483647 w 21600"/>
              <a:gd name="T39" fmla="*/ 2147483647 h 21600"/>
              <a:gd name="T40" fmla="*/ 2147483647 w 21600"/>
              <a:gd name="T41" fmla="*/ 2147483647 h 21600"/>
              <a:gd name="T42" fmla="*/ 2147483647 w 21600"/>
              <a:gd name="T43" fmla="*/ 2147483647 h 21600"/>
              <a:gd name="T44" fmla="*/ 2147483647 w 21600"/>
              <a:gd name="T45" fmla="*/ 2147483647 h 21600"/>
              <a:gd name="T46" fmla="*/ 2147483647 w 21600"/>
              <a:gd name="T47" fmla="*/ 2147483647 h 21600"/>
              <a:gd name="T48" fmla="*/ 2147483647 w 21600"/>
              <a:gd name="T49" fmla="*/ 2147483647 h 21600"/>
              <a:gd name="T50" fmla="*/ 2147483647 w 21600"/>
              <a:gd name="T51" fmla="*/ 2147483647 h 21600"/>
              <a:gd name="T52" fmla="*/ 2147483647 w 21600"/>
              <a:gd name="T53" fmla="*/ 2147483647 h 21600"/>
              <a:gd name="T54" fmla="*/ 2147483647 w 21600"/>
              <a:gd name="T55" fmla="*/ 2147483647 h 21600"/>
              <a:gd name="T56" fmla="*/ 2147483647 w 21600"/>
              <a:gd name="T57" fmla="*/ 2147483647 h 21600"/>
              <a:gd name="T58" fmla="*/ 2147483647 w 21600"/>
              <a:gd name="T59" fmla="*/ 2147483647 h 21600"/>
              <a:gd name="T60" fmla="*/ 2147483647 w 21600"/>
              <a:gd name="T61" fmla="*/ 2147483647 h 21600"/>
              <a:gd name="T62" fmla="*/ 2147483647 w 21600"/>
              <a:gd name="T63" fmla="*/ 2147483647 h 21600"/>
              <a:gd name="T64" fmla="*/ 2147483647 w 21600"/>
              <a:gd name="T65" fmla="*/ 2147483647 h 21600"/>
              <a:gd name="T66" fmla="*/ 2147483647 w 21600"/>
              <a:gd name="T67" fmla="*/ 2147483647 h 21600"/>
              <a:gd name="T68" fmla="*/ 2147483647 w 21600"/>
              <a:gd name="T69" fmla="*/ 2147483647 h 21600"/>
              <a:gd name="T70" fmla="*/ 2147483647 w 21600"/>
              <a:gd name="T71" fmla="*/ 2147483647 h 21600"/>
              <a:gd name="T72" fmla="*/ 2147483647 w 21600"/>
              <a:gd name="T73" fmla="*/ 2147483647 h 21600"/>
              <a:gd name="T74" fmla="*/ 2147483647 w 21600"/>
              <a:gd name="T75" fmla="*/ 2147483647 h 21600"/>
              <a:gd name="T76" fmla="*/ 2147483647 w 21600"/>
              <a:gd name="T77" fmla="*/ 2147483647 h 21600"/>
              <a:gd name="T78" fmla="*/ 2147483647 w 21600"/>
              <a:gd name="T79" fmla="*/ 2147483647 h 21600"/>
              <a:gd name="T80" fmla="*/ 2147483647 w 21600"/>
              <a:gd name="T81" fmla="*/ 2147483647 h 21600"/>
              <a:gd name="T82" fmla="*/ 2147483647 w 21600"/>
              <a:gd name="T83" fmla="*/ 2147483647 h 21600"/>
              <a:gd name="T84" fmla="*/ 2147483647 w 21600"/>
              <a:gd name="T85" fmla="*/ 2147483647 h 21600"/>
              <a:gd name="T86" fmla="*/ 2147483647 w 21600"/>
              <a:gd name="T87" fmla="*/ 2147483647 h 21600"/>
              <a:gd name="T88" fmla="*/ 2147483647 w 21600"/>
              <a:gd name="T89" fmla="*/ 2147483647 h 21600"/>
              <a:gd name="T90" fmla="*/ 2147483647 w 21600"/>
              <a:gd name="T91" fmla="*/ 2147483647 h 21600"/>
              <a:gd name="T92" fmla="*/ 2147483647 w 21600"/>
              <a:gd name="T93" fmla="*/ 2147483647 h 21600"/>
              <a:gd name="T94" fmla="*/ 2147483647 w 21600"/>
              <a:gd name="T95" fmla="*/ 2147483647 h 21600"/>
              <a:gd name="T96" fmla="*/ 2147483647 w 21600"/>
              <a:gd name="T97" fmla="*/ 2147483647 h 21600"/>
              <a:gd name="T98" fmla="*/ 2147483647 w 21600"/>
              <a:gd name="T99" fmla="*/ 2147483647 h 21600"/>
              <a:gd name="T100" fmla="*/ 2147483647 w 21600"/>
              <a:gd name="T101" fmla="*/ 2147483647 h 21600"/>
              <a:gd name="T102" fmla="*/ 2147483647 w 21600"/>
              <a:gd name="T103" fmla="*/ 2147483647 h 21600"/>
              <a:gd name="T104" fmla="*/ 2147483647 w 21600"/>
              <a:gd name="T105" fmla="*/ 2147483647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1600"/>
              <a:gd name="T160" fmla="*/ 0 h 21600"/>
              <a:gd name="T161" fmla="*/ 21600 w 21600"/>
              <a:gd name="T162" fmla="*/ 21600 h 2160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8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1pPr>
            <a:lvl2pPr marL="37931725" indent="-37474525" eaLnBrk="0" hangingPunct="0">
              <a:defRPr sz="28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2pPr>
            <a:lvl3pPr eaLnBrk="0" hangingPunct="0">
              <a:defRPr sz="28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3pPr>
            <a:lvl4pPr eaLnBrk="0" hangingPunct="0">
              <a:defRPr sz="28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4pPr>
            <a:lvl5pPr eaLnBrk="0" hangingPunct="0">
              <a:defRPr sz="28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/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32933897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0" y="265239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0" y="265239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263769"/>
            <a:ext cx="146538" cy="1465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" sz="1292" b="1" err="1">
              <a:solidFill>
                <a:srgbClr val="FFFFFF"/>
              </a:solidFill>
              <a:sym typeface="Trebuchet MS"/>
            </a:endParaRPr>
          </a:p>
        </p:txBody>
      </p:sp>
      <p:sp>
        <p:nvSpPr>
          <p:cNvPr id="56" name="Title 1"/>
          <p:cNvSpPr>
            <a:spLocks noGrp="1"/>
          </p:cNvSpPr>
          <p:nvPr>
            <p:ph type="title"/>
          </p:nvPr>
        </p:nvSpPr>
        <p:spPr>
          <a:xfrm>
            <a:off x="35496" y="44624"/>
            <a:ext cx="9108504" cy="369332"/>
          </a:xfrm>
        </p:spPr>
        <p:txBody>
          <a:bodyPr/>
          <a:lstStyle/>
          <a:p>
            <a:r>
              <a:rPr lang="es-AR" sz="2200" b="1" dirty="0" smtClean="0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Telefónica es </a:t>
            </a:r>
            <a:r>
              <a:rPr lang="es-AR" sz="2200" b="1" dirty="0" smtClean="0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una </a:t>
            </a:r>
            <a:r>
              <a:rPr lang="es-AR" sz="2200" b="1" dirty="0" err="1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T</a:t>
            </a:r>
            <a:r>
              <a:rPr lang="es-AR" sz="2200" b="1" dirty="0" err="1" smtClean="0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elco</a:t>
            </a:r>
            <a:r>
              <a:rPr lang="es-AR" sz="2200" b="1" dirty="0" smtClean="0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 líder en Europa y </a:t>
            </a:r>
            <a:r>
              <a:rPr lang="es-AR" sz="2200" b="1" dirty="0" smtClean="0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Latinoamérica. Nuestra región es </a:t>
            </a:r>
            <a:r>
              <a:rPr lang="es-AR" sz="2200" b="1" dirty="0" smtClean="0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pilar y motor del </a:t>
            </a:r>
            <a:r>
              <a:rPr lang="es-AR" sz="2200" b="1" dirty="0" smtClean="0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grupo con </a:t>
            </a:r>
            <a:r>
              <a:rPr lang="es-AR" sz="2200" b="1" dirty="0" smtClean="0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67% de sus </a:t>
            </a:r>
            <a:r>
              <a:rPr lang="es-AR" sz="2200" b="1" dirty="0" smtClean="0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accesos</a:t>
            </a:r>
            <a:endParaRPr lang="es-AR" sz="2200" b="1" dirty="0">
              <a:solidFill>
                <a:srgbClr val="123E5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Retângulo 162"/>
          <p:cNvSpPr/>
          <p:nvPr/>
        </p:nvSpPr>
        <p:spPr bwMode="auto">
          <a:xfrm>
            <a:off x="217941" y="1497552"/>
            <a:ext cx="4380437" cy="4488609"/>
          </a:xfrm>
          <a:prstGeom prst="rect">
            <a:avLst/>
          </a:prstGeom>
          <a:solidFill>
            <a:srgbClr val="00C6DA">
              <a:lumMod val="50000"/>
            </a:srgb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4378" tIns="42190" rIns="84378" bIns="4219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algn="ctr" defTabSz="843811" eaLnBrk="1" hangingPunct="1">
              <a:defRPr/>
            </a:pPr>
            <a:endParaRPr lang="es-PE" sz="1939" b="0" dirty="0">
              <a:solidFill>
                <a:srgbClr val="00A5B7"/>
              </a:solidFill>
              <a:latin typeface="+mn-lt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58" name="Freeform 5"/>
          <p:cNvSpPr>
            <a:spLocks/>
          </p:cNvSpPr>
          <p:nvPr/>
        </p:nvSpPr>
        <p:spPr bwMode="auto">
          <a:xfrm rot="10800000" flipV="1">
            <a:off x="1079221" y="1258701"/>
            <a:ext cx="2631473" cy="553915"/>
          </a:xfrm>
          <a:prstGeom prst="roundRect">
            <a:avLst/>
          </a:prstGeom>
          <a:solidFill>
            <a:srgbClr val="003245"/>
          </a:solidFill>
          <a:ln w="25400" cap="flat">
            <a:solidFill>
              <a:srgbClr val="008597">
                <a:lumMod val="60000"/>
                <a:lumOff val="40000"/>
              </a:srgbClr>
            </a:solidFill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662" b="0" kern="0" dirty="0">
                <a:solidFill>
                  <a:srgbClr val="FFFFFF"/>
                </a:solidFill>
                <a:latin typeface="+mn-lt"/>
                <a:ea typeface="ヒラギノ角ゴ ProN W3"/>
              </a:rPr>
              <a:t>Accesos: 113,6 </a:t>
            </a:r>
            <a:r>
              <a:rPr lang="es-PE" sz="1662" b="0" kern="0" dirty="0" smtClean="0">
                <a:solidFill>
                  <a:srgbClr val="FFFFFF"/>
                </a:solidFill>
                <a:latin typeface="+mn-lt"/>
                <a:ea typeface="ヒラギノ角ゴ ProN W3"/>
              </a:rPr>
              <a:t>M</a:t>
            </a:r>
            <a:endParaRPr lang="es-PE" sz="1939" b="0" kern="0" dirty="0">
              <a:solidFill>
                <a:srgbClr val="FFFFFF"/>
              </a:solidFill>
              <a:latin typeface="+mn-lt"/>
              <a:ea typeface="ヒラギノ角ゴ ProN W3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108" b="0" kern="0" dirty="0">
                <a:solidFill>
                  <a:srgbClr val="FFFFFF"/>
                </a:solidFill>
                <a:latin typeface="+mn-lt"/>
                <a:ea typeface="ヒラギノ角ゴ ProN W3"/>
              </a:rPr>
              <a:t>Diciembre 2014 </a:t>
            </a:r>
          </a:p>
        </p:txBody>
      </p:sp>
      <p:grpSp>
        <p:nvGrpSpPr>
          <p:cNvPr id="59" name="4 Grupo"/>
          <p:cNvGrpSpPr>
            <a:grpSpLocks/>
          </p:cNvGrpSpPr>
          <p:nvPr/>
        </p:nvGrpSpPr>
        <p:grpSpPr bwMode="auto">
          <a:xfrm>
            <a:off x="817087" y="2304596"/>
            <a:ext cx="3665882" cy="3233116"/>
            <a:chOff x="5519407" y="1525246"/>
            <a:chExt cx="4223676" cy="4028299"/>
          </a:xfrm>
        </p:grpSpPr>
        <p:sp>
          <p:nvSpPr>
            <p:cNvPr id="153" name="AutoShape 5"/>
            <p:cNvSpPr>
              <a:spLocks/>
            </p:cNvSpPr>
            <p:nvPr/>
          </p:nvSpPr>
          <p:spPr bwMode="auto">
            <a:xfrm>
              <a:off x="5867160" y="3360589"/>
              <a:ext cx="52331" cy="44322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0" y="16800"/>
                  </a:moveTo>
                  <a:lnTo>
                    <a:pt x="10800" y="16800"/>
                  </a:lnTo>
                  <a:lnTo>
                    <a:pt x="6480" y="21600"/>
                  </a:lnTo>
                  <a:lnTo>
                    <a:pt x="0" y="21600"/>
                  </a:lnTo>
                  <a:lnTo>
                    <a:pt x="0" y="16800"/>
                  </a:lnTo>
                  <a:close/>
                  <a:moveTo>
                    <a:pt x="10800" y="9600"/>
                  </a:moveTo>
                  <a:lnTo>
                    <a:pt x="15120" y="9600"/>
                  </a:lnTo>
                  <a:lnTo>
                    <a:pt x="19440" y="12000"/>
                  </a:lnTo>
                  <a:lnTo>
                    <a:pt x="21600" y="12000"/>
                  </a:lnTo>
                  <a:lnTo>
                    <a:pt x="21600" y="16800"/>
                  </a:lnTo>
                  <a:lnTo>
                    <a:pt x="19440" y="16800"/>
                  </a:lnTo>
                  <a:lnTo>
                    <a:pt x="19440" y="21600"/>
                  </a:lnTo>
                  <a:lnTo>
                    <a:pt x="15120" y="21600"/>
                  </a:lnTo>
                  <a:lnTo>
                    <a:pt x="15120" y="16800"/>
                  </a:lnTo>
                  <a:lnTo>
                    <a:pt x="10800" y="16800"/>
                  </a:lnTo>
                  <a:lnTo>
                    <a:pt x="10800" y="9600"/>
                  </a:lnTo>
                  <a:close/>
                  <a:moveTo>
                    <a:pt x="0" y="0"/>
                  </a:moveTo>
                  <a:lnTo>
                    <a:pt x="6480" y="0"/>
                  </a:lnTo>
                  <a:lnTo>
                    <a:pt x="6480" y="4800"/>
                  </a:lnTo>
                  <a:lnTo>
                    <a:pt x="10800" y="4800"/>
                  </a:lnTo>
                  <a:lnTo>
                    <a:pt x="10800" y="9600"/>
                  </a:lnTo>
                  <a:lnTo>
                    <a:pt x="0" y="9600"/>
                  </a:lnTo>
                  <a:lnTo>
                    <a:pt x="0" y="0"/>
                  </a:lnTo>
                  <a:close/>
                  <a:moveTo>
                    <a:pt x="0" y="0"/>
                  </a:moveTo>
                </a:path>
              </a:pathLst>
            </a:custGeom>
            <a:solidFill>
              <a:srgbClr val="00BACF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54" name="Freeform 6"/>
            <p:cNvSpPr>
              <a:spLocks/>
            </p:cNvSpPr>
            <p:nvPr/>
          </p:nvSpPr>
          <p:spPr bwMode="auto">
            <a:xfrm>
              <a:off x="5789506" y="3155095"/>
              <a:ext cx="72589" cy="88644"/>
            </a:xfrm>
            <a:custGeom>
              <a:avLst/>
              <a:gdLst/>
              <a:ahLst/>
              <a:cxnLst>
                <a:cxn ang="0">
                  <a:pos x="18514" y="0"/>
                </a:cxn>
                <a:cxn ang="0">
                  <a:pos x="21600" y="0"/>
                </a:cxn>
                <a:cxn ang="0">
                  <a:pos x="21600" y="8400"/>
                </a:cxn>
                <a:cxn ang="0">
                  <a:pos x="18514" y="10800"/>
                </a:cxn>
                <a:cxn ang="0">
                  <a:pos x="18514" y="14400"/>
                </a:cxn>
                <a:cxn ang="0">
                  <a:pos x="13886" y="14400"/>
                </a:cxn>
                <a:cxn ang="0">
                  <a:pos x="13886" y="13200"/>
                </a:cxn>
                <a:cxn ang="0">
                  <a:pos x="10800" y="13200"/>
                </a:cxn>
                <a:cxn ang="0">
                  <a:pos x="10800" y="16800"/>
                </a:cxn>
                <a:cxn ang="0">
                  <a:pos x="7714" y="19200"/>
                </a:cxn>
                <a:cxn ang="0">
                  <a:pos x="7714" y="21600"/>
                </a:cxn>
                <a:cxn ang="0">
                  <a:pos x="3086" y="21600"/>
                </a:cxn>
                <a:cxn ang="0">
                  <a:pos x="3086" y="19200"/>
                </a:cxn>
                <a:cxn ang="0">
                  <a:pos x="0" y="19200"/>
                </a:cxn>
                <a:cxn ang="0">
                  <a:pos x="0" y="16800"/>
                </a:cxn>
                <a:cxn ang="0">
                  <a:pos x="6171" y="16800"/>
                </a:cxn>
                <a:cxn ang="0">
                  <a:pos x="6171" y="14400"/>
                </a:cxn>
                <a:cxn ang="0">
                  <a:pos x="3086" y="14400"/>
                </a:cxn>
                <a:cxn ang="0">
                  <a:pos x="3086" y="13200"/>
                </a:cxn>
                <a:cxn ang="0">
                  <a:pos x="0" y="13200"/>
                </a:cxn>
                <a:cxn ang="0">
                  <a:pos x="3086" y="10800"/>
                </a:cxn>
                <a:cxn ang="0">
                  <a:pos x="3086" y="6000"/>
                </a:cxn>
                <a:cxn ang="0">
                  <a:pos x="6171" y="8400"/>
                </a:cxn>
                <a:cxn ang="0">
                  <a:pos x="7714" y="8400"/>
                </a:cxn>
                <a:cxn ang="0">
                  <a:pos x="7714" y="6000"/>
                </a:cxn>
                <a:cxn ang="0">
                  <a:pos x="10800" y="6000"/>
                </a:cxn>
                <a:cxn ang="0">
                  <a:pos x="10800" y="8400"/>
                </a:cxn>
                <a:cxn ang="0">
                  <a:pos x="13886" y="6000"/>
                </a:cxn>
                <a:cxn ang="0">
                  <a:pos x="13886" y="4800"/>
                </a:cxn>
                <a:cxn ang="0">
                  <a:pos x="18514" y="0"/>
                </a:cxn>
                <a:cxn ang="0">
                  <a:pos x="18514" y="0"/>
                </a:cxn>
              </a:cxnLst>
              <a:rect l="0" t="0" r="r" b="b"/>
              <a:pathLst>
                <a:path w="21600" h="21600">
                  <a:moveTo>
                    <a:pt x="18514" y="0"/>
                  </a:moveTo>
                  <a:lnTo>
                    <a:pt x="21600" y="0"/>
                  </a:lnTo>
                  <a:lnTo>
                    <a:pt x="21600" y="8400"/>
                  </a:lnTo>
                  <a:lnTo>
                    <a:pt x="18514" y="10800"/>
                  </a:lnTo>
                  <a:lnTo>
                    <a:pt x="18514" y="14400"/>
                  </a:lnTo>
                  <a:lnTo>
                    <a:pt x="13886" y="14400"/>
                  </a:lnTo>
                  <a:lnTo>
                    <a:pt x="13886" y="13200"/>
                  </a:lnTo>
                  <a:lnTo>
                    <a:pt x="10800" y="13200"/>
                  </a:lnTo>
                  <a:lnTo>
                    <a:pt x="10800" y="16800"/>
                  </a:lnTo>
                  <a:lnTo>
                    <a:pt x="7714" y="19200"/>
                  </a:lnTo>
                  <a:lnTo>
                    <a:pt x="7714" y="21600"/>
                  </a:lnTo>
                  <a:lnTo>
                    <a:pt x="3086" y="21600"/>
                  </a:lnTo>
                  <a:lnTo>
                    <a:pt x="3086" y="19200"/>
                  </a:lnTo>
                  <a:lnTo>
                    <a:pt x="0" y="19200"/>
                  </a:lnTo>
                  <a:lnTo>
                    <a:pt x="0" y="16800"/>
                  </a:lnTo>
                  <a:lnTo>
                    <a:pt x="6171" y="16800"/>
                  </a:lnTo>
                  <a:lnTo>
                    <a:pt x="6171" y="14400"/>
                  </a:lnTo>
                  <a:lnTo>
                    <a:pt x="3086" y="14400"/>
                  </a:lnTo>
                  <a:lnTo>
                    <a:pt x="3086" y="13200"/>
                  </a:lnTo>
                  <a:lnTo>
                    <a:pt x="0" y="13200"/>
                  </a:lnTo>
                  <a:lnTo>
                    <a:pt x="3086" y="10800"/>
                  </a:lnTo>
                  <a:lnTo>
                    <a:pt x="3086" y="6000"/>
                  </a:lnTo>
                  <a:lnTo>
                    <a:pt x="6171" y="8400"/>
                  </a:lnTo>
                  <a:lnTo>
                    <a:pt x="7714" y="8400"/>
                  </a:lnTo>
                  <a:lnTo>
                    <a:pt x="7714" y="6000"/>
                  </a:lnTo>
                  <a:lnTo>
                    <a:pt x="10800" y="6000"/>
                  </a:lnTo>
                  <a:lnTo>
                    <a:pt x="10800" y="8400"/>
                  </a:lnTo>
                  <a:lnTo>
                    <a:pt x="13886" y="6000"/>
                  </a:lnTo>
                  <a:lnTo>
                    <a:pt x="13886" y="4800"/>
                  </a:lnTo>
                  <a:lnTo>
                    <a:pt x="18514" y="0"/>
                  </a:lnTo>
                  <a:close/>
                  <a:moveTo>
                    <a:pt x="18514" y="0"/>
                  </a:moveTo>
                </a:path>
              </a:pathLst>
            </a:custGeom>
            <a:solidFill>
              <a:srgbClr val="00BACF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55" name="AutoShape 7"/>
            <p:cNvSpPr>
              <a:spLocks/>
            </p:cNvSpPr>
            <p:nvPr/>
          </p:nvSpPr>
          <p:spPr bwMode="auto">
            <a:xfrm>
              <a:off x="5814828" y="3243740"/>
              <a:ext cx="94535" cy="82601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4400" y="19059"/>
                  </a:moveTo>
                  <a:lnTo>
                    <a:pt x="16800" y="19059"/>
                  </a:lnTo>
                  <a:lnTo>
                    <a:pt x="16800" y="21600"/>
                  </a:lnTo>
                  <a:lnTo>
                    <a:pt x="14400" y="21600"/>
                  </a:lnTo>
                  <a:lnTo>
                    <a:pt x="14400" y="19059"/>
                  </a:lnTo>
                  <a:close/>
                  <a:moveTo>
                    <a:pt x="10800" y="0"/>
                  </a:moveTo>
                  <a:lnTo>
                    <a:pt x="10800" y="1271"/>
                  </a:lnTo>
                  <a:lnTo>
                    <a:pt x="13200" y="3812"/>
                  </a:lnTo>
                  <a:lnTo>
                    <a:pt x="13200" y="10165"/>
                  </a:lnTo>
                  <a:lnTo>
                    <a:pt x="14400" y="12706"/>
                  </a:lnTo>
                  <a:lnTo>
                    <a:pt x="21600" y="12706"/>
                  </a:lnTo>
                  <a:lnTo>
                    <a:pt x="21600" y="15247"/>
                  </a:lnTo>
                  <a:lnTo>
                    <a:pt x="19200" y="15247"/>
                  </a:lnTo>
                  <a:lnTo>
                    <a:pt x="19200" y="17788"/>
                  </a:lnTo>
                  <a:lnTo>
                    <a:pt x="16800" y="17788"/>
                  </a:lnTo>
                  <a:lnTo>
                    <a:pt x="16800" y="15247"/>
                  </a:lnTo>
                  <a:lnTo>
                    <a:pt x="14400" y="15247"/>
                  </a:lnTo>
                  <a:lnTo>
                    <a:pt x="13200" y="17788"/>
                  </a:lnTo>
                  <a:lnTo>
                    <a:pt x="13200" y="15247"/>
                  </a:lnTo>
                  <a:lnTo>
                    <a:pt x="10800" y="15247"/>
                  </a:lnTo>
                  <a:lnTo>
                    <a:pt x="8400" y="12706"/>
                  </a:lnTo>
                  <a:lnTo>
                    <a:pt x="7200" y="12706"/>
                  </a:lnTo>
                  <a:lnTo>
                    <a:pt x="7200" y="8894"/>
                  </a:lnTo>
                  <a:lnTo>
                    <a:pt x="0" y="8894"/>
                  </a:lnTo>
                  <a:lnTo>
                    <a:pt x="0" y="6353"/>
                  </a:lnTo>
                  <a:lnTo>
                    <a:pt x="4800" y="6353"/>
                  </a:lnTo>
                  <a:lnTo>
                    <a:pt x="4800" y="3812"/>
                  </a:lnTo>
                  <a:lnTo>
                    <a:pt x="7200" y="6353"/>
                  </a:lnTo>
                  <a:lnTo>
                    <a:pt x="8400" y="6353"/>
                  </a:lnTo>
                  <a:lnTo>
                    <a:pt x="8400" y="1271"/>
                  </a:lnTo>
                  <a:lnTo>
                    <a:pt x="10800" y="0"/>
                  </a:lnTo>
                  <a:close/>
                  <a:moveTo>
                    <a:pt x="10800" y="0"/>
                  </a:moveTo>
                </a:path>
              </a:pathLst>
            </a:custGeom>
            <a:solidFill>
              <a:srgbClr val="00BACF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56" name="Freeform 8"/>
            <p:cNvSpPr>
              <a:spLocks/>
            </p:cNvSpPr>
            <p:nvPr/>
          </p:nvSpPr>
          <p:spPr bwMode="auto">
            <a:xfrm>
              <a:off x="6105184" y="3072495"/>
              <a:ext cx="47267" cy="42307"/>
            </a:xfrm>
            <a:custGeom>
              <a:avLst/>
              <a:gdLst/>
              <a:ahLst/>
              <a:cxnLst>
                <a:cxn ang="0">
                  <a:pos x="4800" y="0"/>
                </a:cxn>
                <a:cxn ang="0">
                  <a:pos x="9600" y="0"/>
                </a:cxn>
                <a:cxn ang="0">
                  <a:pos x="9600" y="12000"/>
                </a:cxn>
                <a:cxn ang="0">
                  <a:pos x="16800" y="12000"/>
                </a:cxn>
                <a:cxn ang="0">
                  <a:pos x="16800" y="16800"/>
                </a:cxn>
                <a:cxn ang="0">
                  <a:pos x="21600" y="16800"/>
                </a:cxn>
                <a:cxn ang="0">
                  <a:pos x="21600" y="21600"/>
                </a:cxn>
                <a:cxn ang="0">
                  <a:pos x="16800" y="21600"/>
                </a:cxn>
                <a:cxn ang="0">
                  <a:pos x="12000" y="16800"/>
                </a:cxn>
                <a:cxn ang="0">
                  <a:pos x="0" y="16800"/>
                </a:cxn>
                <a:cxn ang="0">
                  <a:pos x="0" y="7200"/>
                </a:cxn>
                <a:cxn ang="0">
                  <a:pos x="4800" y="7200"/>
                </a:cxn>
                <a:cxn ang="0">
                  <a:pos x="4800" y="0"/>
                </a:cxn>
                <a:cxn ang="0">
                  <a:pos x="4800" y="0"/>
                </a:cxn>
              </a:cxnLst>
              <a:rect l="0" t="0" r="r" b="b"/>
              <a:pathLst>
                <a:path w="21600" h="21600">
                  <a:moveTo>
                    <a:pt x="4800" y="0"/>
                  </a:moveTo>
                  <a:lnTo>
                    <a:pt x="9600" y="0"/>
                  </a:lnTo>
                  <a:lnTo>
                    <a:pt x="9600" y="12000"/>
                  </a:lnTo>
                  <a:lnTo>
                    <a:pt x="16800" y="12000"/>
                  </a:lnTo>
                  <a:lnTo>
                    <a:pt x="16800" y="16800"/>
                  </a:lnTo>
                  <a:lnTo>
                    <a:pt x="21600" y="16800"/>
                  </a:lnTo>
                  <a:lnTo>
                    <a:pt x="21600" y="21600"/>
                  </a:lnTo>
                  <a:lnTo>
                    <a:pt x="16800" y="21600"/>
                  </a:lnTo>
                  <a:lnTo>
                    <a:pt x="12000" y="16800"/>
                  </a:lnTo>
                  <a:lnTo>
                    <a:pt x="0" y="16800"/>
                  </a:lnTo>
                  <a:lnTo>
                    <a:pt x="0" y="7200"/>
                  </a:lnTo>
                  <a:lnTo>
                    <a:pt x="4800" y="7200"/>
                  </a:lnTo>
                  <a:lnTo>
                    <a:pt x="4800" y="0"/>
                  </a:lnTo>
                  <a:close/>
                  <a:moveTo>
                    <a:pt x="4800" y="0"/>
                  </a:moveTo>
                </a:path>
              </a:pathLst>
            </a:custGeom>
            <a:solidFill>
              <a:srgbClr val="00BACF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57" name="Freeform 9"/>
            <p:cNvSpPr>
              <a:spLocks/>
            </p:cNvSpPr>
            <p:nvPr/>
          </p:nvSpPr>
          <p:spPr bwMode="auto">
            <a:xfrm>
              <a:off x="6250363" y="3995204"/>
              <a:ext cx="47267" cy="30219"/>
            </a:xfrm>
            <a:custGeom>
              <a:avLst/>
              <a:gdLst/>
              <a:ahLst/>
              <a:cxnLst>
                <a:cxn ang="0">
                  <a:pos x="9600" y="0"/>
                </a:cxn>
                <a:cxn ang="0">
                  <a:pos x="12000" y="0"/>
                </a:cxn>
                <a:cxn ang="0">
                  <a:pos x="12000" y="7200"/>
                </a:cxn>
                <a:cxn ang="0">
                  <a:pos x="21600" y="7200"/>
                </a:cxn>
                <a:cxn ang="0">
                  <a:pos x="21600" y="14400"/>
                </a:cxn>
                <a:cxn ang="0">
                  <a:pos x="16800" y="14400"/>
                </a:cxn>
                <a:cxn ang="0">
                  <a:pos x="16800" y="21600"/>
                </a:cxn>
                <a:cxn ang="0">
                  <a:pos x="9600" y="21600"/>
                </a:cxn>
                <a:cxn ang="0">
                  <a:pos x="9600" y="14400"/>
                </a:cxn>
                <a:cxn ang="0">
                  <a:pos x="0" y="14400"/>
                </a:cxn>
                <a:cxn ang="0">
                  <a:pos x="0" y="7200"/>
                </a:cxn>
                <a:cxn ang="0">
                  <a:pos x="9600" y="7200"/>
                </a:cxn>
                <a:cxn ang="0">
                  <a:pos x="9600" y="0"/>
                </a:cxn>
                <a:cxn ang="0">
                  <a:pos x="9600" y="0"/>
                </a:cxn>
              </a:cxnLst>
              <a:rect l="0" t="0" r="r" b="b"/>
              <a:pathLst>
                <a:path w="21600" h="21600">
                  <a:moveTo>
                    <a:pt x="9600" y="0"/>
                  </a:moveTo>
                  <a:lnTo>
                    <a:pt x="12000" y="0"/>
                  </a:lnTo>
                  <a:lnTo>
                    <a:pt x="12000" y="7200"/>
                  </a:lnTo>
                  <a:lnTo>
                    <a:pt x="21600" y="7200"/>
                  </a:lnTo>
                  <a:lnTo>
                    <a:pt x="21600" y="14400"/>
                  </a:lnTo>
                  <a:lnTo>
                    <a:pt x="16800" y="14400"/>
                  </a:lnTo>
                  <a:lnTo>
                    <a:pt x="16800" y="21600"/>
                  </a:lnTo>
                  <a:lnTo>
                    <a:pt x="9600" y="21600"/>
                  </a:lnTo>
                  <a:lnTo>
                    <a:pt x="9600" y="14400"/>
                  </a:lnTo>
                  <a:lnTo>
                    <a:pt x="0" y="14400"/>
                  </a:lnTo>
                  <a:lnTo>
                    <a:pt x="0" y="7200"/>
                  </a:lnTo>
                  <a:lnTo>
                    <a:pt x="9600" y="7200"/>
                  </a:lnTo>
                  <a:lnTo>
                    <a:pt x="9600" y="0"/>
                  </a:lnTo>
                  <a:close/>
                  <a:moveTo>
                    <a:pt x="960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58" name="Freeform 10"/>
            <p:cNvSpPr>
              <a:spLocks/>
            </p:cNvSpPr>
            <p:nvPr/>
          </p:nvSpPr>
          <p:spPr bwMode="auto">
            <a:xfrm>
              <a:off x="5705100" y="3519747"/>
              <a:ext cx="219456" cy="141025"/>
            </a:xfrm>
            <a:custGeom>
              <a:avLst/>
              <a:gdLst/>
              <a:ahLst/>
              <a:cxnLst>
                <a:cxn ang="0">
                  <a:pos x="14400" y="745"/>
                </a:cxn>
                <a:cxn ang="0">
                  <a:pos x="16971" y="3724"/>
                </a:cxn>
                <a:cxn ang="0">
                  <a:pos x="19029" y="5214"/>
                </a:cxn>
                <a:cxn ang="0">
                  <a:pos x="20057" y="5959"/>
                </a:cxn>
                <a:cxn ang="0">
                  <a:pos x="20571" y="7448"/>
                </a:cxn>
                <a:cxn ang="0">
                  <a:pos x="19029" y="8938"/>
                </a:cxn>
                <a:cxn ang="0">
                  <a:pos x="21600" y="10428"/>
                </a:cxn>
                <a:cxn ang="0">
                  <a:pos x="20057" y="14152"/>
                </a:cxn>
                <a:cxn ang="0">
                  <a:pos x="21600" y="14897"/>
                </a:cxn>
                <a:cxn ang="0">
                  <a:pos x="20057" y="16386"/>
                </a:cxn>
                <a:cxn ang="0">
                  <a:pos x="18000" y="17876"/>
                </a:cxn>
                <a:cxn ang="0">
                  <a:pos x="16971" y="19366"/>
                </a:cxn>
                <a:cxn ang="0">
                  <a:pos x="16457" y="21600"/>
                </a:cxn>
                <a:cxn ang="0">
                  <a:pos x="15429" y="20110"/>
                </a:cxn>
                <a:cxn ang="0">
                  <a:pos x="14400" y="19366"/>
                </a:cxn>
                <a:cxn ang="0">
                  <a:pos x="13886" y="19366"/>
                </a:cxn>
                <a:cxn ang="0">
                  <a:pos x="12857" y="20110"/>
                </a:cxn>
                <a:cxn ang="0">
                  <a:pos x="11829" y="17876"/>
                </a:cxn>
                <a:cxn ang="0">
                  <a:pos x="10800" y="14897"/>
                </a:cxn>
                <a:cxn ang="0">
                  <a:pos x="7200" y="16386"/>
                </a:cxn>
                <a:cxn ang="0">
                  <a:pos x="7200" y="17876"/>
                </a:cxn>
                <a:cxn ang="0">
                  <a:pos x="5657" y="19366"/>
                </a:cxn>
                <a:cxn ang="0">
                  <a:pos x="3600" y="17876"/>
                </a:cxn>
                <a:cxn ang="0">
                  <a:pos x="2057" y="16386"/>
                </a:cxn>
                <a:cxn ang="0">
                  <a:pos x="1029" y="14897"/>
                </a:cxn>
                <a:cxn ang="0">
                  <a:pos x="0" y="14152"/>
                </a:cxn>
                <a:cxn ang="0">
                  <a:pos x="1029" y="12662"/>
                </a:cxn>
                <a:cxn ang="0">
                  <a:pos x="3600" y="11172"/>
                </a:cxn>
                <a:cxn ang="0">
                  <a:pos x="2057" y="10428"/>
                </a:cxn>
                <a:cxn ang="0">
                  <a:pos x="5657" y="8938"/>
                </a:cxn>
                <a:cxn ang="0">
                  <a:pos x="6686" y="5959"/>
                </a:cxn>
                <a:cxn ang="0">
                  <a:pos x="7200" y="5214"/>
                </a:cxn>
                <a:cxn ang="0">
                  <a:pos x="8229" y="3724"/>
                </a:cxn>
                <a:cxn ang="0">
                  <a:pos x="10286" y="2234"/>
                </a:cxn>
                <a:cxn ang="0">
                  <a:pos x="12857" y="745"/>
                </a:cxn>
                <a:cxn ang="0">
                  <a:pos x="13886" y="0"/>
                </a:cxn>
              </a:cxnLst>
              <a:rect l="0" t="0" r="r" b="b"/>
              <a:pathLst>
                <a:path w="21600" h="21600">
                  <a:moveTo>
                    <a:pt x="13886" y="0"/>
                  </a:moveTo>
                  <a:lnTo>
                    <a:pt x="14400" y="745"/>
                  </a:lnTo>
                  <a:lnTo>
                    <a:pt x="16971" y="745"/>
                  </a:lnTo>
                  <a:lnTo>
                    <a:pt x="16971" y="3724"/>
                  </a:lnTo>
                  <a:lnTo>
                    <a:pt x="18000" y="3724"/>
                  </a:lnTo>
                  <a:lnTo>
                    <a:pt x="19029" y="5214"/>
                  </a:lnTo>
                  <a:lnTo>
                    <a:pt x="19029" y="5959"/>
                  </a:lnTo>
                  <a:lnTo>
                    <a:pt x="20057" y="5959"/>
                  </a:lnTo>
                  <a:lnTo>
                    <a:pt x="20057" y="7448"/>
                  </a:lnTo>
                  <a:lnTo>
                    <a:pt x="20571" y="7448"/>
                  </a:lnTo>
                  <a:lnTo>
                    <a:pt x="20057" y="8938"/>
                  </a:lnTo>
                  <a:lnTo>
                    <a:pt x="19029" y="8938"/>
                  </a:lnTo>
                  <a:lnTo>
                    <a:pt x="19029" y="10428"/>
                  </a:lnTo>
                  <a:lnTo>
                    <a:pt x="21600" y="10428"/>
                  </a:lnTo>
                  <a:lnTo>
                    <a:pt x="21600" y="14152"/>
                  </a:lnTo>
                  <a:lnTo>
                    <a:pt x="20057" y="14152"/>
                  </a:lnTo>
                  <a:lnTo>
                    <a:pt x="20057" y="14897"/>
                  </a:lnTo>
                  <a:lnTo>
                    <a:pt x="21600" y="14897"/>
                  </a:lnTo>
                  <a:lnTo>
                    <a:pt x="21600" y="16386"/>
                  </a:lnTo>
                  <a:lnTo>
                    <a:pt x="20057" y="16386"/>
                  </a:lnTo>
                  <a:lnTo>
                    <a:pt x="19029" y="17876"/>
                  </a:lnTo>
                  <a:lnTo>
                    <a:pt x="18000" y="17876"/>
                  </a:lnTo>
                  <a:lnTo>
                    <a:pt x="18000" y="19366"/>
                  </a:lnTo>
                  <a:lnTo>
                    <a:pt x="16971" y="19366"/>
                  </a:lnTo>
                  <a:lnTo>
                    <a:pt x="16971" y="20110"/>
                  </a:lnTo>
                  <a:lnTo>
                    <a:pt x="16457" y="21600"/>
                  </a:lnTo>
                  <a:lnTo>
                    <a:pt x="16457" y="20110"/>
                  </a:lnTo>
                  <a:lnTo>
                    <a:pt x="15429" y="20110"/>
                  </a:lnTo>
                  <a:lnTo>
                    <a:pt x="15429" y="19366"/>
                  </a:lnTo>
                  <a:lnTo>
                    <a:pt x="14400" y="19366"/>
                  </a:lnTo>
                  <a:lnTo>
                    <a:pt x="14400" y="20110"/>
                  </a:lnTo>
                  <a:lnTo>
                    <a:pt x="13886" y="19366"/>
                  </a:lnTo>
                  <a:lnTo>
                    <a:pt x="13886" y="20110"/>
                  </a:lnTo>
                  <a:lnTo>
                    <a:pt x="12857" y="20110"/>
                  </a:lnTo>
                  <a:lnTo>
                    <a:pt x="12857" y="17876"/>
                  </a:lnTo>
                  <a:lnTo>
                    <a:pt x="11829" y="17876"/>
                  </a:lnTo>
                  <a:lnTo>
                    <a:pt x="10800" y="16386"/>
                  </a:lnTo>
                  <a:lnTo>
                    <a:pt x="10800" y="14897"/>
                  </a:lnTo>
                  <a:lnTo>
                    <a:pt x="7200" y="14897"/>
                  </a:lnTo>
                  <a:lnTo>
                    <a:pt x="7200" y="16386"/>
                  </a:lnTo>
                  <a:lnTo>
                    <a:pt x="8229" y="17876"/>
                  </a:lnTo>
                  <a:lnTo>
                    <a:pt x="7200" y="17876"/>
                  </a:lnTo>
                  <a:lnTo>
                    <a:pt x="7200" y="19366"/>
                  </a:lnTo>
                  <a:lnTo>
                    <a:pt x="5657" y="19366"/>
                  </a:lnTo>
                  <a:lnTo>
                    <a:pt x="5657" y="17876"/>
                  </a:lnTo>
                  <a:lnTo>
                    <a:pt x="3600" y="17876"/>
                  </a:lnTo>
                  <a:lnTo>
                    <a:pt x="3600" y="16386"/>
                  </a:lnTo>
                  <a:lnTo>
                    <a:pt x="2057" y="16386"/>
                  </a:lnTo>
                  <a:lnTo>
                    <a:pt x="2057" y="14897"/>
                  </a:lnTo>
                  <a:lnTo>
                    <a:pt x="1029" y="14897"/>
                  </a:lnTo>
                  <a:lnTo>
                    <a:pt x="1029" y="14152"/>
                  </a:lnTo>
                  <a:lnTo>
                    <a:pt x="0" y="14152"/>
                  </a:lnTo>
                  <a:lnTo>
                    <a:pt x="0" y="12662"/>
                  </a:lnTo>
                  <a:lnTo>
                    <a:pt x="1029" y="12662"/>
                  </a:lnTo>
                  <a:lnTo>
                    <a:pt x="1029" y="11172"/>
                  </a:lnTo>
                  <a:lnTo>
                    <a:pt x="3600" y="11172"/>
                  </a:lnTo>
                  <a:lnTo>
                    <a:pt x="3600" y="10428"/>
                  </a:lnTo>
                  <a:lnTo>
                    <a:pt x="2057" y="10428"/>
                  </a:lnTo>
                  <a:lnTo>
                    <a:pt x="2057" y="8938"/>
                  </a:lnTo>
                  <a:lnTo>
                    <a:pt x="5657" y="8938"/>
                  </a:lnTo>
                  <a:lnTo>
                    <a:pt x="5657" y="5959"/>
                  </a:lnTo>
                  <a:lnTo>
                    <a:pt x="6686" y="5959"/>
                  </a:lnTo>
                  <a:lnTo>
                    <a:pt x="6686" y="5214"/>
                  </a:lnTo>
                  <a:lnTo>
                    <a:pt x="7200" y="5214"/>
                  </a:lnTo>
                  <a:lnTo>
                    <a:pt x="7200" y="3724"/>
                  </a:lnTo>
                  <a:lnTo>
                    <a:pt x="8229" y="3724"/>
                  </a:lnTo>
                  <a:lnTo>
                    <a:pt x="9257" y="2234"/>
                  </a:lnTo>
                  <a:lnTo>
                    <a:pt x="10286" y="2234"/>
                  </a:lnTo>
                  <a:lnTo>
                    <a:pt x="10286" y="745"/>
                  </a:lnTo>
                  <a:lnTo>
                    <a:pt x="12857" y="745"/>
                  </a:lnTo>
                  <a:lnTo>
                    <a:pt x="13886" y="0"/>
                  </a:lnTo>
                  <a:close/>
                  <a:moveTo>
                    <a:pt x="13886" y="0"/>
                  </a:moveTo>
                </a:path>
              </a:pathLst>
            </a:custGeom>
            <a:solidFill>
              <a:srgbClr val="00BACF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59" name="AutoShape 11"/>
            <p:cNvSpPr>
              <a:spLocks/>
            </p:cNvSpPr>
            <p:nvPr/>
          </p:nvSpPr>
          <p:spPr bwMode="auto">
            <a:xfrm>
              <a:off x="5870536" y="3130919"/>
              <a:ext cx="661743" cy="952929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9694" y="17258"/>
                  </a:moveTo>
                  <a:lnTo>
                    <a:pt x="9694" y="17480"/>
                  </a:lnTo>
                  <a:lnTo>
                    <a:pt x="10035" y="17480"/>
                  </a:lnTo>
                  <a:lnTo>
                    <a:pt x="10035" y="17258"/>
                  </a:lnTo>
                  <a:lnTo>
                    <a:pt x="9694" y="17258"/>
                  </a:lnTo>
                  <a:close/>
                  <a:moveTo>
                    <a:pt x="2551" y="17258"/>
                  </a:moveTo>
                  <a:lnTo>
                    <a:pt x="2891" y="17258"/>
                  </a:lnTo>
                  <a:lnTo>
                    <a:pt x="2891" y="17480"/>
                  </a:lnTo>
                  <a:lnTo>
                    <a:pt x="2551" y="17480"/>
                  </a:lnTo>
                  <a:lnTo>
                    <a:pt x="2551" y="17258"/>
                  </a:lnTo>
                  <a:close/>
                  <a:moveTo>
                    <a:pt x="15647" y="12470"/>
                  </a:moveTo>
                  <a:lnTo>
                    <a:pt x="15647" y="12581"/>
                  </a:lnTo>
                  <a:lnTo>
                    <a:pt x="15987" y="12581"/>
                  </a:lnTo>
                  <a:lnTo>
                    <a:pt x="15647" y="12470"/>
                  </a:lnTo>
                  <a:close/>
                  <a:moveTo>
                    <a:pt x="3231" y="10132"/>
                  </a:moveTo>
                  <a:lnTo>
                    <a:pt x="3572" y="10132"/>
                  </a:lnTo>
                  <a:lnTo>
                    <a:pt x="3572" y="10355"/>
                  </a:lnTo>
                  <a:lnTo>
                    <a:pt x="3231" y="10355"/>
                  </a:lnTo>
                  <a:lnTo>
                    <a:pt x="3231" y="10132"/>
                  </a:lnTo>
                  <a:close/>
                  <a:moveTo>
                    <a:pt x="3572" y="6458"/>
                  </a:moveTo>
                  <a:lnTo>
                    <a:pt x="3572" y="7014"/>
                  </a:lnTo>
                  <a:lnTo>
                    <a:pt x="3742" y="7014"/>
                  </a:lnTo>
                  <a:lnTo>
                    <a:pt x="3742" y="6458"/>
                  </a:lnTo>
                  <a:lnTo>
                    <a:pt x="3572" y="6458"/>
                  </a:lnTo>
                  <a:close/>
                  <a:moveTo>
                    <a:pt x="2381" y="1893"/>
                  </a:moveTo>
                  <a:lnTo>
                    <a:pt x="2381" y="2115"/>
                  </a:lnTo>
                  <a:lnTo>
                    <a:pt x="2551" y="2115"/>
                  </a:lnTo>
                  <a:lnTo>
                    <a:pt x="2551" y="1893"/>
                  </a:lnTo>
                  <a:lnTo>
                    <a:pt x="2381" y="1893"/>
                  </a:lnTo>
                  <a:close/>
                  <a:moveTo>
                    <a:pt x="7313" y="0"/>
                  </a:moveTo>
                  <a:lnTo>
                    <a:pt x="7654" y="0"/>
                  </a:lnTo>
                  <a:lnTo>
                    <a:pt x="7654" y="223"/>
                  </a:lnTo>
                  <a:lnTo>
                    <a:pt x="8504" y="223"/>
                  </a:lnTo>
                  <a:lnTo>
                    <a:pt x="8504" y="334"/>
                  </a:lnTo>
                  <a:lnTo>
                    <a:pt x="8334" y="334"/>
                  </a:lnTo>
                  <a:lnTo>
                    <a:pt x="8334" y="557"/>
                  </a:lnTo>
                  <a:lnTo>
                    <a:pt x="8504" y="557"/>
                  </a:lnTo>
                  <a:lnTo>
                    <a:pt x="8504" y="779"/>
                  </a:lnTo>
                  <a:lnTo>
                    <a:pt x="8334" y="779"/>
                  </a:lnTo>
                  <a:lnTo>
                    <a:pt x="7654" y="1113"/>
                  </a:lnTo>
                  <a:lnTo>
                    <a:pt x="7313" y="1113"/>
                  </a:lnTo>
                  <a:lnTo>
                    <a:pt x="7313" y="1336"/>
                  </a:lnTo>
                  <a:lnTo>
                    <a:pt x="7143" y="1336"/>
                  </a:lnTo>
                  <a:lnTo>
                    <a:pt x="7143" y="1559"/>
                  </a:lnTo>
                  <a:lnTo>
                    <a:pt x="6803" y="1559"/>
                  </a:lnTo>
                  <a:lnTo>
                    <a:pt x="6463" y="1781"/>
                  </a:lnTo>
                  <a:lnTo>
                    <a:pt x="6123" y="1781"/>
                  </a:lnTo>
                  <a:lnTo>
                    <a:pt x="5953" y="1893"/>
                  </a:lnTo>
                  <a:lnTo>
                    <a:pt x="5613" y="1893"/>
                  </a:lnTo>
                  <a:lnTo>
                    <a:pt x="5613" y="2338"/>
                  </a:lnTo>
                  <a:lnTo>
                    <a:pt x="6123" y="2338"/>
                  </a:lnTo>
                  <a:lnTo>
                    <a:pt x="5953" y="2561"/>
                  </a:lnTo>
                  <a:lnTo>
                    <a:pt x="5613" y="2561"/>
                  </a:lnTo>
                  <a:lnTo>
                    <a:pt x="5613" y="2672"/>
                  </a:lnTo>
                  <a:lnTo>
                    <a:pt x="5272" y="2672"/>
                  </a:lnTo>
                  <a:lnTo>
                    <a:pt x="5272" y="2895"/>
                  </a:lnTo>
                  <a:lnTo>
                    <a:pt x="4932" y="3118"/>
                  </a:lnTo>
                  <a:lnTo>
                    <a:pt x="5613" y="3118"/>
                  </a:lnTo>
                  <a:lnTo>
                    <a:pt x="5613" y="2895"/>
                  </a:lnTo>
                  <a:lnTo>
                    <a:pt x="5953" y="2895"/>
                  </a:lnTo>
                  <a:lnTo>
                    <a:pt x="5953" y="2672"/>
                  </a:lnTo>
                  <a:lnTo>
                    <a:pt x="6123" y="2672"/>
                  </a:lnTo>
                  <a:lnTo>
                    <a:pt x="6123" y="2895"/>
                  </a:lnTo>
                  <a:lnTo>
                    <a:pt x="6463" y="2895"/>
                  </a:lnTo>
                  <a:lnTo>
                    <a:pt x="6463" y="2672"/>
                  </a:lnTo>
                  <a:lnTo>
                    <a:pt x="7313" y="2672"/>
                  </a:lnTo>
                  <a:lnTo>
                    <a:pt x="7654" y="2561"/>
                  </a:lnTo>
                  <a:lnTo>
                    <a:pt x="8334" y="2561"/>
                  </a:lnTo>
                  <a:lnTo>
                    <a:pt x="8504" y="2672"/>
                  </a:lnTo>
                  <a:lnTo>
                    <a:pt x="10375" y="2672"/>
                  </a:lnTo>
                  <a:lnTo>
                    <a:pt x="10715" y="2895"/>
                  </a:lnTo>
                  <a:lnTo>
                    <a:pt x="11225" y="2895"/>
                  </a:lnTo>
                  <a:lnTo>
                    <a:pt x="11225" y="2672"/>
                  </a:lnTo>
                  <a:lnTo>
                    <a:pt x="11906" y="2672"/>
                  </a:lnTo>
                  <a:lnTo>
                    <a:pt x="11906" y="3340"/>
                  </a:lnTo>
                  <a:lnTo>
                    <a:pt x="11565" y="3340"/>
                  </a:lnTo>
                  <a:lnTo>
                    <a:pt x="11565" y="3674"/>
                  </a:lnTo>
                  <a:lnTo>
                    <a:pt x="11225" y="3674"/>
                  </a:lnTo>
                  <a:lnTo>
                    <a:pt x="11225" y="4231"/>
                  </a:lnTo>
                  <a:lnTo>
                    <a:pt x="10885" y="4231"/>
                  </a:lnTo>
                  <a:lnTo>
                    <a:pt x="10885" y="4454"/>
                  </a:lnTo>
                  <a:lnTo>
                    <a:pt x="10715" y="4454"/>
                  </a:lnTo>
                  <a:lnTo>
                    <a:pt x="10715" y="4899"/>
                  </a:lnTo>
                  <a:lnTo>
                    <a:pt x="9184" y="5790"/>
                  </a:lnTo>
                  <a:lnTo>
                    <a:pt x="9184" y="6012"/>
                  </a:lnTo>
                  <a:lnTo>
                    <a:pt x="9524" y="6012"/>
                  </a:lnTo>
                  <a:lnTo>
                    <a:pt x="9524" y="6458"/>
                  </a:lnTo>
                  <a:lnTo>
                    <a:pt x="8504" y="6458"/>
                  </a:lnTo>
                  <a:lnTo>
                    <a:pt x="8504" y="6569"/>
                  </a:lnTo>
                  <a:lnTo>
                    <a:pt x="8334" y="6792"/>
                  </a:lnTo>
                  <a:lnTo>
                    <a:pt x="7313" y="6792"/>
                  </a:lnTo>
                  <a:lnTo>
                    <a:pt x="7654" y="7014"/>
                  </a:lnTo>
                  <a:lnTo>
                    <a:pt x="7994" y="7014"/>
                  </a:lnTo>
                  <a:lnTo>
                    <a:pt x="7994" y="6792"/>
                  </a:lnTo>
                  <a:lnTo>
                    <a:pt x="8334" y="7014"/>
                  </a:lnTo>
                  <a:lnTo>
                    <a:pt x="10035" y="7014"/>
                  </a:lnTo>
                  <a:lnTo>
                    <a:pt x="10375" y="7237"/>
                  </a:lnTo>
                  <a:lnTo>
                    <a:pt x="10885" y="7348"/>
                  </a:lnTo>
                  <a:lnTo>
                    <a:pt x="11225" y="7348"/>
                  </a:lnTo>
                  <a:lnTo>
                    <a:pt x="11225" y="7571"/>
                  </a:lnTo>
                  <a:lnTo>
                    <a:pt x="11565" y="7571"/>
                  </a:lnTo>
                  <a:lnTo>
                    <a:pt x="12076" y="8016"/>
                  </a:lnTo>
                  <a:lnTo>
                    <a:pt x="12416" y="8351"/>
                  </a:lnTo>
                  <a:lnTo>
                    <a:pt x="12416" y="8796"/>
                  </a:lnTo>
                  <a:lnTo>
                    <a:pt x="12756" y="8907"/>
                  </a:lnTo>
                  <a:lnTo>
                    <a:pt x="12756" y="9575"/>
                  </a:lnTo>
                  <a:lnTo>
                    <a:pt x="13096" y="9687"/>
                  </a:lnTo>
                  <a:lnTo>
                    <a:pt x="13096" y="10132"/>
                  </a:lnTo>
                  <a:lnTo>
                    <a:pt x="13266" y="10132"/>
                  </a:lnTo>
                  <a:lnTo>
                    <a:pt x="13266" y="10355"/>
                  </a:lnTo>
                  <a:lnTo>
                    <a:pt x="14287" y="10355"/>
                  </a:lnTo>
                  <a:lnTo>
                    <a:pt x="14287" y="10466"/>
                  </a:lnTo>
                  <a:lnTo>
                    <a:pt x="14797" y="10466"/>
                  </a:lnTo>
                  <a:lnTo>
                    <a:pt x="14797" y="10689"/>
                  </a:lnTo>
                  <a:lnTo>
                    <a:pt x="15137" y="10689"/>
                  </a:lnTo>
                  <a:lnTo>
                    <a:pt x="15137" y="10911"/>
                  </a:lnTo>
                  <a:lnTo>
                    <a:pt x="15477" y="10911"/>
                  </a:lnTo>
                  <a:lnTo>
                    <a:pt x="15647" y="11023"/>
                  </a:lnTo>
                  <a:lnTo>
                    <a:pt x="15647" y="11245"/>
                  </a:lnTo>
                  <a:lnTo>
                    <a:pt x="15987" y="11245"/>
                  </a:lnTo>
                  <a:lnTo>
                    <a:pt x="15987" y="11468"/>
                  </a:lnTo>
                  <a:lnTo>
                    <a:pt x="16328" y="11468"/>
                  </a:lnTo>
                  <a:lnTo>
                    <a:pt x="16328" y="11802"/>
                  </a:lnTo>
                  <a:lnTo>
                    <a:pt x="16498" y="11802"/>
                  </a:lnTo>
                  <a:lnTo>
                    <a:pt x="16498" y="12025"/>
                  </a:lnTo>
                  <a:lnTo>
                    <a:pt x="16838" y="12025"/>
                  </a:lnTo>
                  <a:lnTo>
                    <a:pt x="16838" y="12581"/>
                  </a:lnTo>
                  <a:lnTo>
                    <a:pt x="17178" y="12581"/>
                  </a:lnTo>
                  <a:lnTo>
                    <a:pt x="17178" y="12804"/>
                  </a:lnTo>
                  <a:lnTo>
                    <a:pt x="16498" y="12804"/>
                  </a:lnTo>
                  <a:lnTo>
                    <a:pt x="16328" y="12581"/>
                  </a:lnTo>
                  <a:lnTo>
                    <a:pt x="16328" y="12804"/>
                  </a:lnTo>
                  <a:lnTo>
                    <a:pt x="16498" y="13027"/>
                  </a:lnTo>
                  <a:lnTo>
                    <a:pt x="16838" y="13027"/>
                  </a:lnTo>
                  <a:lnTo>
                    <a:pt x="16838" y="13249"/>
                  </a:lnTo>
                  <a:lnTo>
                    <a:pt x="17688" y="13806"/>
                  </a:lnTo>
                  <a:lnTo>
                    <a:pt x="17688" y="14029"/>
                  </a:lnTo>
                  <a:lnTo>
                    <a:pt x="16838" y="14586"/>
                  </a:lnTo>
                  <a:lnTo>
                    <a:pt x="17178" y="14586"/>
                  </a:lnTo>
                  <a:lnTo>
                    <a:pt x="17518" y="14808"/>
                  </a:lnTo>
                  <a:lnTo>
                    <a:pt x="17518" y="14920"/>
                  </a:lnTo>
                  <a:lnTo>
                    <a:pt x="17688" y="14808"/>
                  </a:lnTo>
                  <a:lnTo>
                    <a:pt x="17688" y="14586"/>
                  </a:lnTo>
                  <a:lnTo>
                    <a:pt x="18369" y="14586"/>
                  </a:lnTo>
                  <a:lnTo>
                    <a:pt x="18369" y="14363"/>
                  </a:lnTo>
                  <a:lnTo>
                    <a:pt x="19899" y="14363"/>
                  </a:lnTo>
                  <a:lnTo>
                    <a:pt x="20069" y="14586"/>
                  </a:lnTo>
                  <a:lnTo>
                    <a:pt x="20750" y="14586"/>
                  </a:lnTo>
                  <a:lnTo>
                    <a:pt x="21600" y="15142"/>
                  </a:lnTo>
                  <a:lnTo>
                    <a:pt x="21600" y="15922"/>
                  </a:lnTo>
                  <a:lnTo>
                    <a:pt x="21260" y="15922"/>
                  </a:lnTo>
                  <a:lnTo>
                    <a:pt x="21260" y="16367"/>
                  </a:lnTo>
                  <a:lnTo>
                    <a:pt x="21090" y="16478"/>
                  </a:lnTo>
                  <a:lnTo>
                    <a:pt x="21090" y="16701"/>
                  </a:lnTo>
                  <a:lnTo>
                    <a:pt x="20409" y="16701"/>
                  </a:lnTo>
                  <a:lnTo>
                    <a:pt x="20409" y="16924"/>
                  </a:lnTo>
                  <a:lnTo>
                    <a:pt x="20069" y="16924"/>
                  </a:lnTo>
                  <a:lnTo>
                    <a:pt x="20069" y="17258"/>
                  </a:lnTo>
                  <a:lnTo>
                    <a:pt x="19219" y="17258"/>
                  </a:lnTo>
                  <a:lnTo>
                    <a:pt x="19219" y="17703"/>
                  </a:lnTo>
                  <a:lnTo>
                    <a:pt x="18879" y="17926"/>
                  </a:lnTo>
                  <a:lnTo>
                    <a:pt x="18369" y="17926"/>
                  </a:lnTo>
                  <a:lnTo>
                    <a:pt x="18028" y="18037"/>
                  </a:lnTo>
                  <a:lnTo>
                    <a:pt x="19899" y="18037"/>
                  </a:lnTo>
                  <a:lnTo>
                    <a:pt x="19899" y="18260"/>
                  </a:lnTo>
                  <a:lnTo>
                    <a:pt x="20069" y="18260"/>
                  </a:lnTo>
                  <a:lnTo>
                    <a:pt x="20069" y="18037"/>
                  </a:lnTo>
                  <a:lnTo>
                    <a:pt x="20750" y="18037"/>
                  </a:lnTo>
                  <a:lnTo>
                    <a:pt x="20750" y="18260"/>
                  </a:lnTo>
                  <a:lnTo>
                    <a:pt x="20409" y="18260"/>
                  </a:lnTo>
                  <a:lnTo>
                    <a:pt x="20409" y="18817"/>
                  </a:lnTo>
                  <a:lnTo>
                    <a:pt x="20069" y="18817"/>
                  </a:lnTo>
                  <a:lnTo>
                    <a:pt x="19219" y="19485"/>
                  </a:lnTo>
                  <a:lnTo>
                    <a:pt x="18709" y="19485"/>
                  </a:lnTo>
                  <a:lnTo>
                    <a:pt x="18369" y="19596"/>
                  </a:lnTo>
                  <a:lnTo>
                    <a:pt x="16498" y="19596"/>
                  </a:lnTo>
                  <a:lnTo>
                    <a:pt x="15987" y="19485"/>
                  </a:lnTo>
                  <a:lnTo>
                    <a:pt x="15647" y="19596"/>
                  </a:lnTo>
                  <a:lnTo>
                    <a:pt x="15137" y="19596"/>
                  </a:lnTo>
                  <a:lnTo>
                    <a:pt x="14797" y="19819"/>
                  </a:lnTo>
                  <a:lnTo>
                    <a:pt x="14457" y="19819"/>
                  </a:lnTo>
                  <a:lnTo>
                    <a:pt x="14457" y="19596"/>
                  </a:lnTo>
                  <a:lnTo>
                    <a:pt x="14287" y="19596"/>
                  </a:lnTo>
                  <a:lnTo>
                    <a:pt x="14287" y="19485"/>
                  </a:lnTo>
                  <a:lnTo>
                    <a:pt x="13946" y="19485"/>
                  </a:lnTo>
                  <a:lnTo>
                    <a:pt x="13946" y="19596"/>
                  </a:lnTo>
                  <a:lnTo>
                    <a:pt x="13606" y="19485"/>
                  </a:lnTo>
                  <a:lnTo>
                    <a:pt x="12756" y="19485"/>
                  </a:lnTo>
                  <a:lnTo>
                    <a:pt x="12756" y="19596"/>
                  </a:lnTo>
                  <a:lnTo>
                    <a:pt x="12416" y="19596"/>
                  </a:lnTo>
                  <a:lnTo>
                    <a:pt x="12416" y="19819"/>
                  </a:lnTo>
                  <a:lnTo>
                    <a:pt x="11565" y="19819"/>
                  </a:lnTo>
                  <a:lnTo>
                    <a:pt x="11565" y="20041"/>
                  </a:lnTo>
                  <a:lnTo>
                    <a:pt x="10375" y="20041"/>
                  </a:lnTo>
                  <a:lnTo>
                    <a:pt x="10375" y="20264"/>
                  </a:lnTo>
                  <a:lnTo>
                    <a:pt x="10035" y="20264"/>
                  </a:lnTo>
                  <a:lnTo>
                    <a:pt x="9694" y="20041"/>
                  </a:lnTo>
                  <a:lnTo>
                    <a:pt x="9694" y="19819"/>
                  </a:lnTo>
                  <a:lnTo>
                    <a:pt x="7313" y="19819"/>
                  </a:lnTo>
                  <a:lnTo>
                    <a:pt x="7313" y="20264"/>
                  </a:lnTo>
                  <a:lnTo>
                    <a:pt x="7143" y="20375"/>
                  </a:lnTo>
                  <a:lnTo>
                    <a:pt x="7143" y="20598"/>
                  </a:lnTo>
                  <a:lnTo>
                    <a:pt x="6803" y="20821"/>
                  </a:lnTo>
                  <a:lnTo>
                    <a:pt x="6803" y="20932"/>
                  </a:lnTo>
                  <a:lnTo>
                    <a:pt x="6123" y="20932"/>
                  </a:lnTo>
                  <a:lnTo>
                    <a:pt x="6123" y="20821"/>
                  </a:lnTo>
                  <a:lnTo>
                    <a:pt x="5613" y="20821"/>
                  </a:lnTo>
                  <a:lnTo>
                    <a:pt x="5613" y="20598"/>
                  </a:lnTo>
                  <a:lnTo>
                    <a:pt x="5272" y="20598"/>
                  </a:lnTo>
                  <a:lnTo>
                    <a:pt x="5272" y="20821"/>
                  </a:lnTo>
                  <a:lnTo>
                    <a:pt x="4932" y="20598"/>
                  </a:lnTo>
                  <a:lnTo>
                    <a:pt x="4762" y="20598"/>
                  </a:lnTo>
                  <a:lnTo>
                    <a:pt x="4762" y="20821"/>
                  </a:lnTo>
                  <a:lnTo>
                    <a:pt x="4082" y="20821"/>
                  </a:lnTo>
                  <a:lnTo>
                    <a:pt x="3742" y="20932"/>
                  </a:lnTo>
                  <a:lnTo>
                    <a:pt x="3231" y="20932"/>
                  </a:lnTo>
                  <a:lnTo>
                    <a:pt x="2891" y="21155"/>
                  </a:lnTo>
                  <a:lnTo>
                    <a:pt x="2891" y="21377"/>
                  </a:lnTo>
                  <a:lnTo>
                    <a:pt x="2551" y="21600"/>
                  </a:lnTo>
                  <a:lnTo>
                    <a:pt x="2381" y="21377"/>
                  </a:lnTo>
                  <a:lnTo>
                    <a:pt x="1191" y="21377"/>
                  </a:lnTo>
                  <a:lnTo>
                    <a:pt x="1191" y="21155"/>
                  </a:lnTo>
                  <a:lnTo>
                    <a:pt x="1701" y="21155"/>
                  </a:lnTo>
                  <a:lnTo>
                    <a:pt x="1701" y="20932"/>
                  </a:lnTo>
                  <a:lnTo>
                    <a:pt x="2041" y="20821"/>
                  </a:lnTo>
                  <a:lnTo>
                    <a:pt x="2551" y="20821"/>
                  </a:lnTo>
                  <a:lnTo>
                    <a:pt x="2551" y="20375"/>
                  </a:lnTo>
                  <a:lnTo>
                    <a:pt x="3231" y="20375"/>
                  </a:lnTo>
                  <a:lnTo>
                    <a:pt x="3572" y="20264"/>
                  </a:lnTo>
                  <a:lnTo>
                    <a:pt x="3572" y="20041"/>
                  </a:lnTo>
                  <a:lnTo>
                    <a:pt x="4082" y="20041"/>
                  </a:lnTo>
                  <a:lnTo>
                    <a:pt x="4082" y="19596"/>
                  </a:lnTo>
                  <a:lnTo>
                    <a:pt x="4422" y="19596"/>
                  </a:lnTo>
                  <a:lnTo>
                    <a:pt x="4422" y="19262"/>
                  </a:lnTo>
                  <a:lnTo>
                    <a:pt x="4762" y="19039"/>
                  </a:lnTo>
                  <a:lnTo>
                    <a:pt x="4762" y="18817"/>
                  </a:lnTo>
                  <a:lnTo>
                    <a:pt x="5272" y="18817"/>
                  </a:lnTo>
                  <a:lnTo>
                    <a:pt x="5272" y="18705"/>
                  </a:lnTo>
                  <a:lnTo>
                    <a:pt x="5953" y="18705"/>
                  </a:lnTo>
                  <a:lnTo>
                    <a:pt x="6123" y="18482"/>
                  </a:lnTo>
                  <a:lnTo>
                    <a:pt x="7654" y="18482"/>
                  </a:lnTo>
                  <a:lnTo>
                    <a:pt x="7654" y="18705"/>
                  </a:lnTo>
                  <a:lnTo>
                    <a:pt x="8504" y="18705"/>
                  </a:lnTo>
                  <a:lnTo>
                    <a:pt x="8504" y="18482"/>
                  </a:lnTo>
                  <a:lnTo>
                    <a:pt x="8844" y="18260"/>
                  </a:lnTo>
                  <a:lnTo>
                    <a:pt x="8844" y="18037"/>
                  </a:lnTo>
                  <a:lnTo>
                    <a:pt x="9524" y="17703"/>
                  </a:lnTo>
                  <a:lnTo>
                    <a:pt x="8504" y="17703"/>
                  </a:lnTo>
                  <a:lnTo>
                    <a:pt x="8504" y="17926"/>
                  </a:lnTo>
                  <a:lnTo>
                    <a:pt x="8334" y="17926"/>
                  </a:lnTo>
                  <a:lnTo>
                    <a:pt x="8334" y="18037"/>
                  </a:lnTo>
                  <a:lnTo>
                    <a:pt x="6803" y="18037"/>
                  </a:lnTo>
                  <a:lnTo>
                    <a:pt x="6803" y="17703"/>
                  </a:lnTo>
                  <a:lnTo>
                    <a:pt x="5272" y="17703"/>
                  </a:lnTo>
                  <a:lnTo>
                    <a:pt x="5272" y="17258"/>
                  </a:lnTo>
                  <a:lnTo>
                    <a:pt x="4932" y="17258"/>
                  </a:lnTo>
                  <a:lnTo>
                    <a:pt x="4762" y="17146"/>
                  </a:lnTo>
                  <a:lnTo>
                    <a:pt x="4422" y="17258"/>
                  </a:lnTo>
                  <a:lnTo>
                    <a:pt x="3742" y="17480"/>
                  </a:lnTo>
                  <a:lnTo>
                    <a:pt x="3572" y="17480"/>
                  </a:lnTo>
                  <a:lnTo>
                    <a:pt x="3572" y="17703"/>
                  </a:lnTo>
                  <a:lnTo>
                    <a:pt x="2891" y="17703"/>
                  </a:lnTo>
                  <a:lnTo>
                    <a:pt x="2891" y="17480"/>
                  </a:lnTo>
                  <a:lnTo>
                    <a:pt x="3231" y="17480"/>
                  </a:lnTo>
                  <a:lnTo>
                    <a:pt x="3572" y="17258"/>
                  </a:lnTo>
                  <a:lnTo>
                    <a:pt x="2891" y="17258"/>
                  </a:lnTo>
                  <a:lnTo>
                    <a:pt x="2891" y="17146"/>
                  </a:lnTo>
                  <a:lnTo>
                    <a:pt x="2381" y="17146"/>
                  </a:lnTo>
                  <a:lnTo>
                    <a:pt x="2381" y="16924"/>
                  </a:lnTo>
                  <a:lnTo>
                    <a:pt x="2551" y="16924"/>
                  </a:lnTo>
                  <a:lnTo>
                    <a:pt x="2891" y="16701"/>
                  </a:lnTo>
                  <a:lnTo>
                    <a:pt x="3572" y="16701"/>
                  </a:lnTo>
                  <a:lnTo>
                    <a:pt x="3742" y="16478"/>
                  </a:lnTo>
                  <a:lnTo>
                    <a:pt x="4082" y="16478"/>
                  </a:lnTo>
                  <a:lnTo>
                    <a:pt x="4082" y="16367"/>
                  </a:lnTo>
                  <a:lnTo>
                    <a:pt x="4932" y="16367"/>
                  </a:lnTo>
                  <a:lnTo>
                    <a:pt x="4932" y="16144"/>
                  </a:lnTo>
                  <a:lnTo>
                    <a:pt x="5272" y="16144"/>
                  </a:lnTo>
                  <a:lnTo>
                    <a:pt x="5613" y="15922"/>
                  </a:lnTo>
                  <a:lnTo>
                    <a:pt x="5613" y="15699"/>
                  </a:lnTo>
                  <a:lnTo>
                    <a:pt x="5953" y="15699"/>
                  </a:lnTo>
                  <a:lnTo>
                    <a:pt x="5953" y="15365"/>
                  </a:lnTo>
                  <a:lnTo>
                    <a:pt x="5613" y="15365"/>
                  </a:lnTo>
                  <a:lnTo>
                    <a:pt x="5613" y="14363"/>
                  </a:lnTo>
                  <a:lnTo>
                    <a:pt x="5272" y="14363"/>
                  </a:lnTo>
                  <a:lnTo>
                    <a:pt x="5272" y="14586"/>
                  </a:lnTo>
                  <a:lnTo>
                    <a:pt x="4762" y="14586"/>
                  </a:lnTo>
                  <a:lnTo>
                    <a:pt x="4422" y="14808"/>
                  </a:lnTo>
                  <a:lnTo>
                    <a:pt x="3742" y="14808"/>
                  </a:lnTo>
                  <a:lnTo>
                    <a:pt x="3742" y="14586"/>
                  </a:lnTo>
                  <a:lnTo>
                    <a:pt x="4422" y="14586"/>
                  </a:lnTo>
                  <a:lnTo>
                    <a:pt x="4932" y="14140"/>
                  </a:lnTo>
                  <a:lnTo>
                    <a:pt x="4932" y="14029"/>
                  </a:lnTo>
                  <a:lnTo>
                    <a:pt x="5272" y="14029"/>
                  </a:lnTo>
                  <a:lnTo>
                    <a:pt x="5272" y="13806"/>
                  </a:lnTo>
                  <a:lnTo>
                    <a:pt x="5953" y="13806"/>
                  </a:lnTo>
                  <a:lnTo>
                    <a:pt x="5953" y="13584"/>
                  </a:lnTo>
                  <a:lnTo>
                    <a:pt x="8334" y="13584"/>
                  </a:lnTo>
                  <a:lnTo>
                    <a:pt x="7994" y="13361"/>
                  </a:lnTo>
                  <a:lnTo>
                    <a:pt x="8334" y="13361"/>
                  </a:lnTo>
                  <a:lnTo>
                    <a:pt x="8504" y="13584"/>
                  </a:lnTo>
                  <a:lnTo>
                    <a:pt x="8844" y="13584"/>
                  </a:lnTo>
                  <a:lnTo>
                    <a:pt x="8844" y="13361"/>
                  </a:lnTo>
                  <a:lnTo>
                    <a:pt x="8334" y="13361"/>
                  </a:lnTo>
                  <a:lnTo>
                    <a:pt x="8334" y="12804"/>
                  </a:lnTo>
                  <a:lnTo>
                    <a:pt x="8504" y="12581"/>
                  </a:lnTo>
                  <a:lnTo>
                    <a:pt x="8504" y="12470"/>
                  </a:lnTo>
                  <a:lnTo>
                    <a:pt x="8334" y="12247"/>
                  </a:lnTo>
                  <a:lnTo>
                    <a:pt x="8334" y="12025"/>
                  </a:lnTo>
                  <a:lnTo>
                    <a:pt x="8504" y="12025"/>
                  </a:lnTo>
                  <a:lnTo>
                    <a:pt x="8504" y="11691"/>
                  </a:lnTo>
                  <a:lnTo>
                    <a:pt x="8844" y="11468"/>
                  </a:lnTo>
                  <a:lnTo>
                    <a:pt x="8844" y="11245"/>
                  </a:lnTo>
                  <a:lnTo>
                    <a:pt x="8504" y="11245"/>
                  </a:lnTo>
                  <a:lnTo>
                    <a:pt x="8504" y="11468"/>
                  </a:lnTo>
                  <a:lnTo>
                    <a:pt x="8334" y="11468"/>
                  </a:lnTo>
                  <a:lnTo>
                    <a:pt x="8334" y="11802"/>
                  </a:lnTo>
                  <a:lnTo>
                    <a:pt x="7994" y="11802"/>
                  </a:lnTo>
                  <a:lnTo>
                    <a:pt x="7994" y="11468"/>
                  </a:lnTo>
                  <a:lnTo>
                    <a:pt x="7654" y="11468"/>
                  </a:lnTo>
                  <a:lnTo>
                    <a:pt x="7654" y="11245"/>
                  </a:lnTo>
                  <a:lnTo>
                    <a:pt x="7313" y="11023"/>
                  </a:lnTo>
                  <a:lnTo>
                    <a:pt x="7313" y="10911"/>
                  </a:lnTo>
                  <a:lnTo>
                    <a:pt x="6803" y="10911"/>
                  </a:lnTo>
                  <a:lnTo>
                    <a:pt x="6803" y="10466"/>
                  </a:lnTo>
                  <a:lnTo>
                    <a:pt x="7143" y="10355"/>
                  </a:lnTo>
                  <a:lnTo>
                    <a:pt x="7143" y="10132"/>
                  </a:lnTo>
                  <a:lnTo>
                    <a:pt x="7654" y="9687"/>
                  </a:lnTo>
                  <a:lnTo>
                    <a:pt x="7654" y="9575"/>
                  </a:lnTo>
                  <a:lnTo>
                    <a:pt x="6803" y="9575"/>
                  </a:lnTo>
                  <a:lnTo>
                    <a:pt x="6803" y="9687"/>
                  </a:lnTo>
                  <a:lnTo>
                    <a:pt x="6463" y="9687"/>
                  </a:lnTo>
                  <a:lnTo>
                    <a:pt x="6463" y="9909"/>
                  </a:lnTo>
                  <a:lnTo>
                    <a:pt x="6123" y="9909"/>
                  </a:lnTo>
                  <a:lnTo>
                    <a:pt x="6123" y="10132"/>
                  </a:lnTo>
                  <a:lnTo>
                    <a:pt x="5953" y="10132"/>
                  </a:lnTo>
                  <a:lnTo>
                    <a:pt x="5953" y="9909"/>
                  </a:lnTo>
                  <a:lnTo>
                    <a:pt x="5613" y="9909"/>
                  </a:lnTo>
                  <a:lnTo>
                    <a:pt x="5613" y="10132"/>
                  </a:lnTo>
                  <a:lnTo>
                    <a:pt x="5272" y="9909"/>
                  </a:lnTo>
                  <a:lnTo>
                    <a:pt x="5272" y="9687"/>
                  </a:lnTo>
                  <a:lnTo>
                    <a:pt x="4762" y="9687"/>
                  </a:lnTo>
                  <a:lnTo>
                    <a:pt x="4762" y="9909"/>
                  </a:lnTo>
                  <a:lnTo>
                    <a:pt x="4932" y="9909"/>
                  </a:lnTo>
                  <a:lnTo>
                    <a:pt x="4932" y="10132"/>
                  </a:lnTo>
                  <a:lnTo>
                    <a:pt x="4762" y="10132"/>
                  </a:lnTo>
                  <a:lnTo>
                    <a:pt x="4762" y="10355"/>
                  </a:lnTo>
                  <a:lnTo>
                    <a:pt x="4422" y="10355"/>
                  </a:lnTo>
                  <a:lnTo>
                    <a:pt x="4422" y="10132"/>
                  </a:lnTo>
                  <a:lnTo>
                    <a:pt x="4082" y="10132"/>
                  </a:lnTo>
                  <a:lnTo>
                    <a:pt x="4082" y="9909"/>
                  </a:lnTo>
                  <a:lnTo>
                    <a:pt x="2891" y="9909"/>
                  </a:lnTo>
                  <a:lnTo>
                    <a:pt x="2891" y="9687"/>
                  </a:lnTo>
                  <a:lnTo>
                    <a:pt x="2551" y="9687"/>
                  </a:lnTo>
                  <a:lnTo>
                    <a:pt x="2551" y="9575"/>
                  </a:lnTo>
                  <a:lnTo>
                    <a:pt x="3231" y="9575"/>
                  </a:lnTo>
                  <a:lnTo>
                    <a:pt x="3231" y="8907"/>
                  </a:lnTo>
                  <a:lnTo>
                    <a:pt x="3572" y="8796"/>
                  </a:lnTo>
                  <a:lnTo>
                    <a:pt x="3742" y="8796"/>
                  </a:lnTo>
                  <a:lnTo>
                    <a:pt x="3742" y="8573"/>
                  </a:lnTo>
                  <a:lnTo>
                    <a:pt x="4082" y="8573"/>
                  </a:lnTo>
                  <a:lnTo>
                    <a:pt x="4082" y="8016"/>
                  </a:lnTo>
                  <a:lnTo>
                    <a:pt x="3742" y="8016"/>
                  </a:lnTo>
                  <a:lnTo>
                    <a:pt x="3742" y="7794"/>
                  </a:lnTo>
                  <a:lnTo>
                    <a:pt x="3572" y="7794"/>
                  </a:lnTo>
                  <a:lnTo>
                    <a:pt x="3572" y="7237"/>
                  </a:lnTo>
                  <a:lnTo>
                    <a:pt x="3231" y="7237"/>
                  </a:lnTo>
                  <a:lnTo>
                    <a:pt x="3231" y="7348"/>
                  </a:lnTo>
                  <a:lnTo>
                    <a:pt x="2891" y="7348"/>
                  </a:lnTo>
                  <a:lnTo>
                    <a:pt x="2891" y="7237"/>
                  </a:lnTo>
                  <a:lnTo>
                    <a:pt x="2551" y="7237"/>
                  </a:lnTo>
                  <a:lnTo>
                    <a:pt x="2551" y="7348"/>
                  </a:lnTo>
                  <a:lnTo>
                    <a:pt x="2381" y="7348"/>
                  </a:lnTo>
                  <a:lnTo>
                    <a:pt x="2381" y="6792"/>
                  </a:lnTo>
                  <a:lnTo>
                    <a:pt x="2041" y="6792"/>
                  </a:lnTo>
                  <a:lnTo>
                    <a:pt x="2041" y="7237"/>
                  </a:lnTo>
                  <a:lnTo>
                    <a:pt x="2381" y="7348"/>
                  </a:lnTo>
                  <a:lnTo>
                    <a:pt x="2381" y="7571"/>
                  </a:lnTo>
                  <a:lnTo>
                    <a:pt x="2041" y="7571"/>
                  </a:lnTo>
                  <a:lnTo>
                    <a:pt x="1701" y="7794"/>
                  </a:lnTo>
                  <a:lnTo>
                    <a:pt x="1701" y="8796"/>
                  </a:lnTo>
                  <a:lnTo>
                    <a:pt x="1361" y="8796"/>
                  </a:lnTo>
                  <a:lnTo>
                    <a:pt x="1361" y="8573"/>
                  </a:lnTo>
                  <a:lnTo>
                    <a:pt x="850" y="8573"/>
                  </a:lnTo>
                  <a:lnTo>
                    <a:pt x="850" y="8351"/>
                  </a:lnTo>
                  <a:lnTo>
                    <a:pt x="1191" y="8351"/>
                  </a:lnTo>
                  <a:lnTo>
                    <a:pt x="1191" y="8016"/>
                  </a:lnTo>
                  <a:lnTo>
                    <a:pt x="1361" y="7794"/>
                  </a:lnTo>
                  <a:lnTo>
                    <a:pt x="1361" y="7571"/>
                  </a:lnTo>
                  <a:lnTo>
                    <a:pt x="1701" y="7571"/>
                  </a:lnTo>
                  <a:lnTo>
                    <a:pt x="1701" y="7348"/>
                  </a:lnTo>
                  <a:lnTo>
                    <a:pt x="1361" y="7348"/>
                  </a:lnTo>
                  <a:lnTo>
                    <a:pt x="1361" y="7237"/>
                  </a:lnTo>
                  <a:lnTo>
                    <a:pt x="1191" y="7237"/>
                  </a:lnTo>
                  <a:lnTo>
                    <a:pt x="1191" y="7014"/>
                  </a:lnTo>
                  <a:lnTo>
                    <a:pt x="1361" y="7014"/>
                  </a:lnTo>
                  <a:lnTo>
                    <a:pt x="1361" y="6792"/>
                  </a:lnTo>
                  <a:lnTo>
                    <a:pt x="1701" y="6569"/>
                  </a:lnTo>
                  <a:lnTo>
                    <a:pt x="1701" y="5790"/>
                  </a:lnTo>
                  <a:lnTo>
                    <a:pt x="2041" y="5678"/>
                  </a:lnTo>
                  <a:lnTo>
                    <a:pt x="2041" y="5456"/>
                  </a:lnTo>
                  <a:lnTo>
                    <a:pt x="2381" y="5456"/>
                  </a:lnTo>
                  <a:lnTo>
                    <a:pt x="2551" y="5233"/>
                  </a:lnTo>
                  <a:lnTo>
                    <a:pt x="2551" y="5010"/>
                  </a:lnTo>
                  <a:lnTo>
                    <a:pt x="2891" y="4899"/>
                  </a:lnTo>
                  <a:lnTo>
                    <a:pt x="2551" y="4899"/>
                  </a:lnTo>
                  <a:lnTo>
                    <a:pt x="2551" y="5010"/>
                  </a:lnTo>
                  <a:lnTo>
                    <a:pt x="2381" y="5233"/>
                  </a:lnTo>
                  <a:lnTo>
                    <a:pt x="2041" y="5233"/>
                  </a:lnTo>
                  <a:lnTo>
                    <a:pt x="2041" y="5456"/>
                  </a:lnTo>
                  <a:lnTo>
                    <a:pt x="1701" y="5456"/>
                  </a:lnTo>
                  <a:lnTo>
                    <a:pt x="1701" y="5678"/>
                  </a:lnTo>
                  <a:lnTo>
                    <a:pt x="850" y="5678"/>
                  </a:lnTo>
                  <a:lnTo>
                    <a:pt x="510" y="5456"/>
                  </a:lnTo>
                  <a:lnTo>
                    <a:pt x="510" y="5233"/>
                  </a:lnTo>
                  <a:lnTo>
                    <a:pt x="0" y="5233"/>
                  </a:lnTo>
                  <a:lnTo>
                    <a:pt x="0" y="5010"/>
                  </a:lnTo>
                  <a:lnTo>
                    <a:pt x="850" y="5010"/>
                  </a:lnTo>
                  <a:lnTo>
                    <a:pt x="850" y="4676"/>
                  </a:lnTo>
                  <a:lnTo>
                    <a:pt x="510" y="4676"/>
                  </a:lnTo>
                  <a:lnTo>
                    <a:pt x="510" y="4454"/>
                  </a:lnTo>
                  <a:lnTo>
                    <a:pt x="1191" y="4454"/>
                  </a:lnTo>
                  <a:lnTo>
                    <a:pt x="850" y="4231"/>
                  </a:lnTo>
                  <a:lnTo>
                    <a:pt x="1191" y="4231"/>
                  </a:lnTo>
                  <a:lnTo>
                    <a:pt x="1191" y="4120"/>
                  </a:lnTo>
                  <a:lnTo>
                    <a:pt x="1361" y="4120"/>
                  </a:lnTo>
                  <a:lnTo>
                    <a:pt x="1191" y="3897"/>
                  </a:lnTo>
                  <a:lnTo>
                    <a:pt x="1191" y="3674"/>
                  </a:lnTo>
                  <a:lnTo>
                    <a:pt x="850" y="3674"/>
                  </a:lnTo>
                  <a:lnTo>
                    <a:pt x="850" y="3452"/>
                  </a:lnTo>
                  <a:lnTo>
                    <a:pt x="1361" y="3452"/>
                  </a:lnTo>
                  <a:lnTo>
                    <a:pt x="1361" y="3340"/>
                  </a:lnTo>
                  <a:lnTo>
                    <a:pt x="850" y="3340"/>
                  </a:lnTo>
                  <a:lnTo>
                    <a:pt x="850" y="2895"/>
                  </a:lnTo>
                  <a:lnTo>
                    <a:pt x="1191" y="2895"/>
                  </a:lnTo>
                  <a:lnTo>
                    <a:pt x="1191" y="3118"/>
                  </a:lnTo>
                  <a:lnTo>
                    <a:pt x="1701" y="3118"/>
                  </a:lnTo>
                  <a:lnTo>
                    <a:pt x="1191" y="2672"/>
                  </a:lnTo>
                  <a:lnTo>
                    <a:pt x="850" y="2672"/>
                  </a:lnTo>
                  <a:lnTo>
                    <a:pt x="850" y="2115"/>
                  </a:lnTo>
                  <a:lnTo>
                    <a:pt x="2041" y="2115"/>
                  </a:lnTo>
                  <a:lnTo>
                    <a:pt x="2041" y="1781"/>
                  </a:lnTo>
                  <a:lnTo>
                    <a:pt x="1701" y="1781"/>
                  </a:lnTo>
                  <a:lnTo>
                    <a:pt x="1701" y="1559"/>
                  </a:lnTo>
                  <a:lnTo>
                    <a:pt x="2381" y="1559"/>
                  </a:lnTo>
                  <a:lnTo>
                    <a:pt x="2381" y="1336"/>
                  </a:lnTo>
                  <a:lnTo>
                    <a:pt x="2041" y="1336"/>
                  </a:lnTo>
                  <a:lnTo>
                    <a:pt x="2041" y="1113"/>
                  </a:lnTo>
                  <a:lnTo>
                    <a:pt x="2891" y="1113"/>
                  </a:lnTo>
                  <a:lnTo>
                    <a:pt x="2891" y="1002"/>
                  </a:lnTo>
                  <a:lnTo>
                    <a:pt x="2551" y="1002"/>
                  </a:lnTo>
                  <a:lnTo>
                    <a:pt x="2551" y="779"/>
                  </a:lnTo>
                  <a:lnTo>
                    <a:pt x="2891" y="779"/>
                  </a:lnTo>
                  <a:lnTo>
                    <a:pt x="2891" y="557"/>
                  </a:lnTo>
                  <a:lnTo>
                    <a:pt x="2551" y="557"/>
                  </a:lnTo>
                  <a:lnTo>
                    <a:pt x="2551" y="334"/>
                  </a:lnTo>
                  <a:lnTo>
                    <a:pt x="2891" y="334"/>
                  </a:lnTo>
                  <a:lnTo>
                    <a:pt x="2891" y="223"/>
                  </a:lnTo>
                  <a:lnTo>
                    <a:pt x="3231" y="223"/>
                  </a:lnTo>
                  <a:lnTo>
                    <a:pt x="3231" y="334"/>
                  </a:lnTo>
                  <a:lnTo>
                    <a:pt x="3572" y="334"/>
                  </a:lnTo>
                  <a:lnTo>
                    <a:pt x="3572" y="223"/>
                  </a:lnTo>
                  <a:lnTo>
                    <a:pt x="3742" y="223"/>
                  </a:lnTo>
                  <a:lnTo>
                    <a:pt x="3742" y="557"/>
                  </a:lnTo>
                  <a:lnTo>
                    <a:pt x="4082" y="557"/>
                  </a:lnTo>
                  <a:lnTo>
                    <a:pt x="4082" y="334"/>
                  </a:lnTo>
                  <a:lnTo>
                    <a:pt x="4762" y="334"/>
                  </a:lnTo>
                  <a:lnTo>
                    <a:pt x="4762" y="557"/>
                  </a:lnTo>
                  <a:lnTo>
                    <a:pt x="4932" y="557"/>
                  </a:lnTo>
                  <a:lnTo>
                    <a:pt x="4932" y="334"/>
                  </a:lnTo>
                  <a:lnTo>
                    <a:pt x="6463" y="334"/>
                  </a:lnTo>
                  <a:lnTo>
                    <a:pt x="6803" y="223"/>
                  </a:lnTo>
                  <a:lnTo>
                    <a:pt x="7313" y="223"/>
                  </a:lnTo>
                  <a:lnTo>
                    <a:pt x="7313" y="0"/>
                  </a:lnTo>
                  <a:close/>
                  <a:moveTo>
                    <a:pt x="7313" y="0"/>
                  </a:moveTo>
                </a:path>
              </a:pathLst>
            </a:custGeom>
            <a:solidFill>
              <a:srgbClr val="00BACF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60" name="AutoShape 12"/>
            <p:cNvSpPr>
              <a:spLocks/>
            </p:cNvSpPr>
            <p:nvPr/>
          </p:nvSpPr>
          <p:spPr bwMode="auto">
            <a:xfrm>
              <a:off x="8220399" y="3823958"/>
              <a:ext cx="1522684" cy="805859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7103" y="19098"/>
                  </a:moveTo>
                  <a:lnTo>
                    <a:pt x="17251" y="19098"/>
                  </a:lnTo>
                  <a:lnTo>
                    <a:pt x="17251" y="19361"/>
                  </a:lnTo>
                  <a:lnTo>
                    <a:pt x="17103" y="19361"/>
                  </a:lnTo>
                  <a:lnTo>
                    <a:pt x="17103" y="19098"/>
                  </a:lnTo>
                  <a:close/>
                  <a:moveTo>
                    <a:pt x="15702" y="19098"/>
                  </a:moveTo>
                  <a:lnTo>
                    <a:pt x="15850" y="19098"/>
                  </a:lnTo>
                  <a:lnTo>
                    <a:pt x="15850" y="19361"/>
                  </a:lnTo>
                  <a:lnTo>
                    <a:pt x="15702" y="19361"/>
                  </a:lnTo>
                  <a:lnTo>
                    <a:pt x="15702" y="19098"/>
                  </a:lnTo>
                  <a:close/>
                  <a:moveTo>
                    <a:pt x="15555" y="18834"/>
                  </a:moveTo>
                  <a:lnTo>
                    <a:pt x="15702" y="18834"/>
                  </a:lnTo>
                  <a:lnTo>
                    <a:pt x="15702" y="19098"/>
                  </a:lnTo>
                  <a:lnTo>
                    <a:pt x="15555" y="19098"/>
                  </a:lnTo>
                  <a:lnTo>
                    <a:pt x="15555" y="18834"/>
                  </a:lnTo>
                  <a:close/>
                  <a:moveTo>
                    <a:pt x="15186" y="17780"/>
                  </a:moveTo>
                  <a:lnTo>
                    <a:pt x="15408" y="18176"/>
                  </a:lnTo>
                  <a:lnTo>
                    <a:pt x="15555" y="18702"/>
                  </a:lnTo>
                  <a:lnTo>
                    <a:pt x="15555" y="18834"/>
                  </a:lnTo>
                  <a:lnTo>
                    <a:pt x="15408" y="18702"/>
                  </a:lnTo>
                  <a:lnTo>
                    <a:pt x="15408" y="18439"/>
                  </a:lnTo>
                  <a:lnTo>
                    <a:pt x="15186" y="18044"/>
                  </a:lnTo>
                  <a:lnTo>
                    <a:pt x="15186" y="17780"/>
                  </a:lnTo>
                  <a:close/>
                  <a:moveTo>
                    <a:pt x="15408" y="17122"/>
                  </a:moveTo>
                  <a:lnTo>
                    <a:pt x="15555" y="17122"/>
                  </a:lnTo>
                  <a:lnTo>
                    <a:pt x="15408" y="17254"/>
                  </a:lnTo>
                  <a:lnTo>
                    <a:pt x="15408" y="17122"/>
                  </a:lnTo>
                  <a:close/>
                  <a:moveTo>
                    <a:pt x="15555" y="16859"/>
                  </a:moveTo>
                  <a:lnTo>
                    <a:pt x="15702" y="16859"/>
                  </a:lnTo>
                  <a:lnTo>
                    <a:pt x="15555" y="17122"/>
                  </a:lnTo>
                  <a:lnTo>
                    <a:pt x="15555" y="16859"/>
                  </a:lnTo>
                  <a:close/>
                  <a:moveTo>
                    <a:pt x="11205" y="16595"/>
                  </a:moveTo>
                  <a:lnTo>
                    <a:pt x="11279" y="16595"/>
                  </a:lnTo>
                  <a:lnTo>
                    <a:pt x="11279" y="16859"/>
                  </a:lnTo>
                  <a:lnTo>
                    <a:pt x="11205" y="16859"/>
                  </a:lnTo>
                  <a:lnTo>
                    <a:pt x="11205" y="16595"/>
                  </a:lnTo>
                  <a:close/>
                  <a:moveTo>
                    <a:pt x="8330" y="16200"/>
                  </a:moveTo>
                  <a:lnTo>
                    <a:pt x="8478" y="16200"/>
                  </a:lnTo>
                  <a:lnTo>
                    <a:pt x="8478" y="16332"/>
                  </a:lnTo>
                  <a:lnTo>
                    <a:pt x="8330" y="16332"/>
                  </a:lnTo>
                  <a:lnTo>
                    <a:pt x="8330" y="16595"/>
                  </a:lnTo>
                  <a:lnTo>
                    <a:pt x="8478" y="16859"/>
                  </a:lnTo>
                  <a:lnTo>
                    <a:pt x="8478" y="16595"/>
                  </a:lnTo>
                  <a:lnTo>
                    <a:pt x="8625" y="16595"/>
                  </a:lnTo>
                  <a:lnTo>
                    <a:pt x="8625" y="16332"/>
                  </a:lnTo>
                  <a:lnTo>
                    <a:pt x="8846" y="16332"/>
                  </a:lnTo>
                  <a:lnTo>
                    <a:pt x="8846" y="16595"/>
                  </a:lnTo>
                  <a:lnTo>
                    <a:pt x="8994" y="16595"/>
                  </a:lnTo>
                  <a:lnTo>
                    <a:pt x="8994" y="16859"/>
                  </a:lnTo>
                  <a:lnTo>
                    <a:pt x="9141" y="16859"/>
                  </a:lnTo>
                  <a:lnTo>
                    <a:pt x="9141" y="16595"/>
                  </a:lnTo>
                  <a:lnTo>
                    <a:pt x="9362" y="16595"/>
                  </a:lnTo>
                  <a:lnTo>
                    <a:pt x="9362" y="16859"/>
                  </a:lnTo>
                  <a:lnTo>
                    <a:pt x="9510" y="16859"/>
                  </a:lnTo>
                  <a:lnTo>
                    <a:pt x="9510" y="16595"/>
                  </a:lnTo>
                  <a:lnTo>
                    <a:pt x="9731" y="17122"/>
                  </a:lnTo>
                  <a:lnTo>
                    <a:pt x="9731" y="17254"/>
                  </a:lnTo>
                  <a:lnTo>
                    <a:pt x="9878" y="17254"/>
                  </a:lnTo>
                  <a:lnTo>
                    <a:pt x="9878" y="17517"/>
                  </a:lnTo>
                  <a:lnTo>
                    <a:pt x="9731" y="17517"/>
                  </a:lnTo>
                  <a:lnTo>
                    <a:pt x="9731" y="18044"/>
                  </a:lnTo>
                  <a:lnTo>
                    <a:pt x="9362" y="18044"/>
                  </a:lnTo>
                  <a:lnTo>
                    <a:pt x="9215" y="18176"/>
                  </a:lnTo>
                  <a:lnTo>
                    <a:pt x="9141" y="18176"/>
                  </a:lnTo>
                  <a:lnTo>
                    <a:pt x="8994" y="18439"/>
                  </a:lnTo>
                  <a:lnTo>
                    <a:pt x="8994" y="18702"/>
                  </a:lnTo>
                  <a:lnTo>
                    <a:pt x="9141" y="18834"/>
                  </a:lnTo>
                  <a:lnTo>
                    <a:pt x="9141" y="19098"/>
                  </a:lnTo>
                  <a:lnTo>
                    <a:pt x="8994" y="19361"/>
                  </a:lnTo>
                  <a:lnTo>
                    <a:pt x="8994" y="19098"/>
                  </a:lnTo>
                  <a:lnTo>
                    <a:pt x="8478" y="19098"/>
                  </a:lnTo>
                  <a:lnTo>
                    <a:pt x="8330" y="19361"/>
                  </a:lnTo>
                  <a:lnTo>
                    <a:pt x="8257" y="19361"/>
                  </a:lnTo>
                  <a:lnTo>
                    <a:pt x="8257" y="19624"/>
                  </a:lnTo>
                  <a:lnTo>
                    <a:pt x="8109" y="19361"/>
                  </a:lnTo>
                  <a:lnTo>
                    <a:pt x="7962" y="19361"/>
                  </a:lnTo>
                  <a:lnTo>
                    <a:pt x="7962" y="19624"/>
                  </a:lnTo>
                  <a:lnTo>
                    <a:pt x="7593" y="19624"/>
                  </a:lnTo>
                  <a:lnTo>
                    <a:pt x="7593" y="19361"/>
                  </a:lnTo>
                  <a:lnTo>
                    <a:pt x="7446" y="19361"/>
                  </a:lnTo>
                  <a:lnTo>
                    <a:pt x="7446" y="19098"/>
                  </a:lnTo>
                  <a:lnTo>
                    <a:pt x="7298" y="19098"/>
                  </a:lnTo>
                  <a:lnTo>
                    <a:pt x="7298" y="18834"/>
                  </a:lnTo>
                  <a:lnTo>
                    <a:pt x="7446" y="18834"/>
                  </a:lnTo>
                  <a:lnTo>
                    <a:pt x="7446" y="18702"/>
                  </a:lnTo>
                  <a:lnTo>
                    <a:pt x="7593" y="18702"/>
                  </a:lnTo>
                  <a:lnTo>
                    <a:pt x="7593" y="18439"/>
                  </a:lnTo>
                  <a:lnTo>
                    <a:pt x="7741" y="18439"/>
                  </a:lnTo>
                  <a:lnTo>
                    <a:pt x="7741" y="18176"/>
                  </a:lnTo>
                  <a:lnTo>
                    <a:pt x="7814" y="18176"/>
                  </a:lnTo>
                  <a:lnTo>
                    <a:pt x="7814" y="18044"/>
                  </a:lnTo>
                  <a:lnTo>
                    <a:pt x="7962" y="18044"/>
                  </a:lnTo>
                  <a:lnTo>
                    <a:pt x="8109" y="17780"/>
                  </a:lnTo>
                  <a:lnTo>
                    <a:pt x="8109" y="17254"/>
                  </a:lnTo>
                  <a:lnTo>
                    <a:pt x="8257" y="17254"/>
                  </a:lnTo>
                  <a:lnTo>
                    <a:pt x="8257" y="16595"/>
                  </a:lnTo>
                  <a:lnTo>
                    <a:pt x="8109" y="16595"/>
                  </a:lnTo>
                  <a:lnTo>
                    <a:pt x="8109" y="16332"/>
                  </a:lnTo>
                  <a:lnTo>
                    <a:pt x="8257" y="16332"/>
                  </a:lnTo>
                  <a:lnTo>
                    <a:pt x="8330" y="16200"/>
                  </a:lnTo>
                  <a:close/>
                  <a:moveTo>
                    <a:pt x="11205" y="15937"/>
                  </a:moveTo>
                  <a:lnTo>
                    <a:pt x="11279" y="16200"/>
                  </a:lnTo>
                  <a:lnTo>
                    <a:pt x="11205" y="16200"/>
                  </a:lnTo>
                  <a:lnTo>
                    <a:pt x="11205" y="15937"/>
                  </a:lnTo>
                  <a:close/>
                  <a:moveTo>
                    <a:pt x="21084" y="9878"/>
                  </a:moveTo>
                  <a:lnTo>
                    <a:pt x="21379" y="9878"/>
                  </a:lnTo>
                  <a:lnTo>
                    <a:pt x="21379" y="10141"/>
                  </a:lnTo>
                  <a:lnTo>
                    <a:pt x="21231" y="10141"/>
                  </a:lnTo>
                  <a:lnTo>
                    <a:pt x="21084" y="9878"/>
                  </a:lnTo>
                  <a:close/>
                  <a:moveTo>
                    <a:pt x="13859" y="0"/>
                  </a:moveTo>
                  <a:lnTo>
                    <a:pt x="14007" y="0"/>
                  </a:lnTo>
                  <a:lnTo>
                    <a:pt x="14007" y="527"/>
                  </a:lnTo>
                  <a:lnTo>
                    <a:pt x="14154" y="527"/>
                  </a:lnTo>
                  <a:lnTo>
                    <a:pt x="14154" y="790"/>
                  </a:lnTo>
                  <a:lnTo>
                    <a:pt x="14302" y="790"/>
                  </a:lnTo>
                  <a:lnTo>
                    <a:pt x="14302" y="1449"/>
                  </a:lnTo>
                  <a:lnTo>
                    <a:pt x="14375" y="1449"/>
                  </a:lnTo>
                  <a:lnTo>
                    <a:pt x="14375" y="1712"/>
                  </a:lnTo>
                  <a:lnTo>
                    <a:pt x="14670" y="1712"/>
                  </a:lnTo>
                  <a:lnTo>
                    <a:pt x="14670" y="1844"/>
                  </a:lnTo>
                  <a:lnTo>
                    <a:pt x="14523" y="1844"/>
                  </a:lnTo>
                  <a:lnTo>
                    <a:pt x="14375" y="2107"/>
                  </a:lnTo>
                  <a:lnTo>
                    <a:pt x="14154" y="2107"/>
                  </a:lnTo>
                  <a:lnTo>
                    <a:pt x="14154" y="2371"/>
                  </a:lnTo>
                  <a:lnTo>
                    <a:pt x="14302" y="2371"/>
                  </a:lnTo>
                  <a:lnTo>
                    <a:pt x="14302" y="2634"/>
                  </a:lnTo>
                  <a:lnTo>
                    <a:pt x="14375" y="2634"/>
                  </a:lnTo>
                  <a:lnTo>
                    <a:pt x="14375" y="3029"/>
                  </a:lnTo>
                  <a:lnTo>
                    <a:pt x="14302" y="3029"/>
                  </a:lnTo>
                  <a:lnTo>
                    <a:pt x="14302" y="3556"/>
                  </a:lnTo>
                  <a:lnTo>
                    <a:pt x="14891" y="3556"/>
                  </a:lnTo>
                  <a:lnTo>
                    <a:pt x="14891" y="3688"/>
                  </a:lnTo>
                  <a:lnTo>
                    <a:pt x="15039" y="3688"/>
                  </a:lnTo>
                  <a:lnTo>
                    <a:pt x="15186" y="3556"/>
                  </a:lnTo>
                  <a:lnTo>
                    <a:pt x="15334" y="3556"/>
                  </a:lnTo>
                  <a:lnTo>
                    <a:pt x="15334" y="3293"/>
                  </a:lnTo>
                  <a:lnTo>
                    <a:pt x="15408" y="3293"/>
                  </a:lnTo>
                  <a:lnTo>
                    <a:pt x="15408" y="3688"/>
                  </a:lnTo>
                  <a:lnTo>
                    <a:pt x="15555" y="3688"/>
                  </a:lnTo>
                  <a:lnTo>
                    <a:pt x="15555" y="3951"/>
                  </a:lnTo>
                  <a:lnTo>
                    <a:pt x="15850" y="3951"/>
                  </a:lnTo>
                  <a:lnTo>
                    <a:pt x="15702" y="4215"/>
                  </a:lnTo>
                  <a:lnTo>
                    <a:pt x="15702" y="4873"/>
                  </a:lnTo>
                  <a:lnTo>
                    <a:pt x="15850" y="4873"/>
                  </a:lnTo>
                  <a:lnTo>
                    <a:pt x="15850" y="5532"/>
                  </a:lnTo>
                  <a:lnTo>
                    <a:pt x="15924" y="5532"/>
                  </a:lnTo>
                  <a:lnTo>
                    <a:pt x="15924" y="6059"/>
                  </a:lnTo>
                  <a:lnTo>
                    <a:pt x="16071" y="6059"/>
                  </a:lnTo>
                  <a:lnTo>
                    <a:pt x="16071" y="5795"/>
                  </a:lnTo>
                  <a:lnTo>
                    <a:pt x="16587" y="5795"/>
                  </a:lnTo>
                  <a:lnTo>
                    <a:pt x="16734" y="6059"/>
                  </a:lnTo>
                  <a:lnTo>
                    <a:pt x="17103" y="6059"/>
                  </a:lnTo>
                  <a:lnTo>
                    <a:pt x="17103" y="6190"/>
                  </a:lnTo>
                  <a:lnTo>
                    <a:pt x="17251" y="6190"/>
                  </a:lnTo>
                  <a:lnTo>
                    <a:pt x="17251" y="6059"/>
                  </a:lnTo>
                  <a:lnTo>
                    <a:pt x="17324" y="6059"/>
                  </a:lnTo>
                  <a:lnTo>
                    <a:pt x="17472" y="5795"/>
                  </a:lnTo>
                  <a:lnTo>
                    <a:pt x="17988" y="5795"/>
                  </a:lnTo>
                  <a:lnTo>
                    <a:pt x="17988" y="5532"/>
                  </a:lnTo>
                  <a:lnTo>
                    <a:pt x="18135" y="5532"/>
                  </a:lnTo>
                  <a:lnTo>
                    <a:pt x="18283" y="5795"/>
                  </a:lnTo>
                  <a:lnTo>
                    <a:pt x="18283" y="6059"/>
                  </a:lnTo>
                  <a:lnTo>
                    <a:pt x="18504" y="6059"/>
                  </a:lnTo>
                  <a:lnTo>
                    <a:pt x="18504" y="6190"/>
                  </a:lnTo>
                  <a:lnTo>
                    <a:pt x="18356" y="6190"/>
                  </a:lnTo>
                  <a:lnTo>
                    <a:pt x="18504" y="6454"/>
                  </a:lnTo>
                  <a:lnTo>
                    <a:pt x="18504" y="6717"/>
                  </a:lnTo>
                  <a:lnTo>
                    <a:pt x="18799" y="6717"/>
                  </a:lnTo>
                  <a:lnTo>
                    <a:pt x="18799" y="6980"/>
                  </a:lnTo>
                  <a:lnTo>
                    <a:pt x="18872" y="6980"/>
                  </a:lnTo>
                  <a:lnTo>
                    <a:pt x="18872" y="7112"/>
                  </a:lnTo>
                  <a:lnTo>
                    <a:pt x="19020" y="7112"/>
                  </a:lnTo>
                  <a:lnTo>
                    <a:pt x="19020" y="6980"/>
                  </a:lnTo>
                  <a:lnTo>
                    <a:pt x="19167" y="6980"/>
                  </a:lnTo>
                  <a:lnTo>
                    <a:pt x="19167" y="6717"/>
                  </a:lnTo>
                  <a:lnTo>
                    <a:pt x="19388" y="6717"/>
                  </a:lnTo>
                  <a:lnTo>
                    <a:pt x="19388" y="6980"/>
                  </a:lnTo>
                  <a:lnTo>
                    <a:pt x="19831" y="6980"/>
                  </a:lnTo>
                  <a:lnTo>
                    <a:pt x="19831" y="7112"/>
                  </a:lnTo>
                  <a:lnTo>
                    <a:pt x="20052" y="7112"/>
                  </a:lnTo>
                  <a:lnTo>
                    <a:pt x="20052" y="7376"/>
                  </a:lnTo>
                  <a:lnTo>
                    <a:pt x="20199" y="7376"/>
                  </a:lnTo>
                  <a:lnTo>
                    <a:pt x="20199" y="7112"/>
                  </a:lnTo>
                  <a:lnTo>
                    <a:pt x="20347" y="7112"/>
                  </a:lnTo>
                  <a:lnTo>
                    <a:pt x="20420" y="7376"/>
                  </a:lnTo>
                  <a:lnTo>
                    <a:pt x="20420" y="7639"/>
                  </a:lnTo>
                  <a:lnTo>
                    <a:pt x="20715" y="7639"/>
                  </a:lnTo>
                  <a:lnTo>
                    <a:pt x="20863" y="7902"/>
                  </a:lnTo>
                  <a:lnTo>
                    <a:pt x="20863" y="8034"/>
                  </a:lnTo>
                  <a:lnTo>
                    <a:pt x="21379" y="8034"/>
                  </a:lnTo>
                  <a:lnTo>
                    <a:pt x="21379" y="7639"/>
                  </a:lnTo>
                  <a:lnTo>
                    <a:pt x="21600" y="7639"/>
                  </a:lnTo>
                  <a:lnTo>
                    <a:pt x="21600" y="7902"/>
                  </a:lnTo>
                  <a:lnTo>
                    <a:pt x="21453" y="7902"/>
                  </a:lnTo>
                  <a:lnTo>
                    <a:pt x="21453" y="8298"/>
                  </a:lnTo>
                  <a:lnTo>
                    <a:pt x="21379" y="8298"/>
                  </a:lnTo>
                  <a:lnTo>
                    <a:pt x="21379" y="8956"/>
                  </a:lnTo>
                  <a:lnTo>
                    <a:pt x="21231" y="8956"/>
                  </a:lnTo>
                  <a:lnTo>
                    <a:pt x="21231" y="9220"/>
                  </a:lnTo>
                  <a:lnTo>
                    <a:pt x="21084" y="9220"/>
                  </a:lnTo>
                  <a:lnTo>
                    <a:pt x="21084" y="9483"/>
                  </a:lnTo>
                  <a:lnTo>
                    <a:pt x="20863" y="9483"/>
                  </a:lnTo>
                  <a:lnTo>
                    <a:pt x="20863" y="9746"/>
                  </a:lnTo>
                  <a:lnTo>
                    <a:pt x="20937" y="9746"/>
                  </a:lnTo>
                  <a:lnTo>
                    <a:pt x="20937" y="10141"/>
                  </a:lnTo>
                  <a:lnTo>
                    <a:pt x="20863" y="10405"/>
                  </a:lnTo>
                  <a:lnTo>
                    <a:pt x="20863" y="10668"/>
                  </a:lnTo>
                  <a:lnTo>
                    <a:pt x="20715" y="10668"/>
                  </a:lnTo>
                  <a:lnTo>
                    <a:pt x="20715" y="10800"/>
                  </a:lnTo>
                  <a:lnTo>
                    <a:pt x="21084" y="10800"/>
                  </a:lnTo>
                  <a:lnTo>
                    <a:pt x="21084" y="11590"/>
                  </a:lnTo>
                  <a:lnTo>
                    <a:pt x="21231" y="11590"/>
                  </a:lnTo>
                  <a:lnTo>
                    <a:pt x="21084" y="11722"/>
                  </a:lnTo>
                  <a:lnTo>
                    <a:pt x="21084" y="12249"/>
                  </a:lnTo>
                  <a:lnTo>
                    <a:pt x="20937" y="12249"/>
                  </a:lnTo>
                  <a:lnTo>
                    <a:pt x="20937" y="12644"/>
                  </a:lnTo>
                  <a:lnTo>
                    <a:pt x="20863" y="12644"/>
                  </a:lnTo>
                  <a:lnTo>
                    <a:pt x="20863" y="12907"/>
                  </a:lnTo>
                  <a:lnTo>
                    <a:pt x="20568" y="12907"/>
                  </a:lnTo>
                  <a:lnTo>
                    <a:pt x="20568" y="12644"/>
                  </a:lnTo>
                  <a:lnTo>
                    <a:pt x="19904" y="12644"/>
                  </a:lnTo>
                  <a:lnTo>
                    <a:pt x="19904" y="12907"/>
                  </a:lnTo>
                  <a:lnTo>
                    <a:pt x="19536" y="12907"/>
                  </a:lnTo>
                  <a:lnTo>
                    <a:pt x="19536" y="13171"/>
                  </a:lnTo>
                  <a:lnTo>
                    <a:pt x="19315" y="13171"/>
                  </a:lnTo>
                  <a:lnTo>
                    <a:pt x="19315" y="13434"/>
                  </a:lnTo>
                  <a:lnTo>
                    <a:pt x="19167" y="13434"/>
                  </a:lnTo>
                  <a:lnTo>
                    <a:pt x="19167" y="13829"/>
                  </a:lnTo>
                  <a:lnTo>
                    <a:pt x="19020" y="13829"/>
                  </a:lnTo>
                  <a:lnTo>
                    <a:pt x="19020" y="14093"/>
                  </a:lnTo>
                  <a:lnTo>
                    <a:pt x="19167" y="14093"/>
                  </a:lnTo>
                  <a:lnTo>
                    <a:pt x="19167" y="14356"/>
                  </a:lnTo>
                  <a:lnTo>
                    <a:pt x="19020" y="14356"/>
                  </a:lnTo>
                  <a:lnTo>
                    <a:pt x="19020" y="14751"/>
                  </a:lnTo>
                  <a:lnTo>
                    <a:pt x="18356" y="14751"/>
                  </a:lnTo>
                  <a:lnTo>
                    <a:pt x="18135" y="15278"/>
                  </a:lnTo>
                  <a:lnTo>
                    <a:pt x="17767" y="15278"/>
                  </a:lnTo>
                  <a:lnTo>
                    <a:pt x="17767" y="15410"/>
                  </a:lnTo>
                  <a:lnTo>
                    <a:pt x="17619" y="15410"/>
                  </a:lnTo>
                  <a:lnTo>
                    <a:pt x="17472" y="15673"/>
                  </a:lnTo>
                  <a:lnTo>
                    <a:pt x="17472" y="15937"/>
                  </a:lnTo>
                  <a:lnTo>
                    <a:pt x="17324" y="15937"/>
                  </a:lnTo>
                  <a:lnTo>
                    <a:pt x="17324" y="15410"/>
                  </a:lnTo>
                  <a:lnTo>
                    <a:pt x="17103" y="15410"/>
                  </a:lnTo>
                  <a:lnTo>
                    <a:pt x="17103" y="15673"/>
                  </a:lnTo>
                  <a:lnTo>
                    <a:pt x="16808" y="15673"/>
                  </a:lnTo>
                  <a:lnTo>
                    <a:pt x="16808" y="15937"/>
                  </a:lnTo>
                  <a:lnTo>
                    <a:pt x="16218" y="15937"/>
                  </a:lnTo>
                  <a:lnTo>
                    <a:pt x="16218" y="16200"/>
                  </a:lnTo>
                  <a:lnTo>
                    <a:pt x="16071" y="16200"/>
                  </a:lnTo>
                  <a:lnTo>
                    <a:pt x="15924" y="16332"/>
                  </a:lnTo>
                  <a:lnTo>
                    <a:pt x="15924" y="16595"/>
                  </a:lnTo>
                  <a:lnTo>
                    <a:pt x="15850" y="16595"/>
                  </a:lnTo>
                  <a:lnTo>
                    <a:pt x="15850" y="16859"/>
                  </a:lnTo>
                  <a:lnTo>
                    <a:pt x="15702" y="16859"/>
                  </a:lnTo>
                  <a:lnTo>
                    <a:pt x="15702" y="16332"/>
                  </a:lnTo>
                  <a:lnTo>
                    <a:pt x="15555" y="16332"/>
                  </a:lnTo>
                  <a:lnTo>
                    <a:pt x="15555" y="16859"/>
                  </a:lnTo>
                  <a:lnTo>
                    <a:pt x="15334" y="16859"/>
                  </a:lnTo>
                  <a:lnTo>
                    <a:pt x="15334" y="17122"/>
                  </a:lnTo>
                  <a:lnTo>
                    <a:pt x="15186" y="17122"/>
                  </a:lnTo>
                  <a:lnTo>
                    <a:pt x="15186" y="17780"/>
                  </a:lnTo>
                  <a:lnTo>
                    <a:pt x="15039" y="17517"/>
                  </a:lnTo>
                  <a:lnTo>
                    <a:pt x="15039" y="17254"/>
                  </a:lnTo>
                  <a:lnTo>
                    <a:pt x="14891" y="17254"/>
                  </a:lnTo>
                  <a:lnTo>
                    <a:pt x="14891" y="17517"/>
                  </a:lnTo>
                  <a:lnTo>
                    <a:pt x="14670" y="17517"/>
                  </a:lnTo>
                  <a:lnTo>
                    <a:pt x="14670" y="17122"/>
                  </a:lnTo>
                  <a:lnTo>
                    <a:pt x="14523" y="17122"/>
                  </a:lnTo>
                  <a:lnTo>
                    <a:pt x="14523" y="16859"/>
                  </a:lnTo>
                  <a:lnTo>
                    <a:pt x="14302" y="16859"/>
                  </a:lnTo>
                  <a:lnTo>
                    <a:pt x="14302" y="17122"/>
                  </a:lnTo>
                  <a:lnTo>
                    <a:pt x="14007" y="17122"/>
                  </a:lnTo>
                  <a:lnTo>
                    <a:pt x="14007" y="17254"/>
                  </a:lnTo>
                  <a:lnTo>
                    <a:pt x="14154" y="17254"/>
                  </a:lnTo>
                  <a:lnTo>
                    <a:pt x="14154" y="17517"/>
                  </a:lnTo>
                  <a:lnTo>
                    <a:pt x="14302" y="17517"/>
                  </a:lnTo>
                  <a:lnTo>
                    <a:pt x="14375" y="17780"/>
                  </a:lnTo>
                  <a:lnTo>
                    <a:pt x="14891" y="17780"/>
                  </a:lnTo>
                  <a:lnTo>
                    <a:pt x="14818" y="18044"/>
                  </a:lnTo>
                  <a:lnTo>
                    <a:pt x="15039" y="18044"/>
                  </a:lnTo>
                  <a:lnTo>
                    <a:pt x="15039" y="18176"/>
                  </a:lnTo>
                  <a:lnTo>
                    <a:pt x="15186" y="18176"/>
                  </a:lnTo>
                  <a:lnTo>
                    <a:pt x="15186" y="18439"/>
                  </a:lnTo>
                  <a:lnTo>
                    <a:pt x="15334" y="18439"/>
                  </a:lnTo>
                  <a:lnTo>
                    <a:pt x="15334" y="18702"/>
                  </a:lnTo>
                  <a:lnTo>
                    <a:pt x="15408" y="18702"/>
                  </a:lnTo>
                  <a:lnTo>
                    <a:pt x="15408" y="19098"/>
                  </a:lnTo>
                  <a:lnTo>
                    <a:pt x="15555" y="19361"/>
                  </a:lnTo>
                  <a:lnTo>
                    <a:pt x="15702" y="19361"/>
                  </a:lnTo>
                  <a:lnTo>
                    <a:pt x="15850" y="19624"/>
                  </a:lnTo>
                  <a:lnTo>
                    <a:pt x="15850" y="19361"/>
                  </a:lnTo>
                  <a:lnTo>
                    <a:pt x="16218" y="19361"/>
                  </a:lnTo>
                  <a:lnTo>
                    <a:pt x="16218" y="19098"/>
                  </a:lnTo>
                  <a:lnTo>
                    <a:pt x="16440" y="19098"/>
                  </a:lnTo>
                  <a:lnTo>
                    <a:pt x="16587" y="19361"/>
                  </a:lnTo>
                  <a:lnTo>
                    <a:pt x="17103" y="19361"/>
                  </a:lnTo>
                  <a:lnTo>
                    <a:pt x="17103" y="19624"/>
                  </a:lnTo>
                  <a:lnTo>
                    <a:pt x="16956" y="19624"/>
                  </a:lnTo>
                  <a:lnTo>
                    <a:pt x="16956" y="20020"/>
                  </a:lnTo>
                  <a:lnTo>
                    <a:pt x="16587" y="20020"/>
                  </a:lnTo>
                  <a:lnTo>
                    <a:pt x="16587" y="20283"/>
                  </a:lnTo>
                  <a:lnTo>
                    <a:pt x="16292" y="20283"/>
                  </a:lnTo>
                  <a:lnTo>
                    <a:pt x="16292" y="20020"/>
                  </a:lnTo>
                  <a:lnTo>
                    <a:pt x="16071" y="20020"/>
                  </a:lnTo>
                  <a:lnTo>
                    <a:pt x="16071" y="19756"/>
                  </a:lnTo>
                  <a:lnTo>
                    <a:pt x="15924" y="19756"/>
                  </a:lnTo>
                  <a:lnTo>
                    <a:pt x="15850" y="20020"/>
                  </a:lnTo>
                  <a:lnTo>
                    <a:pt x="15555" y="20283"/>
                  </a:lnTo>
                  <a:lnTo>
                    <a:pt x="15408" y="20283"/>
                  </a:lnTo>
                  <a:lnTo>
                    <a:pt x="15408" y="20546"/>
                  </a:lnTo>
                  <a:lnTo>
                    <a:pt x="15186" y="20546"/>
                  </a:lnTo>
                  <a:lnTo>
                    <a:pt x="15186" y="20678"/>
                  </a:lnTo>
                  <a:lnTo>
                    <a:pt x="14891" y="20678"/>
                  </a:lnTo>
                  <a:lnTo>
                    <a:pt x="14891" y="20941"/>
                  </a:lnTo>
                  <a:lnTo>
                    <a:pt x="14670" y="20941"/>
                  </a:lnTo>
                  <a:lnTo>
                    <a:pt x="14670" y="21205"/>
                  </a:lnTo>
                  <a:lnTo>
                    <a:pt x="14523" y="21205"/>
                  </a:lnTo>
                  <a:lnTo>
                    <a:pt x="14302" y="21468"/>
                  </a:lnTo>
                  <a:lnTo>
                    <a:pt x="14154" y="21468"/>
                  </a:lnTo>
                  <a:lnTo>
                    <a:pt x="14154" y="21600"/>
                  </a:lnTo>
                  <a:lnTo>
                    <a:pt x="13491" y="21600"/>
                  </a:lnTo>
                  <a:lnTo>
                    <a:pt x="13491" y="21468"/>
                  </a:lnTo>
                  <a:lnTo>
                    <a:pt x="13343" y="21468"/>
                  </a:lnTo>
                  <a:lnTo>
                    <a:pt x="13343" y="21205"/>
                  </a:lnTo>
                  <a:lnTo>
                    <a:pt x="13638" y="21205"/>
                  </a:lnTo>
                  <a:lnTo>
                    <a:pt x="13638" y="20020"/>
                  </a:lnTo>
                  <a:lnTo>
                    <a:pt x="13491" y="19756"/>
                  </a:lnTo>
                  <a:lnTo>
                    <a:pt x="13122" y="19756"/>
                  </a:lnTo>
                  <a:lnTo>
                    <a:pt x="12975" y="19624"/>
                  </a:lnTo>
                  <a:lnTo>
                    <a:pt x="12606" y="19624"/>
                  </a:lnTo>
                  <a:lnTo>
                    <a:pt x="12311" y="19098"/>
                  </a:lnTo>
                  <a:lnTo>
                    <a:pt x="12311" y="18834"/>
                  </a:lnTo>
                  <a:lnTo>
                    <a:pt x="12606" y="18834"/>
                  </a:lnTo>
                  <a:lnTo>
                    <a:pt x="12827" y="18439"/>
                  </a:lnTo>
                  <a:lnTo>
                    <a:pt x="12975" y="18439"/>
                  </a:lnTo>
                  <a:lnTo>
                    <a:pt x="13122" y="18176"/>
                  </a:lnTo>
                  <a:lnTo>
                    <a:pt x="13343" y="18176"/>
                  </a:lnTo>
                  <a:lnTo>
                    <a:pt x="13343" y="18044"/>
                  </a:lnTo>
                  <a:lnTo>
                    <a:pt x="13786" y="18044"/>
                  </a:lnTo>
                  <a:lnTo>
                    <a:pt x="13786" y="17517"/>
                  </a:lnTo>
                  <a:lnTo>
                    <a:pt x="13270" y="17517"/>
                  </a:lnTo>
                  <a:lnTo>
                    <a:pt x="13270" y="17122"/>
                  </a:lnTo>
                  <a:lnTo>
                    <a:pt x="12827" y="17122"/>
                  </a:lnTo>
                  <a:lnTo>
                    <a:pt x="12754" y="17254"/>
                  </a:lnTo>
                  <a:lnTo>
                    <a:pt x="11943" y="17254"/>
                  </a:lnTo>
                  <a:lnTo>
                    <a:pt x="11943" y="17122"/>
                  </a:lnTo>
                  <a:lnTo>
                    <a:pt x="11427" y="17122"/>
                  </a:lnTo>
                  <a:lnTo>
                    <a:pt x="11279" y="16859"/>
                  </a:lnTo>
                  <a:lnTo>
                    <a:pt x="11427" y="16859"/>
                  </a:lnTo>
                  <a:lnTo>
                    <a:pt x="11427" y="16595"/>
                  </a:lnTo>
                  <a:lnTo>
                    <a:pt x="11574" y="16595"/>
                  </a:lnTo>
                  <a:lnTo>
                    <a:pt x="11574" y="16332"/>
                  </a:lnTo>
                  <a:lnTo>
                    <a:pt x="11279" y="16332"/>
                  </a:lnTo>
                  <a:lnTo>
                    <a:pt x="11279" y="16200"/>
                  </a:lnTo>
                  <a:lnTo>
                    <a:pt x="11722" y="16200"/>
                  </a:lnTo>
                  <a:lnTo>
                    <a:pt x="11795" y="16332"/>
                  </a:lnTo>
                  <a:lnTo>
                    <a:pt x="12238" y="16332"/>
                  </a:lnTo>
                  <a:lnTo>
                    <a:pt x="12238" y="16200"/>
                  </a:lnTo>
                  <a:lnTo>
                    <a:pt x="12311" y="16200"/>
                  </a:lnTo>
                  <a:lnTo>
                    <a:pt x="12311" y="15937"/>
                  </a:lnTo>
                  <a:lnTo>
                    <a:pt x="12238" y="16200"/>
                  </a:lnTo>
                  <a:lnTo>
                    <a:pt x="11943" y="16200"/>
                  </a:lnTo>
                  <a:lnTo>
                    <a:pt x="11943" y="15937"/>
                  </a:lnTo>
                  <a:lnTo>
                    <a:pt x="11795" y="15937"/>
                  </a:lnTo>
                  <a:lnTo>
                    <a:pt x="11795" y="15673"/>
                  </a:lnTo>
                  <a:lnTo>
                    <a:pt x="11722" y="15673"/>
                  </a:lnTo>
                  <a:lnTo>
                    <a:pt x="11722" y="15937"/>
                  </a:lnTo>
                  <a:lnTo>
                    <a:pt x="11574" y="15937"/>
                  </a:lnTo>
                  <a:lnTo>
                    <a:pt x="11574" y="15673"/>
                  </a:lnTo>
                  <a:lnTo>
                    <a:pt x="11058" y="15673"/>
                  </a:lnTo>
                  <a:lnTo>
                    <a:pt x="11058" y="15937"/>
                  </a:lnTo>
                  <a:lnTo>
                    <a:pt x="10542" y="15937"/>
                  </a:lnTo>
                  <a:lnTo>
                    <a:pt x="10395" y="16200"/>
                  </a:lnTo>
                  <a:lnTo>
                    <a:pt x="10247" y="16200"/>
                  </a:lnTo>
                  <a:lnTo>
                    <a:pt x="10247" y="16332"/>
                  </a:lnTo>
                  <a:lnTo>
                    <a:pt x="10026" y="16332"/>
                  </a:lnTo>
                  <a:lnTo>
                    <a:pt x="10026" y="16859"/>
                  </a:lnTo>
                  <a:lnTo>
                    <a:pt x="9878" y="17122"/>
                  </a:lnTo>
                  <a:lnTo>
                    <a:pt x="9878" y="16859"/>
                  </a:lnTo>
                  <a:lnTo>
                    <a:pt x="9731" y="16859"/>
                  </a:lnTo>
                  <a:lnTo>
                    <a:pt x="9731" y="16595"/>
                  </a:lnTo>
                  <a:lnTo>
                    <a:pt x="9657" y="16595"/>
                  </a:lnTo>
                  <a:lnTo>
                    <a:pt x="9657" y="16332"/>
                  </a:lnTo>
                  <a:lnTo>
                    <a:pt x="9362" y="16332"/>
                  </a:lnTo>
                  <a:lnTo>
                    <a:pt x="9362" y="15410"/>
                  </a:lnTo>
                  <a:lnTo>
                    <a:pt x="9215" y="15410"/>
                  </a:lnTo>
                  <a:lnTo>
                    <a:pt x="9215" y="15278"/>
                  </a:lnTo>
                  <a:lnTo>
                    <a:pt x="9141" y="15278"/>
                  </a:lnTo>
                  <a:lnTo>
                    <a:pt x="8994" y="15015"/>
                  </a:lnTo>
                  <a:lnTo>
                    <a:pt x="8994" y="14751"/>
                  </a:lnTo>
                  <a:lnTo>
                    <a:pt x="8846" y="14751"/>
                  </a:lnTo>
                  <a:lnTo>
                    <a:pt x="8846" y="14356"/>
                  </a:lnTo>
                  <a:lnTo>
                    <a:pt x="8994" y="14093"/>
                  </a:lnTo>
                  <a:lnTo>
                    <a:pt x="8773" y="14093"/>
                  </a:lnTo>
                  <a:lnTo>
                    <a:pt x="8773" y="13829"/>
                  </a:lnTo>
                  <a:lnTo>
                    <a:pt x="8625" y="13829"/>
                  </a:lnTo>
                  <a:lnTo>
                    <a:pt x="8478" y="13566"/>
                  </a:lnTo>
                  <a:lnTo>
                    <a:pt x="8330" y="13566"/>
                  </a:lnTo>
                  <a:lnTo>
                    <a:pt x="8330" y="13434"/>
                  </a:lnTo>
                  <a:lnTo>
                    <a:pt x="8478" y="13434"/>
                  </a:lnTo>
                  <a:lnTo>
                    <a:pt x="8478" y="12249"/>
                  </a:lnTo>
                  <a:lnTo>
                    <a:pt x="8257" y="12249"/>
                  </a:lnTo>
                  <a:lnTo>
                    <a:pt x="8257" y="12512"/>
                  </a:lnTo>
                  <a:lnTo>
                    <a:pt x="8109" y="12512"/>
                  </a:lnTo>
                  <a:lnTo>
                    <a:pt x="8109" y="12249"/>
                  </a:lnTo>
                  <a:lnTo>
                    <a:pt x="7962" y="12249"/>
                  </a:lnTo>
                  <a:lnTo>
                    <a:pt x="7962" y="11985"/>
                  </a:lnTo>
                  <a:lnTo>
                    <a:pt x="7741" y="11985"/>
                  </a:lnTo>
                  <a:lnTo>
                    <a:pt x="7741" y="11722"/>
                  </a:lnTo>
                  <a:lnTo>
                    <a:pt x="7446" y="11722"/>
                  </a:lnTo>
                  <a:lnTo>
                    <a:pt x="7446" y="11590"/>
                  </a:lnTo>
                  <a:lnTo>
                    <a:pt x="7077" y="11590"/>
                  </a:lnTo>
                  <a:lnTo>
                    <a:pt x="7077" y="11327"/>
                  </a:lnTo>
                  <a:lnTo>
                    <a:pt x="6782" y="11327"/>
                  </a:lnTo>
                  <a:lnTo>
                    <a:pt x="6709" y="11063"/>
                  </a:lnTo>
                  <a:lnTo>
                    <a:pt x="6045" y="11063"/>
                  </a:lnTo>
                  <a:lnTo>
                    <a:pt x="6045" y="11327"/>
                  </a:lnTo>
                  <a:lnTo>
                    <a:pt x="5382" y="11327"/>
                  </a:lnTo>
                  <a:lnTo>
                    <a:pt x="5382" y="11590"/>
                  </a:lnTo>
                  <a:lnTo>
                    <a:pt x="5234" y="11590"/>
                  </a:lnTo>
                  <a:lnTo>
                    <a:pt x="5234" y="11722"/>
                  </a:lnTo>
                  <a:lnTo>
                    <a:pt x="5160" y="11722"/>
                  </a:lnTo>
                  <a:lnTo>
                    <a:pt x="5013" y="11985"/>
                  </a:lnTo>
                  <a:lnTo>
                    <a:pt x="4866" y="11985"/>
                  </a:lnTo>
                  <a:lnTo>
                    <a:pt x="4866" y="12249"/>
                  </a:lnTo>
                  <a:lnTo>
                    <a:pt x="4718" y="12249"/>
                  </a:lnTo>
                  <a:lnTo>
                    <a:pt x="4644" y="12512"/>
                  </a:lnTo>
                  <a:lnTo>
                    <a:pt x="4349" y="12512"/>
                  </a:lnTo>
                  <a:lnTo>
                    <a:pt x="4349" y="12249"/>
                  </a:lnTo>
                  <a:lnTo>
                    <a:pt x="4202" y="12249"/>
                  </a:lnTo>
                  <a:lnTo>
                    <a:pt x="4202" y="12512"/>
                  </a:lnTo>
                  <a:lnTo>
                    <a:pt x="3686" y="12512"/>
                  </a:lnTo>
                  <a:lnTo>
                    <a:pt x="3686" y="12644"/>
                  </a:lnTo>
                  <a:lnTo>
                    <a:pt x="3465" y="12644"/>
                  </a:lnTo>
                  <a:lnTo>
                    <a:pt x="3465" y="13171"/>
                  </a:lnTo>
                  <a:lnTo>
                    <a:pt x="3317" y="13171"/>
                  </a:lnTo>
                  <a:lnTo>
                    <a:pt x="3317" y="12907"/>
                  </a:lnTo>
                  <a:lnTo>
                    <a:pt x="3170" y="12644"/>
                  </a:lnTo>
                  <a:lnTo>
                    <a:pt x="2949" y="12644"/>
                  </a:lnTo>
                  <a:lnTo>
                    <a:pt x="2949" y="12512"/>
                  </a:lnTo>
                  <a:lnTo>
                    <a:pt x="2801" y="12512"/>
                  </a:lnTo>
                  <a:lnTo>
                    <a:pt x="2801" y="12249"/>
                  </a:lnTo>
                  <a:lnTo>
                    <a:pt x="2285" y="12249"/>
                  </a:lnTo>
                  <a:lnTo>
                    <a:pt x="2285" y="12512"/>
                  </a:lnTo>
                  <a:lnTo>
                    <a:pt x="2138" y="12512"/>
                  </a:lnTo>
                  <a:lnTo>
                    <a:pt x="2138" y="12249"/>
                  </a:lnTo>
                  <a:lnTo>
                    <a:pt x="1548" y="12249"/>
                  </a:lnTo>
                  <a:lnTo>
                    <a:pt x="1548" y="11985"/>
                  </a:lnTo>
                  <a:lnTo>
                    <a:pt x="1253" y="11985"/>
                  </a:lnTo>
                  <a:lnTo>
                    <a:pt x="1253" y="12249"/>
                  </a:lnTo>
                  <a:lnTo>
                    <a:pt x="1180" y="12249"/>
                  </a:lnTo>
                  <a:lnTo>
                    <a:pt x="1180" y="12512"/>
                  </a:lnTo>
                  <a:lnTo>
                    <a:pt x="1032" y="12512"/>
                  </a:lnTo>
                  <a:lnTo>
                    <a:pt x="1032" y="11985"/>
                  </a:lnTo>
                  <a:lnTo>
                    <a:pt x="885" y="12249"/>
                  </a:lnTo>
                  <a:lnTo>
                    <a:pt x="885" y="11985"/>
                  </a:lnTo>
                  <a:lnTo>
                    <a:pt x="737" y="11722"/>
                  </a:lnTo>
                  <a:lnTo>
                    <a:pt x="516" y="11722"/>
                  </a:lnTo>
                  <a:lnTo>
                    <a:pt x="516" y="11590"/>
                  </a:lnTo>
                  <a:lnTo>
                    <a:pt x="369" y="11590"/>
                  </a:lnTo>
                  <a:lnTo>
                    <a:pt x="369" y="11327"/>
                  </a:lnTo>
                  <a:lnTo>
                    <a:pt x="221" y="11327"/>
                  </a:lnTo>
                  <a:lnTo>
                    <a:pt x="221" y="11063"/>
                  </a:lnTo>
                  <a:lnTo>
                    <a:pt x="0" y="11063"/>
                  </a:lnTo>
                  <a:lnTo>
                    <a:pt x="0" y="10800"/>
                  </a:lnTo>
                  <a:lnTo>
                    <a:pt x="147" y="10800"/>
                  </a:lnTo>
                  <a:lnTo>
                    <a:pt x="147" y="10668"/>
                  </a:lnTo>
                  <a:lnTo>
                    <a:pt x="221" y="10668"/>
                  </a:lnTo>
                  <a:lnTo>
                    <a:pt x="221" y="10141"/>
                  </a:lnTo>
                  <a:lnTo>
                    <a:pt x="369" y="10141"/>
                  </a:lnTo>
                  <a:lnTo>
                    <a:pt x="369" y="9746"/>
                  </a:lnTo>
                  <a:lnTo>
                    <a:pt x="516" y="9746"/>
                  </a:lnTo>
                  <a:lnTo>
                    <a:pt x="516" y="9220"/>
                  </a:lnTo>
                  <a:lnTo>
                    <a:pt x="663" y="9220"/>
                  </a:lnTo>
                  <a:lnTo>
                    <a:pt x="663" y="9483"/>
                  </a:lnTo>
                  <a:lnTo>
                    <a:pt x="885" y="9483"/>
                  </a:lnTo>
                  <a:lnTo>
                    <a:pt x="1032" y="9746"/>
                  </a:lnTo>
                  <a:lnTo>
                    <a:pt x="1032" y="9220"/>
                  </a:lnTo>
                  <a:lnTo>
                    <a:pt x="885" y="9220"/>
                  </a:lnTo>
                  <a:lnTo>
                    <a:pt x="885" y="8956"/>
                  </a:lnTo>
                  <a:lnTo>
                    <a:pt x="737" y="8956"/>
                  </a:lnTo>
                  <a:lnTo>
                    <a:pt x="737" y="7639"/>
                  </a:lnTo>
                  <a:lnTo>
                    <a:pt x="885" y="7639"/>
                  </a:lnTo>
                  <a:lnTo>
                    <a:pt x="1032" y="7376"/>
                  </a:lnTo>
                  <a:lnTo>
                    <a:pt x="1253" y="7112"/>
                  </a:lnTo>
                  <a:lnTo>
                    <a:pt x="1401" y="6980"/>
                  </a:lnTo>
                  <a:lnTo>
                    <a:pt x="1401" y="6717"/>
                  </a:lnTo>
                  <a:lnTo>
                    <a:pt x="1548" y="6717"/>
                  </a:lnTo>
                  <a:lnTo>
                    <a:pt x="1548" y="6190"/>
                  </a:lnTo>
                  <a:lnTo>
                    <a:pt x="1769" y="6190"/>
                  </a:lnTo>
                  <a:lnTo>
                    <a:pt x="1769" y="6059"/>
                  </a:lnTo>
                  <a:lnTo>
                    <a:pt x="1917" y="6059"/>
                  </a:lnTo>
                  <a:lnTo>
                    <a:pt x="1917" y="5795"/>
                  </a:lnTo>
                  <a:lnTo>
                    <a:pt x="2285" y="5795"/>
                  </a:lnTo>
                  <a:lnTo>
                    <a:pt x="2285" y="5532"/>
                  </a:lnTo>
                  <a:lnTo>
                    <a:pt x="2433" y="5400"/>
                  </a:lnTo>
                  <a:lnTo>
                    <a:pt x="2433" y="5137"/>
                  </a:lnTo>
                  <a:lnTo>
                    <a:pt x="2285" y="5137"/>
                  </a:lnTo>
                  <a:lnTo>
                    <a:pt x="2285" y="4873"/>
                  </a:lnTo>
                  <a:lnTo>
                    <a:pt x="2138" y="4610"/>
                  </a:lnTo>
                  <a:lnTo>
                    <a:pt x="2580" y="4610"/>
                  </a:lnTo>
                  <a:lnTo>
                    <a:pt x="2580" y="4478"/>
                  </a:lnTo>
                  <a:lnTo>
                    <a:pt x="2433" y="4478"/>
                  </a:lnTo>
                  <a:lnTo>
                    <a:pt x="2433" y="4215"/>
                  </a:lnTo>
                  <a:lnTo>
                    <a:pt x="2285" y="4215"/>
                  </a:lnTo>
                  <a:lnTo>
                    <a:pt x="2285" y="3951"/>
                  </a:lnTo>
                  <a:lnTo>
                    <a:pt x="2138" y="3688"/>
                  </a:lnTo>
                  <a:lnTo>
                    <a:pt x="2138" y="3556"/>
                  </a:lnTo>
                  <a:lnTo>
                    <a:pt x="2064" y="3293"/>
                  </a:lnTo>
                  <a:lnTo>
                    <a:pt x="1917" y="3293"/>
                  </a:lnTo>
                  <a:lnTo>
                    <a:pt x="1917" y="2634"/>
                  </a:lnTo>
                  <a:lnTo>
                    <a:pt x="2064" y="2634"/>
                  </a:lnTo>
                  <a:lnTo>
                    <a:pt x="2064" y="2371"/>
                  </a:lnTo>
                  <a:lnTo>
                    <a:pt x="2285" y="2371"/>
                  </a:lnTo>
                  <a:lnTo>
                    <a:pt x="2433" y="2107"/>
                  </a:lnTo>
                  <a:lnTo>
                    <a:pt x="2580" y="2107"/>
                  </a:lnTo>
                  <a:lnTo>
                    <a:pt x="2580" y="1844"/>
                  </a:lnTo>
                  <a:lnTo>
                    <a:pt x="2654" y="1844"/>
                  </a:lnTo>
                  <a:lnTo>
                    <a:pt x="2654" y="1712"/>
                  </a:lnTo>
                  <a:lnTo>
                    <a:pt x="2949" y="1712"/>
                  </a:lnTo>
                  <a:lnTo>
                    <a:pt x="3096" y="1449"/>
                  </a:lnTo>
                  <a:lnTo>
                    <a:pt x="3317" y="1449"/>
                  </a:lnTo>
                  <a:lnTo>
                    <a:pt x="3317" y="1712"/>
                  </a:lnTo>
                  <a:lnTo>
                    <a:pt x="3465" y="1712"/>
                  </a:lnTo>
                  <a:lnTo>
                    <a:pt x="3465" y="1449"/>
                  </a:lnTo>
                  <a:lnTo>
                    <a:pt x="4349" y="1449"/>
                  </a:lnTo>
                  <a:lnTo>
                    <a:pt x="4497" y="1712"/>
                  </a:lnTo>
                  <a:lnTo>
                    <a:pt x="5013" y="1712"/>
                  </a:lnTo>
                  <a:lnTo>
                    <a:pt x="5160" y="1844"/>
                  </a:lnTo>
                  <a:lnTo>
                    <a:pt x="5529" y="1844"/>
                  </a:lnTo>
                  <a:lnTo>
                    <a:pt x="5529" y="2107"/>
                  </a:lnTo>
                  <a:lnTo>
                    <a:pt x="5898" y="2107"/>
                  </a:lnTo>
                  <a:lnTo>
                    <a:pt x="5898" y="2371"/>
                  </a:lnTo>
                  <a:lnTo>
                    <a:pt x="6045" y="2371"/>
                  </a:lnTo>
                  <a:lnTo>
                    <a:pt x="6045" y="2107"/>
                  </a:lnTo>
                  <a:lnTo>
                    <a:pt x="6266" y="2107"/>
                  </a:lnTo>
                  <a:lnTo>
                    <a:pt x="6266" y="2371"/>
                  </a:lnTo>
                  <a:lnTo>
                    <a:pt x="6709" y="2371"/>
                  </a:lnTo>
                  <a:lnTo>
                    <a:pt x="6709" y="2634"/>
                  </a:lnTo>
                  <a:lnTo>
                    <a:pt x="6782" y="2634"/>
                  </a:lnTo>
                  <a:lnTo>
                    <a:pt x="6930" y="2371"/>
                  </a:lnTo>
                  <a:lnTo>
                    <a:pt x="7225" y="2371"/>
                  </a:lnTo>
                  <a:lnTo>
                    <a:pt x="7225" y="2107"/>
                  </a:lnTo>
                  <a:lnTo>
                    <a:pt x="7298" y="2107"/>
                  </a:lnTo>
                  <a:lnTo>
                    <a:pt x="7298" y="2371"/>
                  </a:lnTo>
                  <a:lnTo>
                    <a:pt x="7446" y="2371"/>
                  </a:lnTo>
                  <a:lnTo>
                    <a:pt x="7446" y="2634"/>
                  </a:lnTo>
                  <a:lnTo>
                    <a:pt x="7741" y="2634"/>
                  </a:lnTo>
                  <a:lnTo>
                    <a:pt x="7741" y="2766"/>
                  </a:lnTo>
                  <a:lnTo>
                    <a:pt x="7814" y="2766"/>
                  </a:lnTo>
                  <a:lnTo>
                    <a:pt x="7814" y="3029"/>
                  </a:lnTo>
                  <a:lnTo>
                    <a:pt x="7962" y="3029"/>
                  </a:lnTo>
                  <a:lnTo>
                    <a:pt x="7962" y="2634"/>
                  </a:lnTo>
                  <a:lnTo>
                    <a:pt x="8257" y="2634"/>
                  </a:lnTo>
                  <a:lnTo>
                    <a:pt x="8257" y="2371"/>
                  </a:lnTo>
                  <a:lnTo>
                    <a:pt x="8330" y="2371"/>
                  </a:lnTo>
                  <a:lnTo>
                    <a:pt x="8478" y="2634"/>
                  </a:lnTo>
                  <a:lnTo>
                    <a:pt x="8478" y="3029"/>
                  </a:lnTo>
                  <a:lnTo>
                    <a:pt x="8994" y="3029"/>
                  </a:lnTo>
                  <a:lnTo>
                    <a:pt x="8994" y="2766"/>
                  </a:lnTo>
                  <a:lnTo>
                    <a:pt x="9141" y="2766"/>
                  </a:lnTo>
                  <a:lnTo>
                    <a:pt x="9141" y="2634"/>
                  </a:lnTo>
                  <a:lnTo>
                    <a:pt x="9657" y="2634"/>
                  </a:lnTo>
                  <a:lnTo>
                    <a:pt x="9657" y="2766"/>
                  </a:lnTo>
                  <a:lnTo>
                    <a:pt x="9731" y="2766"/>
                  </a:lnTo>
                  <a:lnTo>
                    <a:pt x="9731" y="3029"/>
                  </a:lnTo>
                  <a:lnTo>
                    <a:pt x="9878" y="3029"/>
                  </a:lnTo>
                  <a:lnTo>
                    <a:pt x="9878" y="3293"/>
                  </a:lnTo>
                  <a:lnTo>
                    <a:pt x="10026" y="3556"/>
                  </a:lnTo>
                  <a:lnTo>
                    <a:pt x="10173" y="3556"/>
                  </a:lnTo>
                  <a:lnTo>
                    <a:pt x="10173" y="3293"/>
                  </a:lnTo>
                  <a:lnTo>
                    <a:pt x="10026" y="3293"/>
                  </a:lnTo>
                  <a:lnTo>
                    <a:pt x="10026" y="2107"/>
                  </a:lnTo>
                  <a:lnTo>
                    <a:pt x="10173" y="1844"/>
                  </a:lnTo>
                  <a:lnTo>
                    <a:pt x="10173" y="1712"/>
                  </a:lnTo>
                  <a:lnTo>
                    <a:pt x="10247" y="1712"/>
                  </a:lnTo>
                  <a:lnTo>
                    <a:pt x="10395" y="1449"/>
                  </a:lnTo>
                  <a:lnTo>
                    <a:pt x="10395" y="1185"/>
                  </a:lnTo>
                  <a:lnTo>
                    <a:pt x="10542" y="922"/>
                  </a:lnTo>
                  <a:lnTo>
                    <a:pt x="10689" y="922"/>
                  </a:lnTo>
                  <a:lnTo>
                    <a:pt x="10689" y="1185"/>
                  </a:lnTo>
                  <a:lnTo>
                    <a:pt x="10763" y="1185"/>
                  </a:lnTo>
                  <a:lnTo>
                    <a:pt x="10763" y="922"/>
                  </a:lnTo>
                  <a:lnTo>
                    <a:pt x="11279" y="922"/>
                  </a:lnTo>
                  <a:lnTo>
                    <a:pt x="11279" y="1185"/>
                  </a:lnTo>
                  <a:lnTo>
                    <a:pt x="11427" y="1185"/>
                  </a:lnTo>
                  <a:lnTo>
                    <a:pt x="11427" y="922"/>
                  </a:lnTo>
                  <a:lnTo>
                    <a:pt x="11722" y="922"/>
                  </a:lnTo>
                  <a:lnTo>
                    <a:pt x="11722" y="1185"/>
                  </a:lnTo>
                  <a:lnTo>
                    <a:pt x="12090" y="1185"/>
                  </a:lnTo>
                  <a:lnTo>
                    <a:pt x="12090" y="922"/>
                  </a:lnTo>
                  <a:lnTo>
                    <a:pt x="12238" y="922"/>
                  </a:lnTo>
                  <a:lnTo>
                    <a:pt x="12238" y="790"/>
                  </a:lnTo>
                  <a:lnTo>
                    <a:pt x="12311" y="790"/>
                  </a:lnTo>
                  <a:lnTo>
                    <a:pt x="12311" y="263"/>
                  </a:lnTo>
                  <a:lnTo>
                    <a:pt x="12459" y="263"/>
                  </a:lnTo>
                  <a:lnTo>
                    <a:pt x="12606" y="527"/>
                  </a:lnTo>
                  <a:lnTo>
                    <a:pt x="13122" y="527"/>
                  </a:lnTo>
                  <a:lnTo>
                    <a:pt x="13122" y="263"/>
                  </a:lnTo>
                  <a:lnTo>
                    <a:pt x="13786" y="263"/>
                  </a:lnTo>
                  <a:lnTo>
                    <a:pt x="13859" y="0"/>
                  </a:lnTo>
                  <a:close/>
                  <a:moveTo>
                    <a:pt x="13859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61" name="Freeform 13"/>
            <p:cNvSpPr>
              <a:spLocks/>
            </p:cNvSpPr>
            <p:nvPr/>
          </p:nvSpPr>
          <p:spPr bwMode="auto">
            <a:xfrm>
              <a:off x="6874967" y="4295386"/>
              <a:ext cx="383204" cy="201465"/>
            </a:xfrm>
            <a:custGeom>
              <a:avLst/>
              <a:gdLst/>
              <a:ahLst/>
              <a:cxnLst>
                <a:cxn ang="0">
                  <a:pos x="12843" y="0"/>
                </a:cxn>
                <a:cxn ang="0">
                  <a:pos x="13427" y="1054"/>
                </a:cxn>
                <a:cxn ang="0">
                  <a:pos x="14886" y="2107"/>
                </a:cxn>
                <a:cxn ang="0">
                  <a:pos x="15470" y="1054"/>
                </a:cxn>
                <a:cxn ang="0">
                  <a:pos x="16346" y="2107"/>
                </a:cxn>
                <a:cxn ang="0">
                  <a:pos x="17514" y="3161"/>
                </a:cxn>
                <a:cxn ang="0">
                  <a:pos x="16930" y="5795"/>
                </a:cxn>
                <a:cxn ang="0">
                  <a:pos x="16346" y="7376"/>
                </a:cxn>
                <a:cxn ang="0">
                  <a:pos x="17514" y="8429"/>
                </a:cxn>
                <a:cxn ang="0">
                  <a:pos x="18973" y="9483"/>
                </a:cxn>
                <a:cxn ang="0">
                  <a:pos x="19557" y="10537"/>
                </a:cxn>
                <a:cxn ang="0">
                  <a:pos x="20141" y="11063"/>
                </a:cxn>
                <a:cxn ang="0">
                  <a:pos x="20432" y="10537"/>
                </a:cxn>
                <a:cxn ang="0">
                  <a:pos x="21016" y="9483"/>
                </a:cxn>
                <a:cxn ang="0">
                  <a:pos x="21600" y="14224"/>
                </a:cxn>
                <a:cxn ang="0">
                  <a:pos x="20432" y="13171"/>
                </a:cxn>
                <a:cxn ang="0">
                  <a:pos x="19557" y="14224"/>
                </a:cxn>
                <a:cxn ang="0">
                  <a:pos x="20141" y="14751"/>
                </a:cxn>
                <a:cxn ang="0">
                  <a:pos x="19557" y="17912"/>
                </a:cxn>
                <a:cxn ang="0">
                  <a:pos x="18097" y="16859"/>
                </a:cxn>
                <a:cxn ang="0">
                  <a:pos x="16930" y="15805"/>
                </a:cxn>
                <a:cxn ang="0">
                  <a:pos x="16346" y="14751"/>
                </a:cxn>
                <a:cxn ang="0">
                  <a:pos x="16054" y="14224"/>
                </a:cxn>
                <a:cxn ang="0">
                  <a:pos x="15470" y="17912"/>
                </a:cxn>
                <a:cxn ang="0">
                  <a:pos x="14886" y="20546"/>
                </a:cxn>
                <a:cxn ang="0">
                  <a:pos x="14303" y="21600"/>
                </a:cxn>
                <a:cxn ang="0">
                  <a:pos x="14011" y="19493"/>
                </a:cxn>
                <a:cxn ang="0">
                  <a:pos x="12843" y="18439"/>
                </a:cxn>
                <a:cxn ang="0">
                  <a:pos x="12259" y="17912"/>
                </a:cxn>
                <a:cxn ang="0">
                  <a:pos x="11968" y="15805"/>
                </a:cxn>
                <a:cxn ang="0">
                  <a:pos x="12259" y="14751"/>
                </a:cxn>
                <a:cxn ang="0">
                  <a:pos x="11384" y="15805"/>
                </a:cxn>
                <a:cxn ang="0">
                  <a:pos x="10800" y="16859"/>
                </a:cxn>
                <a:cxn ang="0">
                  <a:pos x="10216" y="18439"/>
                </a:cxn>
                <a:cxn ang="0">
                  <a:pos x="9341" y="19493"/>
                </a:cxn>
                <a:cxn ang="0">
                  <a:pos x="8757" y="21600"/>
                </a:cxn>
                <a:cxn ang="0">
                  <a:pos x="8173" y="20546"/>
                </a:cxn>
                <a:cxn ang="0">
                  <a:pos x="7881" y="19493"/>
                </a:cxn>
                <a:cxn ang="0">
                  <a:pos x="5254" y="20546"/>
                </a:cxn>
                <a:cxn ang="0">
                  <a:pos x="4670" y="19493"/>
                </a:cxn>
                <a:cxn ang="0">
                  <a:pos x="4086" y="18439"/>
                </a:cxn>
                <a:cxn ang="0">
                  <a:pos x="4670" y="17912"/>
                </a:cxn>
                <a:cxn ang="0">
                  <a:pos x="4086" y="16859"/>
                </a:cxn>
                <a:cxn ang="0">
                  <a:pos x="1751" y="14751"/>
                </a:cxn>
                <a:cxn ang="0">
                  <a:pos x="1168" y="16859"/>
                </a:cxn>
                <a:cxn ang="0">
                  <a:pos x="584" y="17912"/>
                </a:cxn>
                <a:cxn ang="0">
                  <a:pos x="0" y="18439"/>
                </a:cxn>
                <a:cxn ang="0">
                  <a:pos x="584" y="16859"/>
                </a:cxn>
                <a:cxn ang="0">
                  <a:pos x="1168" y="14224"/>
                </a:cxn>
                <a:cxn ang="0">
                  <a:pos x="2627" y="12117"/>
                </a:cxn>
                <a:cxn ang="0">
                  <a:pos x="3211" y="9483"/>
                </a:cxn>
                <a:cxn ang="0">
                  <a:pos x="3795" y="8429"/>
                </a:cxn>
                <a:cxn ang="0">
                  <a:pos x="4670" y="5795"/>
                </a:cxn>
                <a:cxn ang="0">
                  <a:pos x="5254" y="4741"/>
                </a:cxn>
                <a:cxn ang="0">
                  <a:pos x="4670" y="3688"/>
                </a:cxn>
                <a:cxn ang="0">
                  <a:pos x="5838" y="4741"/>
                </a:cxn>
                <a:cxn ang="0">
                  <a:pos x="7297" y="3688"/>
                </a:cxn>
                <a:cxn ang="0">
                  <a:pos x="12843" y="3161"/>
                </a:cxn>
                <a:cxn ang="0">
                  <a:pos x="11968" y="2107"/>
                </a:cxn>
                <a:cxn ang="0">
                  <a:pos x="12259" y="1054"/>
                </a:cxn>
                <a:cxn ang="0">
                  <a:pos x="12259" y="0"/>
                </a:cxn>
              </a:cxnLst>
              <a:rect l="0" t="0" r="r" b="b"/>
              <a:pathLst>
                <a:path w="21600" h="21600">
                  <a:moveTo>
                    <a:pt x="12259" y="0"/>
                  </a:moveTo>
                  <a:lnTo>
                    <a:pt x="12843" y="0"/>
                  </a:lnTo>
                  <a:lnTo>
                    <a:pt x="12843" y="1054"/>
                  </a:lnTo>
                  <a:lnTo>
                    <a:pt x="13427" y="1054"/>
                  </a:lnTo>
                  <a:lnTo>
                    <a:pt x="13427" y="2107"/>
                  </a:lnTo>
                  <a:lnTo>
                    <a:pt x="14886" y="2107"/>
                  </a:lnTo>
                  <a:lnTo>
                    <a:pt x="14886" y="1054"/>
                  </a:lnTo>
                  <a:lnTo>
                    <a:pt x="15470" y="1054"/>
                  </a:lnTo>
                  <a:lnTo>
                    <a:pt x="15470" y="2107"/>
                  </a:lnTo>
                  <a:lnTo>
                    <a:pt x="16346" y="2107"/>
                  </a:lnTo>
                  <a:lnTo>
                    <a:pt x="16930" y="3161"/>
                  </a:lnTo>
                  <a:lnTo>
                    <a:pt x="17514" y="3161"/>
                  </a:lnTo>
                  <a:lnTo>
                    <a:pt x="17514" y="5795"/>
                  </a:lnTo>
                  <a:lnTo>
                    <a:pt x="16930" y="5795"/>
                  </a:lnTo>
                  <a:lnTo>
                    <a:pt x="16930" y="7376"/>
                  </a:lnTo>
                  <a:lnTo>
                    <a:pt x="16346" y="7376"/>
                  </a:lnTo>
                  <a:lnTo>
                    <a:pt x="16346" y="8429"/>
                  </a:lnTo>
                  <a:lnTo>
                    <a:pt x="17514" y="8429"/>
                  </a:lnTo>
                  <a:lnTo>
                    <a:pt x="17514" y="9483"/>
                  </a:lnTo>
                  <a:lnTo>
                    <a:pt x="18973" y="9483"/>
                  </a:lnTo>
                  <a:lnTo>
                    <a:pt x="18973" y="10537"/>
                  </a:lnTo>
                  <a:lnTo>
                    <a:pt x="19557" y="10537"/>
                  </a:lnTo>
                  <a:lnTo>
                    <a:pt x="19557" y="11063"/>
                  </a:lnTo>
                  <a:lnTo>
                    <a:pt x="20141" y="11063"/>
                  </a:lnTo>
                  <a:lnTo>
                    <a:pt x="20141" y="10537"/>
                  </a:lnTo>
                  <a:lnTo>
                    <a:pt x="20432" y="10537"/>
                  </a:lnTo>
                  <a:lnTo>
                    <a:pt x="20432" y="9483"/>
                  </a:lnTo>
                  <a:lnTo>
                    <a:pt x="21016" y="9483"/>
                  </a:lnTo>
                  <a:lnTo>
                    <a:pt x="21600" y="10537"/>
                  </a:lnTo>
                  <a:lnTo>
                    <a:pt x="21600" y="14224"/>
                  </a:lnTo>
                  <a:lnTo>
                    <a:pt x="20432" y="14224"/>
                  </a:lnTo>
                  <a:lnTo>
                    <a:pt x="20432" y="13171"/>
                  </a:lnTo>
                  <a:lnTo>
                    <a:pt x="20141" y="13171"/>
                  </a:lnTo>
                  <a:lnTo>
                    <a:pt x="19557" y="14224"/>
                  </a:lnTo>
                  <a:lnTo>
                    <a:pt x="19557" y="14751"/>
                  </a:lnTo>
                  <a:lnTo>
                    <a:pt x="20141" y="14751"/>
                  </a:lnTo>
                  <a:lnTo>
                    <a:pt x="20141" y="17912"/>
                  </a:lnTo>
                  <a:lnTo>
                    <a:pt x="19557" y="17912"/>
                  </a:lnTo>
                  <a:lnTo>
                    <a:pt x="19557" y="16859"/>
                  </a:lnTo>
                  <a:lnTo>
                    <a:pt x="18097" y="16859"/>
                  </a:lnTo>
                  <a:lnTo>
                    <a:pt x="17514" y="15805"/>
                  </a:lnTo>
                  <a:lnTo>
                    <a:pt x="16930" y="15805"/>
                  </a:lnTo>
                  <a:lnTo>
                    <a:pt x="16930" y="14751"/>
                  </a:lnTo>
                  <a:lnTo>
                    <a:pt x="16346" y="14751"/>
                  </a:lnTo>
                  <a:lnTo>
                    <a:pt x="16346" y="14224"/>
                  </a:lnTo>
                  <a:lnTo>
                    <a:pt x="16054" y="14224"/>
                  </a:lnTo>
                  <a:lnTo>
                    <a:pt x="16054" y="16859"/>
                  </a:lnTo>
                  <a:lnTo>
                    <a:pt x="15470" y="17912"/>
                  </a:lnTo>
                  <a:lnTo>
                    <a:pt x="14886" y="17912"/>
                  </a:lnTo>
                  <a:lnTo>
                    <a:pt x="14886" y="20546"/>
                  </a:lnTo>
                  <a:lnTo>
                    <a:pt x="14303" y="20546"/>
                  </a:lnTo>
                  <a:lnTo>
                    <a:pt x="14303" y="21600"/>
                  </a:lnTo>
                  <a:lnTo>
                    <a:pt x="14011" y="21600"/>
                  </a:lnTo>
                  <a:lnTo>
                    <a:pt x="14011" y="19493"/>
                  </a:lnTo>
                  <a:lnTo>
                    <a:pt x="13427" y="18439"/>
                  </a:lnTo>
                  <a:lnTo>
                    <a:pt x="12843" y="18439"/>
                  </a:lnTo>
                  <a:lnTo>
                    <a:pt x="12843" y="17912"/>
                  </a:lnTo>
                  <a:lnTo>
                    <a:pt x="12259" y="17912"/>
                  </a:lnTo>
                  <a:lnTo>
                    <a:pt x="12259" y="16859"/>
                  </a:lnTo>
                  <a:lnTo>
                    <a:pt x="11968" y="15805"/>
                  </a:lnTo>
                  <a:lnTo>
                    <a:pt x="12259" y="15805"/>
                  </a:lnTo>
                  <a:lnTo>
                    <a:pt x="12259" y="14751"/>
                  </a:lnTo>
                  <a:lnTo>
                    <a:pt x="11384" y="14751"/>
                  </a:lnTo>
                  <a:lnTo>
                    <a:pt x="11384" y="15805"/>
                  </a:lnTo>
                  <a:lnTo>
                    <a:pt x="10800" y="15805"/>
                  </a:lnTo>
                  <a:lnTo>
                    <a:pt x="10800" y="16859"/>
                  </a:lnTo>
                  <a:lnTo>
                    <a:pt x="10216" y="16859"/>
                  </a:lnTo>
                  <a:lnTo>
                    <a:pt x="10216" y="18439"/>
                  </a:lnTo>
                  <a:lnTo>
                    <a:pt x="9924" y="19493"/>
                  </a:lnTo>
                  <a:lnTo>
                    <a:pt x="9341" y="19493"/>
                  </a:lnTo>
                  <a:lnTo>
                    <a:pt x="9341" y="21600"/>
                  </a:lnTo>
                  <a:lnTo>
                    <a:pt x="8757" y="21600"/>
                  </a:lnTo>
                  <a:lnTo>
                    <a:pt x="8757" y="20546"/>
                  </a:lnTo>
                  <a:lnTo>
                    <a:pt x="8173" y="20546"/>
                  </a:lnTo>
                  <a:lnTo>
                    <a:pt x="8173" y="19493"/>
                  </a:lnTo>
                  <a:lnTo>
                    <a:pt x="7881" y="19493"/>
                  </a:lnTo>
                  <a:lnTo>
                    <a:pt x="7297" y="20546"/>
                  </a:lnTo>
                  <a:lnTo>
                    <a:pt x="5254" y="20546"/>
                  </a:lnTo>
                  <a:lnTo>
                    <a:pt x="5254" y="19493"/>
                  </a:lnTo>
                  <a:lnTo>
                    <a:pt x="4670" y="19493"/>
                  </a:lnTo>
                  <a:lnTo>
                    <a:pt x="4670" y="18439"/>
                  </a:lnTo>
                  <a:lnTo>
                    <a:pt x="4086" y="18439"/>
                  </a:lnTo>
                  <a:lnTo>
                    <a:pt x="4086" y="17912"/>
                  </a:lnTo>
                  <a:lnTo>
                    <a:pt x="4670" y="17912"/>
                  </a:lnTo>
                  <a:lnTo>
                    <a:pt x="4670" y="16859"/>
                  </a:lnTo>
                  <a:lnTo>
                    <a:pt x="4086" y="16859"/>
                  </a:lnTo>
                  <a:lnTo>
                    <a:pt x="4086" y="14751"/>
                  </a:lnTo>
                  <a:lnTo>
                    <a:pt x="1751" y="14751"/>
                  </a:lnTo>
                  <a:lnTo>
                    <a:pt x="1751" y="16859"/>
                  </a:lnTo>
                  <a:lnTo>
                    <a:pt x="1168" y="16859"/>
                  </a:lnTo>
                  <a:lnTo>
                    <a:pt x="1168" y="17912"/>
                  </a:lnTo>
                  <a:lnTo>
                    <a:pt x="584" y="17912"/>
                  </a:lnTo>
                  <a:lnTo>
                    <a:pt x="584" y="18439"/>
                  </a:lnTo>
                  <a:lnTo>
                    <a:pt x="0" y="18439"/>
                  </a:lnTo>
                  <a:lnTo>
                    <a:pt x="0" y="16859"/>
                  </a:lnTo>
                  <a:lnTo>
                    <a:pt x="584" y="16859"/>
                  </a:lnTo>
                  <a:lnTo>
                    <a:pt x="1168" y="15805"/>
                  </a:lnTo>
                  <a:lnTo>
                    <a:pt x="1168" y="14224"/>
                  </a:lnTo>
                  <a:lnTo>
                    <a:pt x="2043" y="12117"/>
                  </a:lnTo>
                  <a:lnTo>
                    <a:pt x="2627" y="12117"/>
                  </a:lnTo>
                  <a:lnTo>
                    <a:pt x="2627" y="9483"/>
                  </a:lnTo>
                  <a:lnTo>
                    <a:pt x="3211" y="9483"/>
                  </a:lnTo>
                  <a:lnTo>
                    <a:pt x="3211" y="8429"/>
                  </a:lnTo>
                  <a:lnTo>
                    <a:pt x="3795" y="8429"/>
                  </a:lnTo>
                  <a:lnTo>
                    <a:pt x="4670" y="6849"/>
                  </a:lnTo>
                  <a:lnTo>
                    <a:pt x="4670" y="5795"/>
                  </a:lnTo>
                  <a:lnTo>
                    <a:pt x="5254" y="5795"/>
                  </a:lnTo>
                  <a:lnTo>
                    <a:pt x="5254" y="4741"/>
                  </a:lnTo>
                  <a:lnTo>
                    <a:pt x="4670" y="4741"/>
                  </a:lnTo>
                  <a:lnTo>
                    <a:pt x="4670" y="3688"/>
                  </a:lnTo>
                  <a:lnTo>
                    <a:pt x="5838" y="3688"/>
                  </a:lnTo>
                  <a:lnTo>
                    <a:pt x="5838" y="4741"/>
                  </a:lnTo>
                  <a:lnTo>
                    <a:pt x="7297" y="4741"/>
                  </a:lnTo>
                  <a:lnTo>
                    <a:pt x="7297" y="3688"/>
                  </a:lnTo>
                  <a:lnTo>
                    <a:pt x="7881" y="3161"/>
                  </a:lnTo>
                  <a:lnTo>
                    <a:pt x="12843" y="3161"/>
                  </a:lnTo>
                  <a:lnTo>
                    <a:pt x="12843" y="2107"/>
                  </a:lnTo>
                  <a:lnTo>
                    <a:pt x="11968" y="2107"/>
                  </a:lnTo>
                  <a:lnTo>
                    <a:pt x="11968" y="1054"/>
                  </a:lnTo>
                  <a:lnTo>
                    <a:pt x="12259" y="1054"/>
                  </a:lnTo>
                  <a:lnTo>
                    <a:pt x="12259" y="0"/>
                  </a:lnTo>
                  <a:close/>
                  <a:moveTo>
                    <a:pt x="12259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62" name="Freeform 14"/>
            <p:cNvSpPr>
              <a:spLocks/>
            </p:cNvSpPr>
            <p:nvPr/>
          </p:nvSpPr>
          <p:spPr bwMode="auto">
            <a:xfrm>
              <a:off x="7747726" y="3284033"/>
              <a:ext cx="62460" cy="120879"/>
            </a:xfrm>
            <a:custGeom>
              <a:avLst/>
              <a:gdLst/>
              <a:ahLst/>
              <a:cxnLst>
                <a:cxn ang="0">
                  <a:pos x="19800" y="0"/>
                </a:cxn>
                <a:cxn ang="0">
                  <a:pos x="21600" y="0"/>
                </a:cxn>
                <a:cxn ang="0">
                  <a:pos x="21600" y="3456"/>
                </a:cxn>
                <a:cxn ang="0">
                  <a:pos x="19800" y="3456"/>
                </a:cxn>
                <a:cxn ang="0">
                  <a:pos x="19800" y="7776"/>
                </a:cxn>
                <a:cxn ang="0">
                  <a:pos x="16200" y="11232"/>
                </a:cxn>
                <a:cxn ang="0">
                  <a:pos x="12600" y="12096"/>
                </a:cxn>
                <a:cxn ang="0">
                  <a:pos x="12600" y="13824"/>
                </a:cxn>
                <a:cxn ang="0">
                  <a:pos x="9000" y="13824"/>
                </a:cxn>
                <a:cxn ang="0">
                  <a:pos x="9000" y="17280"/>
                </a:cxn>
                <a:cxn ang="0">
                  <a:pos x="7200" y="18144"/>
                </a:cxn>
                <a:cxn ang="0">
                  <a:pos x="7200" y="21600"/>
                </a:cxn>
                <a:cxn ang="0">
                  <a:pos x="3600" y="21600"/>
                </a:cxn>
                <a:cxn ang="0">
                  <a:pos x="3600" y="19872"/>
                </a:cxn>
                <a:cxn ang="0">
                  <a:pos x="0" y="18144"/>
                </a:cxn>
                <a:cxn ang="0">
                  <a:pos x="0" y="15552"/>
                </a:cxn>
                <a:cxn ang="0">
                  <a:pos x="3600" y="13824"/>
                </a:cxn>
                <a:cxn ang="0">
                  <a:pos x="3600" y="12096"/>
                </a:cxn>
                <a:cxn ang="0">
                  <a:pos x="7200" y="11232"/>
                </a:cxn>
                <a:cxn ang="0">
                  <a:pos x="9000" y="11232"/>
                </a:cxn>
                <a:cxn ang="0">
                  <a:pos x="9000" y="9504"/>
                </a:cxn>
                <a:cxn ang="0">
                  <a:pos x="12600" y="6048"/>
                </a:cxn>
                <a:cxn ang="0">
                  <a:pos x="16200" y="5184"/>
                </a:cxn>
                <a:cxn ang="0">
                  <a:pos x="16200" y="3456"/>
                </a:cxn>
                <a:cxn ang="0">
                  <a:pos x="19800" y="1728"/>
                </a:cxn>
                <a:cxn ang="0">
                  <a:pos x="19800" y="0"/>
                </a:cxn>
                <a:cxn ang="0">
                  <a:pos x="19800" y="0"/>
                </a:cxn>
              </a:cxnLst>
              <a:rect l="0" t="0" r="r" b="b"/>
              <a:pathLst>
                <a:path w="21600" h="21600">
                  <a:moveTo>
                    <a:pt x="19800" y="0"/>
                  </a:moveTo>
                  <a:lnTo>
                    <a:pt x="21600" y="0"/>
                  </a:lnTo>
                  <a:lnTo>
                    <a:pt x="21600" y="3456"/>
                  </a:lnTo>
                  <a:lnTo>
                    <a:pt x="19800" y="3456"/>
                  </a:lnTo>
                  <a:lnTo>
                    <a:pt x="19800" y="7776"/>
                  </a:lnTo>
                  <a:lnTo>
                    <a:pt x="16200" y="11232"/>
                  </a:lnTo>
                  <a:lnTo>
                    <a:pt x="12600" y="12096"/>
                  </a:lnTo>
                  <a:lnTo>
                    <a:pt x="12600" y="13824"/>
                  </a:lnTo>
                  <a:lnTo>
                    <a:pt x="9000" y="13824"/>
                  </a:lnTo>
                  <a:lnTo>
                    <a:pt x="9000" y="17280"/>
                  </a:lnTo>
                  <a:lnTo>
                    <a:pt x="7200" y="18144"/>
                  </a:lnTo>
                  <a:lnTo>
                    <a:pt x="7200" y="21600"/>
                  </a:lnTo>
                  <a:lnTo>
                    <a:pt x="3600" y="21600"/>
                  </a:lnTo>
                  <a:lnTo>
                    <a:pt x="3600" y="19872"/>
                  </a:lnTo>
                  <a:lnTo>
                    <a:pt x="0" y="18144"/>
                  </a:lnTo>
                  <a:lnTo>
                    <a:pt x="0" y="15552"/>
                  </a:lnTo>
                  <a:lnTo>
                    <a:pt x="3600" y="13824"/>
                  </a:lnTo>
                  <a:lnTo>
                    <a:pt x="3600" y="12096"/>
                  </a:lnTo>
                  <a:lnTo>
                    <a:pt x="7200" y="11232"/>
                  </a:lnTo>
                  <a:lnTo>
                    <a:pt x="9000" y="11232"/>
                  </a:lnTo>
                  <a:lnTo>
                    <a:pt x="9000" y="9504"/>
                  </a:lnTo>
                  <a:lnTo>
                    <a:pt x="12600" y="6048"/>
                  </a:lnTo>
                  <a:lnTo>
                    <a:pt x="16200" y="5184"/>
                  </a:lnTo>
                  <a:lnTo>
                    <a:pt x="16200" y="3456"/>
                  </a:lnTo>
                  <a:lnTo>
                    <a:pt x="19800" y="1728"/>
                  </a:lnTo>
                  <a:lnTo>
                    <a:pt x="19800" y="0"/>
                  </a:lnTo>
                  <a:close/>
                  <a:moveTo>
                    <a:pt x="1980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63" name="Freeform 15"/>
            <p:cNvSpPr>
              <a:spLocks/>
            </p:cNvSpPr>
            <p:nvPr/>
          </p:nvSpPr>
          <p:spPr bwMode="auto">
            <a:xfrm>
              <a:off x="7892904" y="3213521"/>
              <a:ext cx="87782" cy="112820"/>
            </a:xfrm>
            <a:custGeom>
              <a:avLst/>
              <a:gdLst/>
              <a:ahLst/>
              <a:cxnLst>
                <a:cxn ang="0">
                  <a:pos x="16200" y="0"/>
                </a:cxn>
                <a:cxn ang="0">
                  <a:pos x="18900" y="0"/>
                </a:cxn>
                <a:cxn ang="0">
                  <a:pos x="18900" y="1878"/>
                </a:cxn>
                <a:cxn ang="0">
                  <a:pos x="21600" y="1878"/>
                </a:cxn>
                <a:cxn ang="0">
                  <a:pos x="21600" y="3757"/>
                </a:cxn>
                <a:cxn ang="0">
                  <a:pos x="18900" y="3757"/>
                </a:cxn>
                <a:cxn ang="0">
                  <a:pos x="18900" y="5635"/>
                </a:cxn>
                <a:cxn ang="0">
                  <a:pos x="16200" y="5635"/>
                </a:cxn>
                <a:cxn ang="0">
                  <a:pos x="16200" y="8452"/>
                </a:cxn>
                <a:cxn ang="0">
                  <a:pos x="13500" y="8452"/>
                </a:cxn>
                <a:cxn ang="0">
                  <a:pos x="13500" y="10330"/>
                </a:cxn>
                <a:cxn ang="0">
                  <a:pos x="16200" y="12209"/>
                </a:cxn>
                <a:cxn ang="0">
                  <a:pos x="16200" y="13148"/>
                </a:cxn>
                <a:cxn ang="0">
                  <a:pos x="13500" y="13148"/>
                </a:cxn>
                <a:cxn ang="0">
                  <a:pos x="13500" y="16904"/>
                </a:cxn>
                <a:cxn ang="0">
                  <a:pos x="9450" y="16904"/>
                </a:cxn>
                <a:cxn ang="0">
                  <a:pos x="6750" y="18783"/>
                </a:cxn>
                <a:cxn ang="0">
                  <a:pos x="6750" y="19722"/>
                </a:cxn>
                <a:cxn ang="0">
                  <a:pos x="4050" y="21600"/>
                </a:cxn>
                <a:cxn ang="0">
                  <a:pos x="2700" y="21600"/>
                </a:cxn>
                <a:cxn ang="0">
                  <a:pos x="2700" y="18783"/>
                </a:cxn>
                <a:cxn ang="0">
                  <a:pos x="0" y="18783"/>
                </a:cxn>
                <a:cxn ang="0">
                  <a:pos x="0" y="8452"/>
                </a:cxn>
                <a:cxn ang="0">
                  <a:pos x="2700" y="8452"/>
                </a:cxn>
                <a:cxn ang="0">
                  <a:pos x="2700" y="6574"/>
                </a:cxn>
                <a:cxn ang="0">
                  <a:pos x="4050" y="6574"/>
                </a:cxn>
                <a:cxn ang="0">
                  <a:pos x="4050" y="5635"/>
                </a:cxn>
                <a:cxn ang="0">
                  <a:pos x="9450" y="1878"/>
                </a:cxn>
                <a:cxn ang="0">
                  <a:pos x="16200" y="1878"/>
                </a:cxn>
                <a:cxn ang="0">
                  <a:pos x="16200" y="0"/>
                </a:cxn>
                <a:cxn ang="0">
                  <a:pos x="16200" y="0"/>
                </a:cxn>
              </a:cxnLst>
              <a:rect l="0" t="0" r="r" b="b"/>
              <a:pathLst>
                <a:path w="21600" h="21600">
                  <a:moveTo>
                    <a:pt x="16200" y="0"/>
                  </a:moveTo>
                  <a:lnTo>
                    <a:pt x="18900" y="0"/>
                  </a:lnTo>
                  <a:lnTo>
                    <a:pt x="18900" y="1878"/>
                  </a:lnTo>
                  <a:lnTo>
                    <a:pt x="21600" y="1878"/>
                  </a:lnTo>
                  <a:lnTo>
                    <a:pt x="21600" y="3757"/>
                  </a:lnTo>
                  <a:lnTo>
                    <a:pt x="18900" y="3757"/>
                  </a:lnTo>
                  <a:lnTo>
                    <a:pt x="18900" y="5635"/>
                  </a:lnTo>
                  <a:lnTo>
                    <a:pt x="16200" y="5635"/>
                  </a:lnTo>
                  <a:lnTo>
                    <a:pt x="16200" y="8452"/>
                  </a:lnTo>
                  <a:lnTo>
                    <a:pt x="13500" y="8452"/>
                  </a:lnTo>
                  <a:lnTo>
                    <a:pt x="13500" y="10330"/>
                  </a:lnTo>
                  <a:lnTo>
                    <a:pt x="16200" y="12209"/>
                  </a:lnTo>
                  <a:lnTo>
                    <a:pt x="16200" y="13148"/>
                  </a:lnTo>
                  <a:lnTo>
                    <a:pt x="13500" y="13148"/>
                  </a:lnTo>
                  <a:lnTo>
                    <a:pt x="13500" y="16904"/>
                  </a:lnTo>
                  <a:lnTo>
                    <a:pt x="9450" y="16904"/>
                  </a:lnTo>
                  <a:lnTo>
                    <a:pt x="6750" y="18783"/>
                  </a:lnTo>
                  <a:lnTo>
                    <a:pt x="6750" y="19722"/>
                  </a:lnTo>
                  <a:lnTo>
                    <a:pt x="4050" y="21600"/>
                  </a:lnTo>
                  <a:lnTo>
                    <a:pt x="2700" y="21600"/>
                  </a:lnTo>
                  <a:lnTo>
                    <a:pt x="2700" y="18783"/>
                  </a:lnTo>
                  <a:lnTo>
                    <a:pt x="0" y="18783"/>
                  </a:lnTo>
                  <a:lnTo>
                    <a:pt x="0" y="8452"/>
                  </a:lnTo>
                  <a:lnTo>
                    <a:pt x="2700" y="8452"/>
                  </a:lnTo>
                  <a:lnTo>
                    <a:pt x="2700" y="6574"/>
                  </a:lnTo>
                  <a:lnTo>
                    <a:pt x="4050" y="6574"/>
                  </a:lnTo>
                  <a:lnTo>
                    <a:pt x="4050" y="5635"/>
                  </a:lnTo>
                  <a:lnTo>
                    <a:pt x="9450" y="1878"/>
                  </a:lnTo>
                  <a:lnTo>
                    <a:pt x="16200" y="1878"/>
                  </a:lnTo>
                  <a:lnTo>
                    <a:pt x="16200" y="0"/>
                  </a:lnTo>
                  <a:close/>
                  <a:moveTo>
                    <a:pt x="16200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64" name="AutoShape 16"/>
            <p:cNvSpPr>
              <a:spLocks/>
            </p:cNvSpPr>
            <p:nvPr/>
          </p:nvSpPr>
          <p:spPr bwMode="auto">
            <a:xfrm>
              <a:off x="7310502" y="1827443"/>
              <a:ext cx="1092214" cy="1686259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131" y="17205"/>
                  </a:moveTo>
                  <a:lnTo>
                    <a:pt x="1131" y="17267"/>
                  </a:lnTo>
                  <a:lnTo>
                    <a:pt x="1234" y="17267"/>
                  </a:lnTo>
                  <a:lnTo>
                    <a:pt x="1234" y="17205"/>
                  </a:lnTo>
                  <a:lnTo>
                    <a:pt x="1131" y="17205"/>
                  </a:lnTo>
                  <a:close/>
                  <a:moveTo>
                    <a:pt x="11006" y="10047"/>
                  </a:moveTo>
                  <a:lnTo>
                    <a:pt x="11006" y="10172"/>
                  </a:lnTo>
                  <a:lnTo>
                    <a:pt x="11109" y="10172"/>
                  </a:lnTo>
                  <a:lnTo>
                    <a:pt x="11006" y="10047"/>
                  </a:lnTo>
                  <a:close/>
                  <a:moveTo>
                    <a:pt x="14709" y="0"/>
                  </a:moveTo>
                  <a:lnTo>
                    <a:pt x="15840" y="0"/>
                  </a:lnTo>
                  <a:lnTo>
                    <a:pt x="15840" y="63"/>
                  </a:lnTo>
                  <a:lnTo>
                    <a:pt x="15634" y="63"/>
                  </a:lnTo>
                  <a:lnTo>
                    <a:pt x="15634" y="188"/>
                  </a:lnTo>
                  <a:lnTo>
                    <a:pt x="16149" y="188"/>
                  </a:lnTo>
                  <a:lnTo>
                    <a:pt x="16354" y="314"/>
                  </a:lnTo>
                  <a:lnTo>
                    <a:pt x="16560" y="314"/>
                  </a:lnTo>
                  <a:lnTo>
                    <a:pt x="16560" y="440"/>
                  </a:lnTo>
                  <a:lnTo>
                    <a:pt x="16869" y="440"/>
                  </a:lnTo>
                  <a:lnTo>
                    <a:pt x="16869" y="502"/>
                  </a:lnTo>
                  <a:lnTo>
                    <a:pt x="17074" y="502"/>
                  </a:lnTo>
                  <a:lnTo>
                    <a:pt x="17074" y="628"/>
                  </a:lnTo>
                  <a:lnTo>
                    <a:pt x="17486" y="628"/>
                  </a:lnTo>
                  <a:lnTo>
                    <a:pt x="17486" y="753"/>
                  </a:lnTo>
                  <a:lnTo>
                    <a:pt x="17794" y="753"/>
                  </a:lnTo>
                  <a:lnTo>
                    <a:pt x="17794" y="879"/>
                  </a:lnTo>
                  <a:lnTo>
                    <a:pt x="18206" y="879"/>
                  </a:lnTo>
                  <a:lnTo>
                    <a:pt x="18206" y="942"/>
                  </a:lnTo>
                  <a:lnTo>
                    <a:pt x="18309" y="942"/>
                  </a:lnTo>
                  <a:lnTo>
                    <a:pt x="18514" y="1067"/>
                  </a:lnTo>
                  <a:lnTo>
                    <a:pt x="18926" y="1067"/>
                  </a:lnTo>
                  <a:lnTo>
                    <a:pt x="18926" y="1193"/>
                  </a:lnTo>
                  <a:lnTo>
                    <a:pt x="19029" y="1193"/>
                  </a:lnTo>
                  <a:lnTo>
                    <a:pt x="19029" y="1319"/>
                  </a:lnTo>
                  <a:lnTo>
                    <a:pt x="19440" y="1319"/>
                  </a:lnTo>
                  <a:lnTo>
                    <a:pt x="19440" y="1381"/>
                  </a:lnTo>
                  <a:lnTo>
                    <a:pt x="19646" y="1507"/>
                  </a:lnTo>
                  <a:lnTo>
                    <a:pt x="19954" y="1507"/>
                  </a:lnTo>
                  <a:lnTo>
                    <a:pt x="19954" y="1633"/>
                  </a:lnTo>
                  <a:lnTo>
                    <a:pt x="20160" y="1633"/>
                  </a:lnTo>
                  <a:lnTo>
                    <a:pt x="20160" y="1758"/>
                  </a:lnTo>
                  <a:lnTo>
                    <a:pt x="20366" y="1758"/>
                  </a:lnTo>
                  <a:lnTo>
                    <a:pt x="20366" y="1821"/>
                  </a:lnTo>
                  <a:lnTo>
                    <a:pt x="20469" y="1821"/>
                  </a:lnTo>
                  <a:lnTo>
                    <a:pt x="20674" y="1947"/>
                  </a:lnTo>
                  <a:lnTo>
                    <a:pt x="20674" y="2072"/>
                  </a:lnTo>
                  <a:lnTo>
                    <a:pt x="20469" y="2072"/>
                  </a:lnTo>
                  <a:lnTo>
                    <a:pt x="20469" y="2512"/>
                  </a:lnTo>
                  <a:lnTo>
                    <a:pt x="20366" y="2512"/>
                  </a:lnTo>
                  <a:lnTo>
                    <a:pt x="20366" y="2826"/>
                  </a:lnTo>
                  <a:lnTo>
                    <a:pt x="20674" y="2826"/>
                  </a:lnTo>
                  <a:lnTo>
                    <a:pt x="20674" y="2951"/>
                  </a:lnTo>
                  <a:lnTo>
                    <a:pt x="20880" y="2951"/>
                  </a:lnTo>
                  <a:lnTo>
                    <a:pt x="20880" y="3140"/>
                  </a:lnTo>
                  <a:lnTo>
                    <a:pt x="20674" y="3140"/>
                  </a:lnTo>
                  <a:lnTo>
                    <a:pt x="20469" y="3265"/>
                  </a:lnTo>
                  <a:lnTo>
                    <a:pt x="20469" y="3516"/>
                  </a:lnTo>
                  <a:lnTo>
                    <a:pt x="20880" y="3516"/>
                  </a:lnTo>
                  <a:lnTo>
                    <a:pt x="20880" y="3705"/>
                  </a:lnTo>
                  <a:lnTo>
                    <a:pt x="20983" y="3705"/>
                  </a:lnTo>
                  <a:lnTo>
                    <a:pt x="20983" y="3830"/>
                  </a:lnTo>
                  <a:lnTo>
                    <a:pt x="21189" y="3830"/>
                  </a:lnTo>
                  <a:lnTo>
                    <a:pt x="21189" y="3956"/>
                  </a:lnTo>
                  <a:lnTo>
                    <a:pt x="20983" y="4019"/>
                  </a:lnTo>
                  <a:lnTo>
                    <a:pt x="20983" y="4270"/>
                  </a:lnTo>
                  <a:lnTo>
                    <a:pt x="20880" y="4270"/>
                  </a:lnTo>
                  <a:lnTo>
                    <a:pt x="20880" y="4458"/>
                  </a:lnTo>
                  <a:lnTo>
                    <a:pt x="20674" y="4458"/>
                  </a:lnTo>
                  <a:lnTo>
                    <a:pt x="20674" y="4709"/>
                  </a:lnTo>
                  <a:lnTo>
                    <a:pt x="20880" y="4709"/>
                  </a:lnTo>
                  <a:lnTo>
                    <a:pt x="20880" y="4898"/>
                  </a:lnTo>
                  <a:lnTo>
                    <a:pt x="20983" y="5023"/>
                  </a:lnTo>
                  <a:lnTo>
                    <a:pt x="21189" y="5023"/>
                  </a:lnTo>
                  <a:lnTo>
                    <a:pt x="21189" y="5337"/>
                  </a:lnTo>
                  <a:lnTo>
                    <a:pt x="21394" y="5337"/>
                  </a:lnTo>
                  <a:lnTo>
                    <a:pt x="21394" y="5463"/>
                  </a:lnTo>
                  <a:lnTo>
                    <a:pt x="21600" y="5463"/>
                  </a:lnTo>
                  <a:lnTo>
                    <a:pt x="21600" y="5588"/>
                  </a:lnTo>
                  <a:lnTo>
                    <a:pt x="20366" y="5588"/>
                  </a:lnTo>
                  <a:lnTo>
                    <a:pt x="20160" y="5463"/>
                  </a:lnTo>
                  <a:lnTo>
                    <a:pt x="19954" y="5463"/>
                  </a:lnTo>
                  <a:lnTo>
                    <a:pt x="19954" y="5588"/>
                  </a:lnTo>
                  <a:lnTo>
                    <a:pt x="19749" y="5651"/>
                  </a:lnTo>
                  <a:lnTo>
                    <a:pt x="19646" y="5651"/>
                  </a:lnTo>
                  <a:lnTo>
                    <a:pt x="19646" y="5588"/>
                  </a:lnTo>
                  <a:lnTo>
                    <a:pt x="19440" y="5588"/>
                  </a:lnTo>
                  <a:lnTo>
                    <a:pt x="19234" y="5463"/>
                  </a:lnTo>
                  <a:lnTo>
                    <a:pt x="19029" y="5588"/>
                  </a:lnTo>
                  <a:lnTo>
                    <a:pt x="18514" y="5588"/>
                  </a:lnTo>
                  <a:lnTo>
                    <a:pt x="18514" y="5777"/>
                  </a:lnTo>
                  <a:lnTo>
                    <a:pt x="18720" y="5777"/>
                  </a:lnTo>
                  <a:lnTo>
                    <a:pt x="18720" y="5902"/>
                  </a:lnTo>
                  <a:lnTo>
                    <a:pt x="18514" y="6028"/>
                  </a:lnTo>
                  <a:lnTo>
                    <a:pt x="18309" y="5902"/>
                  </a:lnTo>
                  <a:lnTo>
                    <a:pt x="18000" y="5902"/>
                  </a:lnTo>
                  <a:lnTo>
                    <a:pt x="17794" y="6028"/>
                  </a:lnTo>
                  <a:lnTo>
                    <a:pt x="17589" y="6028"/>
                  </a:lnTo>
                  <a:lnTo>
                    <a:pt x="17589" y="6091"/>
                  </a:lnTo>
                  <a:lnTo>
                    <a:pt x="17486" y="6091"/>
                  </a:lnTo>
                  <a:lnTo>
                    <a:pt x="17486" y="6216"/>
                  </a:lnTo>
                  <a:lnTo>
                    <a:pt x="17074" y="6216"/>
                  </a:lnTo>
                  <a:lnTo>
                    <a:pt x="17074" y="6342"/>
                  </a:lnTo>
                  <a:lnTo>
                    <a:pt x="17486" y="6342"/>
                  </a:lnTo>
                  <a:lnTo>
                    <a:pt x="17486" y="6467"/>
                  </a:lnTo>
                  <a:lnTo>
                    <a:pt x="17280" y="6467"/>
                  </a:lnTo>
                  <a:lnTo>
                    <a:pt x="17280" y="6781"/>
                  </a:lnTo>
                  <a:lnTo>
                    <a:pt x="17074" y="6907"/>
                  </a:lnTo>
                  <a:lnTo>
                    <a:pt x="16766" y="6907"/>
                  </a:lnTo>
                  <a:lnTo>
                    <a:pt x="16766" y="6970"/>
                  </a:lnTo>
                  <a:lnTo>
                    <a:pt x="16560" y="7095"/>
                  </a:lnTo>
                  <a:lnTo>
                    <a:pt x="16354" y="7095"/>
                  </a:lnTo>
                  <a:lnTo>
                    <a:pt x="16354" y="7221"/>
                  </a:lnTo>
                  <a:lnTo>
                    <a:pt x="16560" y="7221"/>
                  </a:lnTo>
                  <a:lnTo>
                    <a:pt x="16766" y="7347"/>
                  </a:lnTo>
                  <a:lnTo>
                    <a:pt x="16869" y="7347"/>
                  </a:lnTo>
                  <a:lnTo>
                    <a:pt x="16869" y="7409"/>
                  </a:lnTo>
                  <a:lnTo>
                    <a:pt x="16766" y="7409"/>
                  </a:lnTo>
                  <a:lnTo>
                    <a:pt x="16766" y="7535"/>
                  </a:lnTo>
                  <a:lnTo>
                    <a:pt x="17074" y="7535"/>
                  </a:lnTo>
                  <a:lnTo>
                    <a:pt x="17280" y="7660"/>
                  </a:lnTo>
                  <a:lnTo>
                    <a:pt x="17074" y="7660"/>
                  </a:lnTo>
                  <a:lnTo>
                    <a:pt x="17074" y="7786"/>
                  </a:lnTo>
                  <a:lnTo>
                    <a:pt x="17486" y="7786"/>
                  </a:lnTo>
                  <a:lnTo>
                    <a:pt x="17486" y="7849"/>
                  </a:lnTo>
                  <a:lnTo>
                    <a:pt x="17074" y="7849"/>
                  </a:lnTo>
                  <a:lnTo>
                    <a:pt x="17074" y="7974"/>
                  </a:lnTo>
                  <a:lnTo>
                    <a:pt x="16869" y="7974"/>
                  </a:lnTo>
                  <a:lnTo>
                    <a:pt x="16149" y="8414"/>
                  </a:lnTo>
                  <a:lnTo>
                    <a:pt x="16149" y="8540"/>
                  </a:lnTo>
                  <a:lnTo>
                    <a:pt x="15840" y="8728"/>
                  </a:lnTo>
                  <a:lnTo>
                    <a:pt x="15634" y="8979"/>
                  </a:lnTo>
                  <a:lnTo>
                    <a:pt x="15120" y="8979"/>
                  </a:lnTo>
                  <a:lnTo>
                    <a:pt x="14914" y="9105"/>
                  </a:lnTo>
                  <a:lnTo>
                    <a:pt x="14709" y="9105"/>
                  </a:lnTo>
                  <a:lnTo>
                    <a:pt x="14709" y="9167"/>
                  </a:lnTo>
                  <a:lnTo>
                    <a:pt x="14400" y="9167"/>
                  </a:lnTo>
                  <a:lnTo>
                    <a:pt x="14400" y="9419"/>
                  </a:lnTo>
                  <a:lnTo>
                    <a:pt x="13989" y="9419"/>
                  </a:lnTo>
                  <a:lnTo>
                    <a:pt x="13989" y="9293"/>
                  </a:lnTo>
                  <a:lnTo>
                    <a:pt x="13886" y="9293"/>
                  </a:lnTo>
                  <a:lnTo>
                    <a:pt x="13886" y="9419"/>
                  </a:lnTo>
                  <a:lnTo>
                    <a:pt x="13474" y="9419"/>
                  </a:lnTo>
                  <a:lnTo>
                    <a:pt x="13474" y="9544"/>
                  </a:lnTo>
                  <a:lnTo>
                    <a:pt x="13269" y="9544"/>
                  </a:lnTo>
                  <a:lnTo>
                    <a:pt x="13269" y="9607"/>
                  </a:lnTo>
                  <a:lnTo>
                    <a:pt x="13166" y="9607"/>
                  </a:lnTo>
                  <a:lnTo>
                    <a:pt x="13166" y="9733"/>
                  </a:lnTo>
                  <a:lnTo>
                    <a:pt x="12754" y="9733"/>
                  </a:lnTo>
                  <a:lnTo>
                    <a:pt x="12754" y="9858"/>
                  </a:lnTo>
                  <a:lnTo>
                    <a:pt x="12446" y="9858"/>
                  </a:lnTo>
                  <a:lnTo>
                    <a:pt x="12446" y="9984"/>
                  </a:lnTo>
                  <a:lnTo>
                    <a:pt x="12240" y="9984"/>
                  </a:lnTo>
                  <a:lnTo>
                    <a:pt x="12034" y="10047"/>
                  </a:lnTo>
                  <a:lnTo>
                    <a:pt x="11829" y="10047"/>
                  </a:lnTo>
                  <a:lnTo>
                    <a:pt x="11829" y="10172"/>
                  </a:lnTo>
                  <a:lnTo>
                    <a:pt x="11726" y="10298"/>
                  </a:lnTo>
                  <a:lnTo>
                    <a:pt x="11726" y="10423"/>
                  </a:lnTo>
                  <a:lnTo>
                    <a:pt x="11520" y="10486"/>
                  </a:lnTo>
                  <a:lnTo>
                    <a:pt x="11520" y="10423"/>
                  </a:lnTo>
                  <a:lnTo>
                    <a:pt x="11314" y="10423"/>
                  </a:lnTo>
                  <a:lnTo>
                    <a:pt x="11109" y="10298"/>
                  </a:lnTo>
                  <a:lnTo>
                    <a:pt x="11109" y="10423"/>
                  </a:lnTo>
                  <a:lnTo>
                    <a:pt x="11314" y="10423"/>
                  </a:lnTo>
                  <a:lnTo>
                    <a:pt x="11314" y="10486"/>
                  </a:lnTo>
                  <a:lnTo>
                    <a:pt x="11109" y="10612"/>
                  </a:lnTo>
                  <a:lnTo>
                    <a:pt x="11109" y="10800"/>
                  </a:lnTo>
                  <a:lnTo>
                    <a:pt x="11006" y="10926"/>
                  </a:lnTo>
                  <a:lnTo>
                    <a:pt x="10491" y="10926"/>
                  </a:lnTo>
                  <a:lnTo>
                    <a:pt x="10491" y="11177"/>
                  </a:lnTo>
                  <a:lnTo>
                    <a:pt x="10594" y="11177"/>
                  </a:lnTo>
                  <a:lnTo>
                    <a:pt x="10594" y="11491"/>
                  </a:lnTo>
                  <a:lnTo>
                    <a:pt x="10491" y="11491"/>
                  </a:lnTo>
                  <a:lnTo>
                    <a:pt x="10491" y="11679"/>
                  </a:lnTo>
                  <a:lnTo>
                    <a:pt x="10286" y="11679"/>
                  </a:lnTo>
                  <a:lnTo>
                    <a:pt x="10286" y="11930"/>
                  </a:lnTo>
                  <a:lnTo>
                    <a:pt x="10491" y="12056"/>
                  </a:lnTo>
                  <a:lnTo>
                    <a:pt x="10491" y="12119"/>
                  </a:lnTo>
                  <a:lnTo>
                    <a:pt x="9874" y="12119"/>
                  </a:lnTo>
                  <a:lnTo>
                    <a:pt x="9874" y="12244"/>
                  </a:lnTo>
                  <a:lnTo>
                    <a:pt x="10080" y="12244"/>
                  </a:lnTo>
                  <a:lnTo>
                    <a:pt x="10080" y="12370"/>
                  </a:lnTo>
                  <a:lnTo>
                    <a:pt x="9874" y="12370"/>
                  </a:lnTo>
                  <a:lnTo>
                    <a:pt x="9874" y="12684"/>
                  </a:lnTo>
                  <a:lnTo>
                    <a:pt x="10080" y="12684"/>
                  </a:lnTo>
                  <a:lnTo>
                    <a:pt x="10080" y="12809"/>
                  </a:lnTo>
                  <a:lnTo>
                    <a:pt x="9874" y="12809"/>
                  </a:lnTo>
                  <a:lnTo>
                    <a:pt x="9874" y="13249"/>
                  </a:lnTo>
                  <a:lnTo>
                    <a:pt x="10080" y="13249"/>
                  </a:lnTo>
                  <a:lnTo>
                    <a:pt x="10080" y="13437"/>
                  </a:lnTo>
                  <a:lnTo>
                    <a:pt x="10286" y="13437"/>
                  </a:lnTo>
                  <a:lnTo>
                    <a:pt x="10286" y="13688"/>
                  </a:lnTo>
                  <a:lnTo>
                    <a:pt x="10491" y="13688"/>
                  </a:lnTo>
                  <a:lnTo>
                    <a:pt x="10491" y="13814"/>
                  </a:lnTo>
                  <a:lnTo>
                    <a:pt x="10594" y="13814"/>
                  </a:lnTo>
                  <a:lnTo>
                    <a:pt x="10800" y="13877"/>
                  </a:lnTo>
                  <a:lnTo>
                    <a:pt x="11006" y="13877"/>
                  </a:lnTo>
                  <a:lnTo>
                    <a:pt x="11109" y="13814"/>
                  </a:lnTo>
                  <a:lnTo>
                    <a:pt x="11314" y="13814"/>
                  </a:lnTo>
                  <a:lnTo>
                    <a:pt x="11520" y="13877"/>
                  </a:lnTo>
                  <a:lnTo>
                    <a:pt x="11520" y="14002"/>
                  </a:lnTo>
                  <a:lnTo>
                    <a:pt x="11726" y="14128"/>
                  </a:lnTo>
                  <a:lnTo>
                    <a:pt x="12034" y="14128"/>
                  </a:lnTo>
                  <a:lnTo>
                    <a:pt x="12240" y="14253"/>
                  </a:lnTo>
                  <a:lnTo>
                    <a:pt x="12240" y="14442"/>
                  </a:lnTo>
                  <a:lnTo>
                    <a:pt x="12446" y="14567"/>
                  </a:lnTo>
                  <a:lnTo>
                    <a:pt x="12754" y="14567"/>
                  </a:lnTo>
                  <a:lnTo>
                    <a:pt x="12754" y="14693"/>
                  </a:lnTo>
                  <a:lnTo>
                    <a:pt x="12960" y="14693"/>
                  </a:lnTo>
                  <a:lnTo>
                    <a:pt x="12960" y="14881"/>
                  </a:lnTo>
                  <a:lnTo>
                    <a:pt x="13166" y="15007"/>
                  </a:lnTo>
                  <a:lnTo>
                    <a:pt x="13166" y="15133"/>
                  </a:lnTo>
                  <a:lnTo>
                    <a:pt x="12754" y="15133"/>
                  </a:lnTo>
                  <a:lnTo>
                    <a:pt x="12754" y="15195"/>
                  </a:lnTo>
                  <a:lnTo>
                    <a:pt x="12446" y="15195"/>
                  </a:lnTo>
                  <a:lnTo>
                    <a:pt x="12446" y="15321"/>
                  </a:lnTo>
                  <a:lnTo>
                    <a:pt x="12240" y="15321"/>
                  </a:lnTo>
                  <a:lnTo>
                    <a:pt x="12034" y="15447"/>
                  </a:lnTo>
                  <a:lnTo>
                    <a:pt x="11829" y="15447"/>
                  </a:lnTo>
                  <a:lnTo>
                    <a:pt x="11829" y="15635"/>
                  </a:lnTo>
                  <a:lnTo>
                    <a:pt x="12034" y="15635"/>
                  </a:lnTo>
                  <a:lnTo>
                    <a:pt x="12034" y="15572"/>
                  </a:lnTo>
                  <a:lnTo>
                    <a:pt x="12240" y="15635"/>
                  </a:lnTo>
                  <a:lnTo>
                    <a:pt x="12446" y="15635"/>
                  </a:lnTo>
                  <a:lnTo>
                    <a:pt x="12446" y="15886"/>
                  </a:lnTo>
                  <a:lnTo>
                    <a:pt x="12240" y="15886"/>
                  </a:lnTo>
                  <a:lnTo>
                    <a:pt x="12034" y="15760"/>
                  </a:lnTo>
                  <a:lnTo>
                    <a:pt x="12034" y="16074"/>
                  </a:lnTo>
                  <a:lnTo>
                    <a:pt x="11726" y="16074"/>
                  </a:lnTo>
                  <a:lnTo>
                    <a:pt x="11726" y="16200"/>
                  </a:lnTo>
                  <a:lnTo>
                    <a:pt x="11520" y="16200"/>
                  </a:lnTo>
                  <a:lnTo>
                    <a:pt x="11520" y="16326"/>
                  </a:lnTo>
                  <a:lnTo>
                    <a:pt x="11314" y="16326"/>
                  </a:lnTo>
                  <a:lnTo>
                    <a:pt x="11314" y="16451"/>
                  </a:lnTo>
                  <a:lnTo>
                    <a:pt x="11109" y="16514"/>
                  </a:lnTo>
                  <a:lnTo>
                    <a:pt x="11109" y="16451"/>
                  </a:lnTo>
                  <a:lnTo>
                    <a:pt x="11006" y="16451"/>
                  </a:lnTo>
                  <a:lnTo>
                    <a:pt x="11006" y="16326"/>
                  </a:lnTo>
                  <a:lnTo>
                    <a:pt x="10800" y="16326"/>
                  </a:lnTo>
                  <a:lnTo>
                    <a:pt x="10594" y="16451"/>
                  </a:lnTo>
                  <a:lnTo>
                    <a:pt x="10594" y="16514"/>
                  </a:lnTo>
                  <a:lnTo>
                    <a:pt x="10491" y="16514"/>
                  </a:lnTo>
                  <a:lnTo>
                    <a:pt x="10491" y="16640"/>
                  </a:lnTo>
                  <a:lnTo>
                    <a:pt x="9874" y="16640"/>
                  </a:lnTo>
                  <a:lnTo>
                    <a:pt x="9771" y="16765"/>
                  </a:lnTo>
                  <a:lnTo>
                    <a:pt x="9154" y="16765"/>
                  </a:lnTo>
                  <a:lnTo>
                    <a:pt x="9154" y="16828"/>
                  </a:lnTo>
                  <a:lnTo>
                    <a:pt x="9566" y="16828"/>
                  </a:lnTo>
                  <a:lnTo>
                    <a:pt x="9771" y="16953"/>
                  </a:lnTo>
                  <a:lnTo>
                    <a:pt x="9566" y="17079"/>
                  </a:lnTo>
                  <a:lnTo>
                    <a:pt x="9154" y="17079"/>
                  </a:lnTo>
                  <a:lnTo>
                    <a:pt x="9051" y="16953"/>
                  </a:lnTo>
                  <a:lnTo>
                    <a:pt x="9051" y="17079"/>
                  </a:lnTo>
                  <a:lnTo>
                    <a:pt x="9154" y="17079"/>
                  </a:lnTo>
                  <a:lnTo>
                    <a:pt x="9360" y="17205"/>
                  </a:lnTo>
                  <a:lnTo>
                    <a:pt x="9360" y="17267"/>
                  </a:lnTo>
                  <a:lnTo>
                    <a:pt x="9566" y="17267"/>
                  </a:lnTo>
                  <a:lnTo>
                    <a:pt x="9566" y="17393"/>
                  </a:lnTo>
                  <a:lnTo>
                    <a:pt x="9360" y="17519"/>
                  </a:lnTo>
                  <a:lnTo>
                    <a:pt x="9360" y="17644"/>
                  </a:lnTo>
                  <a:lnTo>
                    <a:pt x="9154" y="17644"/>
                  </a:lnTo>
                  <a:lnTo>
                    <a:pt x="9154" y="17707"/>
                  </a:lnTo>
                  <a:lnTo>
                    <a:pt x="9360" y="17707"/>
                  </a:lnTo>
                  <a:lnTo>
                    <a:pt x="9360" y="17833"/>
                  </a:lnTo>
                  <a:lnTo>
                    <a:pt x="9051" y="17833"/>
                  </a:lnTo>
                  <a:lnTo>
                    <a:pt x="9051" y="17958"/>
                  </a:lnTo>
                  <a:lnTo>
                    <a:pt x="9154" y="17958"/>
                  </a:lnTo>
                  <a:lnTo>
                    <a:pt x="9154" y="18147"/>
                  </a:lnTo>
                  <a:lnTo>
                    <a:pt x="9051" y="18147"/>
                  </a:lnTo>
                  <a:lnTo>
                    <a:pt x="9051" y="18272"/>
                  </a:lnTo>
                  <a:lnTo>
                    <a:pt x="9154" y="18398"/>
                  </a:lnTo>
                  <a:lnTo>
                    <a:pt x="9154" y="18523"/>
                  </a:lnTo>
                  <a:lnTo>
                    <a:pt x="9051" y="18586"/>
                  </a:lnTo>
                  <a:lnTo>
                    <a:pt x="8846" y="18586"/>
                  </a:lnTo>
                  <a:lnTo>
                    <a:pt x="8846" y="18837"/>
                  </a:lnTo>
                  <a:lnTo>
                    <a:pt x="9051" y="18963"/>
                  </a:lnTo>
                  <a:lnTo>
                    <a:pt x="9051" y="19026"/>
                  </a:lnTo>
                  <a:lnTo>
                    <a:pt x="8846" y="19026"/>
                  </a:lnTo>
                  <a:lnTo>
                    <a:pt x="8846" y="19465"/>
                  </a:lnTo>
                  <a:lnTo>
                    <a:pt x="8640" y="19591"/>
                  </a:lnTo>
                  <a:lnTo>
                    <a:pt x="8640" y="19716"/>
                  </a:lnTo>
                  <a:lnTo>
                    <a:pt x="8331" y="19905"/>
                  </a:lnTo>
                  <a:lnTo>
                    <a:pt x="8126" y="20156"/>
                  </a:lnTo>
                  <a:lnTo>
                    <a:pt x="8126" y="20281"/>
                  </a:lnTo>
                  <a:lnTo>
                    <a:pt x="7714" y="20470"/>
                  </a:lnTo>
                  <a:lnTo>
                    <a:pt x="7714" y="20344"/>
                  </a:lnTo>
                  <a:lnTo>
                    <a:pt x="7611" y="20344"/>
                  </a:lnTo>
                  <a:lnTo>
                    <a:pt x="7611" y="20281"/>
                  </a:lnTo>
                  <a:lnTo>
                    <a:pt x="6994" y="20281"/>
                  </a:lnTo>
                  <a:lnTo>
                    <a:pt x="6994" y="20344"/>
                  </a:lnTo>
                  <a:lnTo>
                    <a:pt x="6686" y="20344"/>
                  </a:lnTo>
                  <a:lnTo>
                    <a:pt x="6274" y="20470"/>
                  </a:lnTo>
                  <a:lnTo>
                    <a:pt x="6171" y="20470"/>
                  </a:lnTo>
                  <a:lnTo>
                    <a:pt x="6171" y="20344"/>
                  </a:lnTo>
                  <a:lnTo>
                    <a:pt x="5966" y="20344"/>
                  </a:lnTo>
                  <a:lnTo>
                    <a:pt x="5966" y="20470"/>
                  </a:lnTo>
                  <a:lnTo>
                    <a:pt x="5554" y="20470"/>
                  </a:lnTo>
                  <a:lnTo>
                    <a:pt x="5451" y="20595"/>
                  </a:lnTo>
                  <a:lnTo>
                    <a:pt x="5451" y="20721"/>
                  </a:lnTo>
                  <a:lnTo>
                    <a:pt x="5246" y="20721"/>
                  </a:lnTo>
                  <a:lnTo>
                    <a:pt x="5246" y="21035"/>
                  </a:lnTo>
                  <a:lnTo>
                    <a:pt x="5451" y="21160"/>
                  </a:lnTo>
                  <a:lnTo>
                    <a:pt x="5451" y="21223"/>
                  </a:lnTo>
                  <a:lnTo>
                    <a:pt x="5246" y="21223"/>
                  </a:lnTo>
                  <a:lnTo>
                    <a:pt x="5246" y="21474"/>
                  </a:lnTo>
                  <a:lnTo>
                    <a:pt x="4320" y="21474"/>
                  </a:lnTo>
                  <a:lnTo>
                    <a:pt x="4114" y="21600"/>
                  </a:lnTo>
                  <a:lnTo>
                    <a:pt x="3600" y="21600"/>
                  </a:lnTo>
                  <a:lnTo>
                    <a:pt x="3600" y="21474"/>
                  </a:lnTo>
                  <a:lnTo>
                    <a:pt x="2880" y="21474"/>
                  </a:lnTo>
                  <a:lnTo>
                    <a:pt x="2880" y="21349"/>
                  </a:lnTo>
                  <a:lnTo>
                    <a:pt x="3086" y="21349"/>
                  </a:lnTo>
                  <a:lnTo>
                    <a:pt x="3086" y="21160"/>
                  </a:lnTo>
                  <a:lnTo>
                    <a:pt x="3291" y="21035"/>
                  </a:lnTo>
                  <a:lnTo>
                    <a:pt x="3086" y="21035"/>
                  </a:lnTo>
                  <a:lnTo>
                    <a:pt x="3086" y="20909"/>
                  </a:lnTo>
                  <a:lnTo>
                    <a:pt x="2880" y="20909"/>
                  </a:lnTo>
                  <a:lnTo>
                    <a:pt x="2880" y="20721"/>
                  </a:lnTo>
                  <a:lnTo>
                    <a:pt x="2674" y="20721"/>
                  </a:lnTo>
                  <a:lnTo>
                    <a:pt x="2674" y="20595"/>
                  </a:lnTo>
                  <a:lnTo>
                    <a:pt x="2571" y="20595"/>
                  </a:lnTo>
                  <a:lnTo>
                    <a:pt x="2571" y="20281"/>
                  </a:lnTo>
                  <a:lnTo>
                    <a:pt x="2366" y="20281"/>
                  </a:lnTo>
                  <a:lnTo>
                    <a:pt x="2366" y="20156"/>
                  </a:lnTo>
                  <a:lnTo>
                    <a:pt x="2674" y="20156"/>
                  </a:lnTo>
                  <a:lnTo>
                    <a:pt x="2674" y="20030"/>
                  </a:lnTo>
                  <a:lnTo>
                    <a:pt x="2571" y="20030"/>
                  </a:lnTo>
                  <a:lnTo>
                    <a:pt x="2571" y="19905"/>
                  </a:lnTo>
                  <a:lnTo>
                    <a:pt x="2880" y="19905"/>
                  </a:lnTo>
                  <a:lnTo>
                    <a:pt x="2880" y="19716"/>
                  </a:lnTo>
                  <a:lnTo>
                    <a:pt x="2674" y="19716"/>
                  </a:lnTo>
                  <a:lnTo>
                    <a:pt x="2674" y="19591"/>
                  </a:lnTo>
                  <a:lnTo>
                    <a:pt x="2571" y="19591"/>
                  </a:lnTo>
                  <a:lnTo>
                    <a:pt x="2571" y="19465"/>
                  </a:lnTo>
                  <a:lnTo>
                    <a:pt x="2366" y="19465"/>
                  </a:lnTo>
                  <a:lnTo>
                    <a:pt x="2366" y="19402"/>
                  </a:lnTo>
                  <a:lnTo>
                    <a:pt x="2160" y="19277"/>
                  </a:lnTo>
                  <a:lnTo>
                    <a:pt x="1954" y="19277"/>
                  </a:lnTo>
                  <a:lnTo>
                    <a:pt x="1954" y="19026"/>
                  </a:lnTo>
                  <a:lnTo>
                    <a:pt x="1851" y="18963"/>
                  </a:lnTo>
                  <a:lnTo>
                    <a:pt x="1646" y="18963"/>
                  </a:lnTo>
                  <a:lnTo>
                    <a:pt x="1646" y="18712"/>
                  </a:lnTo>
                  <a:lnTo>
                    <a:pt x="1440" y="18712"/>
                  </a:lnTo>
                  <a:lnTo>
                    <a:pt x="1440" y="18586"/>
                  </a:lnTo>
                  <a:lnTo>
                    <a:pt x="1234" y="18586"/>
                  </a:lnTo>
                  <a:lnTo>
                    <a:pt x="1234" y="18272"/>
                  </a:lnTo>
                  <a:lnTo>
                    <a:pt x="1131" y="18147"/>
                  </a:lnTo>
                  <a:lnTo>
                    <a:pt x="1131" y="17519"/>
                  </a:lnTo>
                  <a:lnTo>
                    <a:pt x="1234" y="17393"/>
                  </a:lnTo>
                  <a:lnTo>
                    <a:pt x="1131" y="17393"/>
                  </a:lnTo>
                  <a:lnTo>
                    <a:pt x="1131" y="17519"/>
                  </a:lnTo>
                  <a:lnTo>
                    <a:pt x="617" y="17519"/>
                  </a:lnTo>
                  <a:lnTo>
                    <a:pt x="617" y="17393"/>
                  </a:lnTo>
                  <a:lnTo>
                    <a:pt x="720" y="17267"/>
                  </a:lnTo>
                  <a:lnTo>
                    <a:pt x="617" y="17267"/>
                  </a:lnTo>
                  <a:lnTo>
                    <a:pt x="617" y="17205"/>
                  </a:lnTo>
                  <a:lnTo>
                    <a:pt x="411" y="17205"/>
                  </a:lnTo>
                  <a:lnTo>
                    <a:pt x="206" y="17079"/>
                  </a:lnTo>
                  <a:lnTo>
                    <a:pt x="206" y="16640"/>
                  </a:lnTo>
                  <a:lnTo>
                    <a:pt x="0" y="16640"/>
                  </a:lnTo>
                  <a:lnTo>
                    <a:pt x="0" y="16074"/>
                  </a:lnTo>
                  <a:lnTo>
                    <a:pt x="206" y="16074"/>
                  </a:lnTo>
                  <a:lnTo>
                    <a:pt x="206" y="16012"/>
                  </a:lnTo>
                  <a:lnTo>
                    <a:pt x="411" y="16074"/>
                  </a:lnTo>
                  <a:lnTo>
                    <a:pt x="411" y="16200"/>
                  </a:lnTo>
                  <a:lnTo>
                    <a:pt x="617" y="16200"/>
                  </a:lnTo>
                  <a:lnTo>
                    <a:pt x="617" y="16326"/>
                  </a:lnTo>
                  <a:lnTo>
                    <a:pt x="720" y="16326"/>
                  </a:lnTo>
                  <a:lnTo>
                    <a:pt x="720" y="16451"/>
                  </a:lnTo>
                  <a:lnTo>
                    <a:pt x="926" y="16326"/>
                  </a:lnTo>
                  <a:lnTo>
                    <a:pt x="926" y="16200"/>
                  </a:lnTo>
                  <a:lnTo>
                    <a:pt x="1131" y="16200"/>
                  </a:lnTo>
                  <a:lnTo>
                    <a:pt x="1131" y="15886"/>
                  </a:lnTo>
                  <a:lnTo>
                    <a:pt x="1234" y="15886"/>
                  </a:lnTo>
                  <a:lnTo>
                    <a:pt x="1234" y="15635"/>
                  </a:lnTo>
                  <a:lnTo>
                    <a:pt x="1131" y="15635"/>
                  </a:lnTo>
                  <a:lnTo>
                    <a:pt x="1131" y="15447"/>
                  </a:lnTo>
                  <a:lnTo>
                    <a:pt x="926" y="15321"/>
                  </a:lnTo>
                  <a:lnTo>
                    <a:pt x="926" y="15195"/>
                  </a:lnTo>
                  <a:lnTo>
                    <a:pt x="1131" y="15133"/>
                  </a:lnTo>
                  <a:lnTo>
                    <a:pt x="1234" y="15133"/>
                  </a:lnTo>
                  <a:lnTo>
                    <a:pt x="1234" y="15007"/>
                  </a:lnTo>
                  <a:lnTo>
                    <a:pt x="1131" y="15007"/>
                  </a:lnTo>
                  <a:lnTo>
                    <a:pt x="1131" y="14881"/>
                  </a:lnTo>
                  <a:lnTo>
                    <a:pt x="1234" y="14756"/>
                  </a:lnTo>
                  <a:lnTo>
                    <a:pt x="1440" y="14881"/>
                  </a:lnTo>
                  <a:lnTo>
                    <a:pt x="1851" y="14881"/>
                  </a:lnTo>
                  <a:lnTo>
                    <a:pt x="1851" y="14756"/>
                  </a:lnTo>
                  <a:lnTo>
                    <a:pt x="1954" y="14756"/>
                  </a:lnTo>
                  <a:lnTo>
                    <a:pt x="2160" y="14693"/>
                  </a:lnTo>
                  <a:lnTo>
                    <a:pt x="2160" y="14442"/>
                  </a:lnTo>
                  <a:lnTo>
                    <a:pt x="2366" y="14253"/>
                  </a:lnTo>
                  <a:lnTo>
                    <a:pt x="2366" y="14002"/>
                  </a:lnTo>
                  <a:lnTo>
                    <a:pt x="2571" y="14002"/>
                  </a:lnTo>
                  <a:lnTo>
                    <a:pt x="2571" y="13688"/>
                  </a:lnTo>
                  <a:lnTo>
                    <a:pt x="2160" y="13688"/>
                  </a:lnTo>
                  <a:lnTo>
                    <a:pt x="2160" y="13563"/>
                  </a:lnTo>
                  <a:lnTo>
                    <a:pt x="1954" y="13437"/>
                  </a:lnTo>
                  <a:lnTo>
                    <a:pt x="1954" y="13374"/>
                  </a:lnTo>
                  <a:lnTo>
                    <a:pt x="1851" y="13249"/>
                  </a:lnTo>
                  <a:lnTo>
                    <a:pt x="1851" y="13123"/>
                  </a:lnTo>
                  <a:lnTo>
                    <a:pt x="2674" y="13123"/>
                  </a:lnTo>
                  <a:lnTo>
                    <a:pt x="2674" y="12935"/>
                  </a:lnTo>
                  <a:lnTo>
                    <a:pt x="2880" y="12935"/>
                  </a:lnTo>
                  <a:lnTo>
                    <a:pt x="2880" y="12558"/>
                  </a:lnTo>
                  <a:lnTo>
                    <a:pt x="2674" y="12558"/>
                  </a:lnTo>
                  <a:lnTo>
                    <a:pt x="2571" y="12495"/>
                  </a:lnTo>
                  <a:lnTo>
                    <a:pt x="2571" y="12370"/>
                  </a:lnTo>
                  <a:lnTo>
                    <a:pt x="2160" y="12119"/>
                  </a:lnTo>
                  <a:lnTo>
                    <a:pt x="1851" y="12119"/>
                  </a:lnTo>
                  <a:lnTo>
                    <a:pt x="1851" y="12056"/>
                  </a:lnTo>
                  <a:lnTo>
                    <a:pt x="1646" y="12056"/>
                  </a:lnTo>
                  <a:lnTo>
                    <a:pt x="1646" y="11930"/>
                  </a:lnTo>
                  <a:lnTo>
                    <a:pt x="1851" y="11930"/>
                  </a:lnTo>
                  <a:lnTo>
                    <a:pt x="1851" y="11679"/>
                  </a:lnTo>
                  <a:lnTo>
                    <a:pt x="1954" y="11679"/>
                  </a:lnTo>
                  <a:lnTo>
                    <a:pt x="1954" y="11051"/>
                  </a:lnTo>
                  <a:lnTo>
                    <a:pt x="1851" y="11051"/>
                  </a:lnTo>
                  <a:lnTo>
                    <a:pt x="1851" y="10800"/>
                  </a:lnTo>
                  <a:lnTo>
                    <a:pt x="1646" y="10800"/>
                  </a:lnTo>
                  <a:lnTo>
                    <a:pt x="1646" y="10737"/>
                  </a:lnTo>
                  <a:lnTo>
                    <a:pt x="1851" y="10486"/>
                  </a:lnTo>
                  <a:lnTo>
                    <a:pt x="1851" y="10172"/>
                  </a:lnTo>
                  <a:lnTo>
                    <a:pt x="1954" y="10172"/>
                  </a:lnTo>
                  <a:lnTo>
                    <a:pt x="1954" y="9984"/>
                  </a:lnTo>
                  <a:lnTo>
                    <a:pt x="1851" y="9984"/>
                  </a:lnTo>
                  <a:lnTo>
                    <a:pt x="1851" y="9858"/>
                  </a:lnTo>
                  <a:lnTo>
                    <a:pt x="1646" y="9858"/>
                  </a:lnTo>
                  <a:lnTo>
                    <a:pt x="1646" y="9733"/>
                  </a:lnTo>
                  <a:lnTo>
                    <a:pt x="1440" y="9733"/>
                  </a:lnTo>
                  <a:lnTo>
                    <a:pt x="1440" y="9419"/>
                  </a:lnTo>
                  <a:lnTo>
                    <a:pt x="1646" y="9419"/>
                  </a:lnTo>
                  <a:lnTo>
                    <a:pt x="1646" y="9293"/>
                  </a:lnTo>
                  <a:lnTo>
                    <a:pt x="1851" y="9293"/>
                  </a:lnTo>
                  <a:lnTo>
                    <a:pt x="1851" y="9167"/>
                  </a:lnTo>
                  <a:lnTo>
                    <a:pt x="1954" y="9167"/>
                  </a:lnTo>
                  <a:lnTo>
                    <a:pt x="1954" y="8979"/>
                  </a:lnTo>
                  <a:lnTo>
                    <a:pt x="2160" y="8979"/>
                  </a:lnTo>
                  <a:lnTo>
                    <a:pt x="2160" y="8665"/>
                  </a:lnTo>
                  <a:lnTo>
                    <a:pt x="2366" y="8665"/>
                  </a:lnTo>
                  <a:lnTo>
                    <a:pt x="2571" y="8540"/>
                  </a:lnTo>
                  <a:lnTo>
                    <a:pt x="2674" y="8540"/>
                  </a:lnTo>
                  <a:lnTo>
                    <a:pt x="2880" y="8414"/>
                  </a:lnTo>
                  <a:lnTo>
                    <a:pt x="2880" y="8288"/>
                  </a:lnTo>
                  <a:lnTo>
                    <a:pt x="3291" y="8288"/>
                  </a:lnTo>
                  <a:lnTo>
                    <a:pt x="3291" y="8226"/>
                  </a:lnTo>
                  <a:lnTo>
                    <a:pt x="3394" y="8226"/>
                  </a:lnTo>
                  <a:lnTo>
                    <a:pt x="3806" y="8414"/>
                  </a:lnTo>
                  <a:lnTo>
                    <a:pt x="4320" y="8414"/>
                  </a:lnTo>
                  <a:lnTo>
                    <a:pt x="4320" y="8540"/>
                  </a:lnTo>
                  <a:lnTo>
                    <a:pt x="4526" y="8540"/>
                  </a:lnTo>
                  <a:lnTo>
                    <a:pt x="4526" y="8414"/>
                  </a:lnTo>
                  <a:lnTo>
                    <a:pt x="4731" y="8414"/>
                  </a:lnTo>
                  <a:lnTo>
                    <a:pt x="4834" y="8288"/>
                  </a:lnTo>
                  <a:lnTo>
                    <a:pt x="4834" y="8226"/>
                  </a:lnTo>
                  <a:lnTo>
                    <a:pt x="5040" y="8226"/>
                  </a:lnTo>
                  <a:lnTo>
                    <a:pt x="5040" y="7786"/>
                  </a:lnTo>
                  <a:lnTo>
                    <a:pt x="4731" y="7786"/>
                  </a:lnTo>
                  <a:lnTo>
                    <a:pt x="4731" y="7660"/>
                  </a:lnTo>
                  <a:lnTo>
                    <a:pt x="4526" y="7660"/>
                  </a:lnTo>
                  <a:lnTo>
                    <a:pt x="4526" y="7221"/>
                  </a:lnTo>
                  <a:lnTo>
                    <a:pt x="4731" y="7221"/>
                  </a:lnTo>
                  <a:lnTo>
                    <a:pt x="4731" y="7095"/>
                  </a:lnTo>
                  <a:lnTo>
                    <a:pt x="4834" y="7095"/>
                  </a:lnTo>
                  <a:lnTo>
                    <a:pt x="4834" y="6970"/>
                  </a:lnTo>
                  <a:lnTo>
                    <a:pt x="5451" y="6656"/>
                  </a:lnTo>
                  <a:lnTo>
                    <a:pt x="5451" y="6530"/>
                  </a:lnTo>
                  <a:lnTo>
                    <a:pt x="5554" y="6467"/>
                  </a:lnTo>
                  <a:lnTo>
                    <a:pt x="5554" y="6091"/>
                  </a:lnTo>
                  <a:lnTo>
                    <a:pt x="5760" y="6091"/>
                  </a:lnTo>
                  <a:lnTo>
                    <a:pt x="5760" y="5023"/>
                  </a:lnTo>
                  <a:lnTo>
                    <a:pt x="5554" y="5023"/>
                  </a:lnTo>
                  <a:lnTo>
                    <a:pt x="5554" y="4898"/>
                  </a:lnTo>
                  <a:lnTo>
                    <a:pt x="6274" y="4898"/>
                  </a:lnTo>
                  <a:lnTo>
                    <a:pt x="6480" y="4772"/>
                  </a:lnTo>
                  <a:lnTo>
                    <a:pt x="6994" y="4772"/>
                  </a:lnTo>
                  <a:lnTo>
                    <a:pt x="6994" y="4709"/>
                  </a:lnTo>
                  <a:lnTo>
                    <a:pt x="7406" y="4709"/>
                  </a:lnTo>
                  <a:lnTo>
                    <a:pt x="7406" y="4584"/>
                  </a:lnTo>
                  <a:lnTo>
                    <a:pt x="7200" y="4584"/>
                  </a:lnTo>
                  <a:lnTo>
                    <a:pt x="7200" y="4458"/>
                  </a:lnTo>
                  <a:lnTo>
                    <a:pt x="6994" y="4458"/>
                  </a:lnTo>
                  <a:lnTo>
                    <a:pt x="6994" y="4395"/>
                  </a:lnTo>
                  <a:lnTo>
                    <a:pt x="7200" y="4270"/>
                  </a:lnTo>
                  <a:lnTo>
                    <a:pt x="7406" y="4270"/>
                  </a:lnTo>
                  <a:lnTo>
                    <a:pt x="7611" y="4144"/>
                  </a:lnTo>
                  <a:lnTo>
                    <a:pt x="7714" y="4144"/>
                  </a:lnTo>
                  <a:lnTo>
                    <a:pt x="7714" y="4019"/>
                  </a:lnTo>
                  <a:lnTo>
                    <a:pt x="7920" y="4019"/>
                  </a:lnTo>
                  <a:lnTo>
                    <a:pt x="8331" y="3830"/>
                  </a:lnTo>
                  <a:lnTo>
                    <a:pt x="8331" y="3579"/>
                  </a:lnTo>
                  <a:lnTo>
                    <a:pt x="8434" y="3579"/>
                  </a:lnTo>
                  <a:lnTo>
                    <a:pt x="8434" y="3516"/>
                  </a:lnTo>
                  <a:lnTo>
                    <a:pt x="8640" y="3516"/>
                  </a:lnTo>
                  <a:lnTo>
                    <a:pt x="8640" y="3265"/>
                  </a:lnTo>
                  <a:lnTo>
                    <a:pt x="8846" y="3265"/>
                  </a:lnTo>
                  <a:lnTo>
                    <a:pt x="8846" y="3077"/>
                  </a:lnTo>
                  <a:lnTo>
                    <a:pt x="8640" y="3077"/>
                  </a:lnTo>
                  <a:lnTo>
                    <a:pt x="8640" y="2951"/>
                  </a:lnTo>
                  <a:lnTo>
                    <a:pt x="8434" y="2951"/>
                  </a:lnTo>
                  <a:lnTo>
                    <a:pt x="8434" y="2826"/>
                  </a:lnTo>
                  <a:lnTo>
                    <a:pt x="8331" y="2826"/>
                  </a:lnTo>
                  <a:lnTo>
                    <a:pt x="8331" y="2700"/>
                  </a:lnTo>
                  <a:lnTo>
                    <a:pt x="8434" y="2637"/>
                  </a:lnTo>
                  <a:lnTo>
                    <a:pt x="9051" y="2637"/>
                  </a:lnTo>
                  <a:lnTo>
                    <a:pt x="9051" y="2512"/>
                  </a:lnTo>
                  <a:lnTo>
                    <a:pt x="9154" y="2386"/>
                  </a:lnTo>
                  <a:lnTo>
                    <a:pt x="9154" y="2072"/>
                  </a:lnTo>
                  <a:lnTo>
                    <a:pt x="9360" y="2072"/>
                  </a:lnTo>
                  <a:lnTo>
                    <a:pt x="9360" y="1947"/>
                  </a:lnTo>
                  <a:lnTo>
                    <a:pt x="9566" y="1947"/>
                  </a:lnTo>
                  <a:lnTo>
                    <a:pt x="9771" y="1821"/>
                  </a:lnTo>
                  <a:lnTo>
                    <a:pt x="10080" y="1821"/>
                  </a:lnTo>
                  <a:lnTo>
                    <a:pt x="10080" y="1758"/>
                  </a:lnTo>
                  <a:lnTo>
                    <a:pt x="10286" y="1758"/>
                  </a:lnTo>
                  <a:lnTo>
                    <a:pt x="10286" y="1633"/>
                  </a:lnTo>
                  <a:lnTo>
                    <a:pt x="10491" y="1633"/>
                  </a:lnTo>
                  <a:lnTo>
                    <a:pt x="10491" y="1758"/>
                  </a:lnTo>
                  <a:lnTo>
                    <a:pt x="10800" y="1758"/>
                  </a:lnTo>
                  <a:lnTo>
                    <a:pt x="10800" y="1821"/>
                  </a:lnTo>
                  <a:lnTo>
                    <a:pt x="11109" y="1821"/>
                  </a:lnTo>
                  <a:lnTo>
                    <a:pt x="11109" y="1947"/>
                  </a:lnTo>
                  <a:lnTo>
                    <a:pt x="11314" y="1821"/>
                  </a:lnTo>
                  <a:lnTo>
                    <a:pt x="11314" y="1758"/>
                  </a:lnTo>
                  <a:lnTo>
                    <a:pt x="11520" y="1758"/>
                  </a:lnTo>
                  <a:lnTo>
                    <a:pt x="11520" y="1633"/>
                  </a:lnTo>
                  <a:lnTo>
                    <a:pt x="11726" y="1381"/>
                  </a:lnTo>
                  <a:lnTo>
                    <a:pt x="11726" y="942"/>
                  </a:lnTo>
                  <a:lnTo>
                    <a:pt x="11520" y="942"/>
                  </a:lnTo>
                  <a:lnTo>
                    <a:pt x="11520" y="879"/>
                  </a:lnTo>
                  <a:lnTo>
                    <a:pt x="12034" y="879"/>
                  </a:lnTo>
                  <a:lnTo>
                    <a:pt x="12034" y="942"/>
                  </a:lnTo>
                  <a:lnTo>
                    <a:pt x="13269" y="942"/>
                  </a:lnTo>
                  <a:lnTo>
                    <a:pt x="13474" y="1067"/>
                  </a:lnTo>
                  <a:lnTo>
                    <a:pt x="13680" y="1067"/>
                  </a:lnTo>
                  <a:lnTo>
                    <a:pt x="13680" y="1193"/>
                  </a:lnTo>
                  <a:lnTo>
                    <a:pt x="14606" y="1193"/>
                  </a:lnTo>
                  <a:lnTo>
                    <a:pt x="14606" y="1319"/>
                  </a:lnTo>
                  <a:lnTo>
                    <a:pt x="14709" y="1319"/>
                  </a:lnTo>
                  <a:lnTo>
                    <a:pt x="14709" y="1067"/>
                  </a:lnTo>
                  <a:lnTo>
                    <a:pt x="14914" y="1067"/>
                  </a:lnTo>
                  <a:lnTo>
                    <a:pt x="14914" y="879"/>
                  </a:lnTo>
                  <a:lnTo>
                    <a:pt x="14606" y="879"/>
                  </a:lnTo>
                  <a:lnTo>
                    <a:pt x="14606" y="753"/>
                  </a:lnTo>
                  <a:lnTo>
                    <a:pt x="14709" y="753"/>
                  </a:lnTo>
                  <a:lnTo>
                    <a:pt x="15120" y="502"/>
                  </a:lnTo>
                  <a:lnTo>
                    <a:pt x="15120" y="63"/>
                  </a:lnTo>
                  <a:lnTo>
                    <a:pt x="14914" y="63"/>
                  </a:lnTo>
                  <a:lnTo>
                    <a:pt x="14709" y="0"/>
                  </a:lnTo>
                  <a:close/>
                  <a:moveTo>
                    <a:pt x="14709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65" name="Freeform 17"/>
            <p:cNvSpPr>
              <a:spLocks/>
            </p:cNvSpPr>
            <p:nvPr/>
          </p:nvSpPr>
          <p:spPr bwMode="auto">
            <a:xfrm>
              <a:off x="6589675" y="5052893"/>
              <a:ext cx="87782" cy="68498"/>
            </a:xfrm>
            <a:custGeom>
              <a:avLst/>
              <a:gdLst/>
              <a:ahLst/>
              <a:cxnLst>
                <a:cxn ang="0">
                  <a:pos x="12706" y="0"/>
                </a:cxn>
                <a:cxn ang="0">
                  <a:pos x="15247" y="0"/>
                </a:cxn>
                <a:cxn ang="0">
                  <a:pos x="15247" y="7714"/>
                </a:cxn>
                <a:cxn ang="0">
                  <a:pos x="21600" y="7714"/>
                </a:cxn>
                <a:cxn ang="0">
                  <a:pos x="21600" y="10800"/>
                </a:cxn>
                <a:cxn ang="0">
                  <a:pos x="19059" y="13886"/>
                </a:cxn>
                <a:cxn ang="0">
                  <a:pos x="17788" y="13886"/>
                </a:cxn>
                <a:cxn ang="0">
                  <a:pos x="17788" y="18514"/>
                </a:cxn>
                <a:cxn ang="0">
                  <a:pos x="15247" y="18514"/>
                </a:cxn>
                <a:cxn ang="0">
                  <a:pos x="12706" y="21600"/>
                </a:cxn>
                <a:cxn ang="0">
                  <a:pos x="8894" y="21600"/>
                </a:cxn>
                <a:cxn ang="0">
                  <a:pos x="8894" y="18514"/>
                </a:cxn>
                <a:cxn ang="0">
                  <a:pos x="6353" y="18514"/>
                </a:cxn>
                <a:cxn ang="0">
                  <a:pos x="6353" y="15429"/>
                </a:cxn>
                <a:cxn ang="0">
                  <a:pos x="3812" y="15429"/>
                </a:cxn>
                <a:cxn ang="0">
                  <a:pos x="3812" y="13886"/>
                </a:cxn>
                <a:cxn ang="0">
                  <a:pos x="0" y="13886"/>
                </a:cxn>
                <a:cxn ang="0">
                  <a:pos x="0" y="10800"/>
                </a:cxn>
                <a:cxn ang="0">
                  <a:pos x="1271" y="7714"/>
                </a:cxn>
                <a:cxn ang="0">
                  <a:pos x="6353" y="4629"/>
                </a:cxn>
                <a:cxn ang="0">
                  <a:pos x="8894" y="3086"/>
                </a:cxn>
                <a:cxn ang="0">
                  <a:pos x="10165" y="3086"/>
                </a:cxn>
                <a:cxn ang="0">
                  <a:pos x="12706" y="0"/>
                </a:cxn>
                <a:cxn ang="0">
                  <a:pos x="12706" y="0"/>
                </a:cxn>
              </a:cxnLst>
              <a:rect l="0" t="0" r="r" b="b"/>
              <a:pathLst>
                <a:path w="21600" h="21600">
                  <a:moveTo>
                    <a:pt x="12706" y="0"/>
                  </a:moveTo>
                  <a:lnTo>
                    <a:pt x="15247" y="0"/>
                  </a:lnTo>
                  <a:lnTo>
                    <a:pt x="15247" y="7714"/>
                  </a:lnTo>
                  <a:lnTo>
                    <a:pt x="21600" y="7714"/>
                  </a:lnTo>
                  <a:lnTo>
                    <a:pt x="21600" y="10800"/>
                  </a:lnTo>
                  <a:lnTo>
                    <a:pt x="19059" y="13886"/>
                  </a:lnTo>
                  <a:lnTo>
                    <a:pt x="17788" y="13886"/>
                  </a:lnTo>
                  <a:lnTo>
                    <a:pt x="17788" y="18514"/>
                  </a:lnTo>
                  <a:lnTo>
                    <a:pt x="15247" y="18514"/>
                  </a:lnTo>
                  <a:lnTo>
                    <a:pt x="12706" y="21600"/>
                  </a:lnTo>
                  <a:lnTo>
                    <a:pt x="8894" y="21600"/>
                  </a:lnTo>
                  <a:lnTo>
                    <a:pt x="8894" y="18514"/>
                  </a:lnTo>
                  <a:lnTo>
                    <a:pt x="6353" y="18514"/>
                  </a:lnTo>
                  <a:lnTo>
                    <a:pt x="6353" y="15429"/>
                  </a:lnTo>
                  <a:lnTo>
                    <a:pt x="3812" y="15429"/>
                  </a:lnTo>
                  <a:lnTo>
                    <a:pt x="3812" y="13886"/>
                  </a:lnTo>
                  <a:lnTo>
                    <a:pt x="0" y="13886"/>
                  </a:lnTo>
                  <a:lnTo>
                    <a:pt x="0" y="10800"/>
                  </a:lnTo>
                  <a:lnTo>
                    <a:pt x="1271" y="7714"/>
                  </a:lnTo>
                  <a:lnTo>
                    <a:pt x="6353" y="4629"/>
                  </a:lnTo>
                  <a:lnTo>
                    <a:pt x="8894" y="3086"/>
                  </a:lnTo>
                  <a:lnTo>
                    <a:pt x="10165" y="3086"/>
                  </a:lnTo>
                  <a:lnTo>
                    <a:pt x="12706" y="0"/>
                  </a:lnTo>
                  <a:close/>
                  <a:moveTo>
                    <a:pt x="12706" y="0"/>
                  </a:moveTo>
                </a:path>
              </a:pathLst>
            </a:custGeom>
            <a:solidFill>
              <a:srgbClr val="00BACF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66" name="Freeform 18"/>
            <p:cNvSpPr>
              <a:spLocks/>
            </p:cNvSpPr>
            <p:nvPr/>
          </p:nvSpPr>
          <p:spPr bwMode="auto">
            <a:xfrm>
              <a:off x="5607189" y="4698315"/>
              <a:ext cx="1055075" cy="721244"/>
            </a:xfrm>
            <a:custGeom>
              <a:avLst/>
              <a:gdLst/>
              <a:ahLst/>
              <a:cxnLst>
                <a:cxn ang="0">
                  <a:pos x="2767" y="0"/>
                </a:cxn>
                <a:cxn ang="0">
                  <a:pos x="3724" y="588"/>
                </a:cxn>
                <a:cxn ang="0">
                  <a:pos x="5001" y="294"/>
                </a:cxn>
                <a:cxn ang="0">
                  <a:pos x="7767" y="882"/>
                </a:cxn>
                <a:cxn ang="0">
                  <a:pos x="9257" y="588"/>
                </a:cxn>
                <a:cxn ang="0">
                  <a:pos x="10747" y="1029"/>
                </a:cxn>
                <a:cxn ang="0">
                  <a:pos x="11704" y="1322"/>
                </a:cxn>
                <a:cxn ang="0">
                  <a:pos x="13194" y="1322"/>
                </a:cxn>
                <a:cxn ang="0">
                  <a:pos x="13620" y="2057"/>
                </a:cxn>
                <a:cxn ang="0">
                  <a:pos x="14684" y="2351"/>
                </a:cxn>
                <a:cxn ang="0">
                  <a:pos x="15216" y="2645"/>
                </a:cxn>
                <a:cxn ang="0">
                  <a:pos x="17131" y="3086"/>
                </a:cxn>
                <a:cxn ang="0">
                  <a:pos x="17876" y="3086"/>
                </a:cxn>
                <a:cxn ang="0">
                  <a:pos x="18727" y="3673"/>
                </a:cxn>
                <a:cxn ang="0">
                  <a:pos x="20642" y="4114"/>
                </a:cxn>
                <a:cxn ang="0">
                  <a:pos x="21174" y="3967"/>
                </a:cxn>
                <a:cxn ang="0">
                  <a:pos x="21174" y="4408"/>
                </a:cxn>
                <a:cxn ang="0">
                  <a:pos x="21174" y="5731"/>
                </a:cxn>
                <a:cxn ang="0">
                  <a:pos x="20217" y="6171"/>
                </a:cxn>
                <a:cxn ang="0">
                  <a:pos x="19472" y="7053"/>
                </a:cxn>
                <a:cxn ang="0">
                  <a:pos x="17876" y="7494"/>
                </a:cxn>
                <a:cxn ang="0">
                  <a:pos x="17131" y="8229"/>
                </a:cxn>
                <a:cxn ang="0">
                  <a:pos x="16493" y="9845"/>
                </a:cxn>
                <a:cxn ang="0">
                  <a:pos x="15641" y="12931"/>
                </a:cxn>
                <a:cxn ang="0">
                  <a:pos x="16386" y="14106"/>
                </a:cxn>
                <a:cxn ang="0">
                  <a:pos x="15216" y="14988"/>
                </a:cxn>
                <a:cxn ang="0">
                  <a:pos x="14897" y="16163"/>
                </a:cxn>
                <a:cxn ang="0">
                  <a:pos x="14684" y="17192"/>
                </a:cxn>
                <a:cxn ang="0">
                  <a:pos x="14152" y="17192"/>
                </a:cxn>
                <a:cxn ang="0">
                  <a:pos x="12981" y="18073"/>
                </a:cxn>
                <a:cxn ang="0">
                  <a:pos x="12662" y="19102"/>
                </a:cxn>
                <a:cxn ang="0">
                  <a:pos x="11704" y="19249"/>
                </a:cxn>
                <a:cxn ang="0">
                  <a:pos x="10960" y="19543"/>
                </a:cxn>
                <a:cxn ang="0">
                  <a:pos x="7767" y="20131"/>
                </a:cxn>
                <a:cxn ang="0">
                  <a:pos x="7023" y="20865"/>
                </a:cxn>
                <a:cxn ang="0">
                  <a:pos x="6171" y="21600"/>
                </a:cxn>
                <a:cxn ang="0">
                  <a:pos x="5427" y="20278"/>
                </a:cxn>
                <a:cxn ang="0">
                  <a:pos x="4895" y="19543"/>
                </a:cxn>
                <a:cxn ang="0">
                  <a:pos x="4682" y="19102"/>
                </a:cxn>
                <a:cxn ang="0">
                  <a:pos x="3192" y="18220"/>
                </a:cxn>
                <a:cxn ang="0">
                  <a:pos x="3937" y="16016"/>
                </a:cxn>
                <a:cxn ang="0">
                  <a:pos x="3511" y="14988"/>
                </a:cxn>
                <a:cxn ang="0">
                  <a:pos x="4150" y="13371"/>
                </a:cxn>
                <a:cxn ang="0">
                  <a:pos x="3511" y="12049"/>
                </a:cxn>
                <a:cxn ang="0">
                  <a:pos x="4150" y="11608"/>
                </a:cxn>
                <a:cxn ang="0">
                  <a:pos x="4150" y="7788"/>
                </a:cxn>
                <a:cxn ang="0">
                  <a:pos x="4895" y="7200"/>
                </a:cxn>
                <a:cxn ang="0">
                  <a:pos x="5214" y="6024"/>
                </a:cxn>
                <a:cxn ang="0">
                  <a:pos x="4682" y="5143"/>
                </a:cxn>
                <a:cxn ang="0">
                  <a:pos x="3724" y="5143"/>
                </a:cxn>
                <a:cxn ang="0">
                  <a:pos x="2447" y="5437"/>
                </a:cxn>
                <a:cxn ang="0">
                  <a:pos x="2234" y="4702"/>
                </a:cxn>
                <a:cxn ang="0">
                  <a:pos x="745" y="5143"/>
                </a:cxn>
                <a:cxn ang="0">
                  <a:pos x="958" y="3967"/>
                </a:cxn>
                <a:cxn ang="0">
                  <a:pos x="745" y="3086"/>
                </a:cxn>
                <a:cxn ang="0">
                  <a:pos x="426" y="2645"/>
                </a:cxn>
                <a:cxn ang="0">
                  <a:pos x="532" y="1616"/>
                </a:cxn>
                <a:cxn ang="0">
                  <a:pos x="1915" y="882"/>
                </a:cxn>
                <a:cxn ang="0">
                  <a:pos x="2234" y="0"/>
                </a:cxn>
              </a:cxnLst>
              <a:rect l="0" t="0" r="r" b="b"/>
              <a:pathLst>
                <a:path w="21600" h="21600">
                  <a:moveTo>
                    <a:pt x="2234" y="0"/>
                  </a:moveTo>
                  <a:lnTo>
                    <a:pt x="2447" y="0"/>
                  </a:lnTo>
                  <a:lnTo>
                    <a:pt x="2447" y="294"/>
                  </a:lnTo>
                  <a:lnTo>
                    <a:pt x="2660" y="294"/>
                  </a:lnTo>
                  <a:lnTo>
                    <a:pt x="2767" y="0"/>
                  </a:lnTo>
                  <a:lnTo>
                    <a:pt x="3405" y="0"/>
                  </a:lnTo>
                  <a:lnTo>
                    <a:pt x="3405" y="294"/>
                  </a:lnTo>
                  <a:lnTo>
                    <a:pt x="3511" y="294"/>
                  </a:lnTo>
                  <a:lnTo>
                    <a:pt x="3511" y="588"/>
                  </a:lnTo>
                  <a:lnTo>
                    <a:pt x="3724" y="588"/>
                  </a:lnTo>
                  <a:lnTo>
                    <a:pt x="3724" y="882"/>
                  </a:lnTo>
                  <a:lnTo>
                    <a:pt x="4256" y="882"/>
                  </a:lnTo>
                  <a:lnTo>
                    <a:pt x="4256" y="588"/>
                  </a:lnTo>
                  <a:lnTo>
                    <a:pt x="5001" y="588"/>
                  </a:lnTo>
                  <a:lnTo>
                    <a:pt x="5001" y="294"/>
                  </a:lnTo>
                  <a:lnTo>
                    <a:pt x="6171" y="294"/>
                  </a:lnTo>
                  <a:lnTo>
                    <a:pt x="6171" y="588"/>
                  </a:lnTo>
                  <a:lnTo>
                    <a:pt x="7023" y="588"/>
                  </a:lnTo>
                  <a:lnTo>
                    <a:pt x="7235" y="882"/>
                  </a:lnTo>
                  <a:lnTo>
                    <a:pt x="7767" y="882"/>
                  </a:lnTo>
                  <a:lnTo>
                    <a:pt x="8193" y="1029"/>
                  </a:lnTo>
                  <a:lnTo>
                    <a:pt x="8512" y="1029"/>
                  </a:lnTo>
                  <a:lnTo>
                    <a:pt x="8512" y="882"/>
                  </a:lnTo>
                  <a:lnTo>
                    <a:pt x="9151" y="882"/>
                  </a:lnTo>
                  <a:lnTo>
                    <a:pt x="9257" y="588"/>
                  </a:lnTo>
                  <a:lnTo>
                    <a:pt x="10002" y="588"/>
                  </a:lnTo>
                  <a:lnTo>
                    <a:pt x="10002" y="882"/>
                  </a:lnTo>
                  <a:lnTo>
                    <a:pt x="10215" y="882"/>
                  </a:lnTo>
                  <a:lnTo>
                    <a:pt x="10428" y="1029"/>
                  </a:lnTo>
                  <a:lnTo>
                    <a:pt x="10747" y="1029"/>
                  </a:lnTo>
                  <a:lnTo>
                    <a:pt x="10960" y="882"/>
                  </a:lnTo>
                  <a:lnTo>
                    <a:pt x="11385" y="882"/>
                  </a:lnTo>
                  <a:lnTo>
                    <a:pt x="11385" y="1029"/>
                  </a:lnTo>
                  <a:lnTo>
                    <a:pt x="11492" y="1029"/>
                  </a:lnTo>
                  <a:lnTo>
                    <a:pt x="11704" y="1322"/>
                  </a:lnTo>
                  <a:lnTo>
                    <a:pt x="12130" y="1322"/>
                  </a:lnTo>
                  <a:lnTo>
                    <a:pt x="12236" y="1029"/>
                  </a:lnTo>
                  <a:lnTo>
                    <a:pt x="12981" y="1029"/>
                  </a:lnTo>
                  <a:lnTo>
                    <a:pt x="12981" y="1322"/>
                  </a:lnTo>
                  <a:lnTo>
                    <a:pt x="13194" y="1322"/>
                  </a:lnTo>
                  <a:lnTo>
                    <a:pt x="13194" y="1616"/>
                  </a:lnTo>
                  <a:lnTo>
                    <a:pt x="13407" y="1616"/>
                  </a:lnTo>
                  <a:lnTo>
                    <a:pt x="13407" y="1322"/>
                  </a:lnTo>
                  <a:lnTo>
                    <a:pt x="13620" y="1616"/>
                  </a:lnTo>
                  <a:lnTo>
                    <a:pt x="13620" y="2057"/>
                  </a:lnTo>
                  <a:lnTo>
                    <a:pt x="13726" y="1910"/>
                  </a:lnTo>
                  <a:lnTo>
                    <a:pt x="13726" y="2057"/>
                  </a:lnTo>
                  <a:lnTo>
                    <a:pt x="13939" y="2057"/>
                  </a:lnTo>
                  <a:lnTo>
                    <a:pt x="14152" y="2351"/>
                  </a:lnTo>
                  <a:lnTo>
                    <a:pt x="14684" y="2351"/>
                  </a:lnTo>
                  <a:lnTo>
                    <a:pt x="14684" y="2645"/>
                  </a:lnTo>
                  <a:lnTo>
                    <a:pt x="15109" y="2645"/>
                  </a:lnTo>
                  <a:lnTo>
                    <a:pt x="15109" y="2939"/>
                  </a:lnTo>
                  <a:lnTo>
                    <a:pt x="15216" y="2939"/>
                  </a:lnTo>
                  <a:lnTo>
                    <a:pt x="15216" y="2645"/>
                  </a:lnTo>
                  <a:lnTo>
                    <a:pt x="15429" y="2645"/>
                  </a:lnTo>
                  <a:lnTo>
                    <a:pt x="15429" y="2939"/>
                  </a:lnTo>
                  <a:lnTo>
                    <a:pt x="15641" y="2939"/>
                  </a:lnTo>
                  <a:lnTo>
                    <a:pt x="15641" y="3086"/>
                  </a:lnTo>
                  <a:lnTo>
                    <a:pt x="17131" y="3086"/>
                  </a:lnTo>
                  <a:lnTo>
                    <a:pt x="17131" y="2645"/>
                  </a:lnTo>
                  <a:lnTo>
                    <a:pt x="17450" y="2645"/>
                  </a:lnTo>
                  <a:lnTo>
                    <a:pt x="17450" y="2939"/>
                  </a:lnTo>
                  <a:lnTo>
                    <a:pt x="17876" y="2939"/>
                  </a:lnTo>
                  <a:lnTo>
                    <a:pt x="17876" y="3086"/>
                  </a:lnTo>
                  <a:lnTo>
                    <a:pt x="18195" y="3086"/>
                  </a:lnTo>
                  <a:lnTo>
                    <a:pt x="18408" y="3380"/>
                  </a:lnTo>
                  <a:lnTo>
                    <a:pt x="18408" y="3967"/>
                  </a:lnTo>
                  <a:lnTo>
                    <a:pt x="18727" y="3967"/>
                  </a:lnTo>
                  <a:lnTo>
                    <a:pt x="18727" y="3673"/>
                  </a:lnTo>
                  <a:lnTo>
                    <a:pt x="19153" y="3673"/>
                  </a:lnTo>
                  <a:lnTo>
                    <a:pt x="19153" y="3967"/>
                  </a:lnTo>
                  <a:lnTo>
                    <a:pt x="20110" y="3967"/>
                  </a:lnTo>
                  <a:lnTo>
                    <a:pt x="20110" y="4114"/>
                  </a:lnTo>
                  <a:lnTo>
                    <a:pt x="20642" y="4114"/>
                  </a:lnTo>
                  <a:lnTo>
                    <a:pt x="20642" y="3967"/>
                  </a:lnTo>
                  <a:lnTo>
                    <a:pt x="20962" y="3967"/>
                  </a:lnTo>
                  <a:lnTo>
                    <a:pt x="20962" y="3673"/>
                  </a:lnTo>
                  <a:lnTo>
                    <a:pt x="21174" y="3673"/>
                  </a:lnTo>
                  <a:lnTo>
                    <a:pt x="21174" y="3967"/>
                  </a:lnTo>
                  <a:lnTo>
                    <a:pt x="21600" y="3967"/>
                  </a:lnTo>
                  <a:lnTo>
                    <a:pt x="21600" y="4114"/>
                  </a:lnTo>
                  <a:lnTo>
                    <a:pt x="21387" y="4114"/>
                  </a:lnTo>
                  <a:lnTo>
                    <a:pt x="21387" y="4408"/>
                  </a:lnTo>
                  <a:lnTo>
                    <a:pt x="21174" y="4408"/>
                  </a:lnTo>
                  <a:lnTo>
                    <a:pt x="21174" y="4702"/>
                  </a:lnTo>
                  <a:lnTo>
                    <a:pt x="21387" y="4996"/>
                  </a:lnTo>
                  <a:lnTo>
                    <a:pt x="21387" y="5437"/>
                  </a:lnTo>
                  <a:lnTo>
                    <a:pt x="21174" y="5437"/>
                  </a:lnTo>
                  <a:lnTo>
                    <a:pt x="21174" y="5731"/>
                  </a:lnTo>
                  <a:lnTo>
                    <a:pt x="20962" y="5731"/>
                  </a:lnTo>
                  <a:lnTo>
                    <a:pt x="20962" y="6024"/>
                  </a:lnTo>
                  <a:lnTo>
                    <a:pt x="20430" y="6024"/>
                  </a:lnTo>
                  <a:lnTo>
                    <a:pt x="20430" y="6171"/>
                  </a:lnTo>
                  <a:lnTo>
                    <a:pt x="20217" y="6171"/>
                  </a:lnTo>
                  <a:lnTo>
                    <a:pt x="20110" y="6465"/>
                  </a:lnTo>
                  <a:lnTo>
                    <a:pt x="19898" y="6465"/>
                  </a:lnTo>
                  <a:lnTo>
                    <a:pt x="19685" y="6759"/>
                  </a:lnTo>
                  <a:lnTo>
                    <a:pt x="19472" y="6759"/>
                  </a:lnTo>
                  <a:lnTo>
                    <a:pt x="19472" y="7053"/>
                  </a:lnTo>
                  <a:lnTo>
                    <a:pt x="19366" y="7053"/>
                  </a:lnTo>
                  <a:lnTo>
                    <a:pt x="18940" y="7200"/>
                  </a:lnTo>
                  <a:lnTo>
                    <a:pt x="18621" y="7200"/>
                  </a:lnTo>
                  <a:lnTo>
                    <a:pt x="18621" y="7494"/>
                  </a:lnTo>
                  <a:lnTo>
                    <a:pt x="17876" y="7494"/>
                  </a:lnTo>
                  <a:lnTo>
                    <a:pt x="17663" y="7788"/>
                  </a:lnTo>
                  <a:lnTo>
                    <a:pt x="17450" y="7788"/>
                  </a:lnTo>
                  <a:lnTo>
                    <a:pt x="17450" y="8082"/>
                  </a:lnTo>
                  <a:lnTo>
                    <a:pt x="17237" y="8082"/>
                  </a:lnTo>
                  <a:lnTo>
                    <a:pt x="17131" y="8229"/>
                  </a:lnTo>
                  <a:lnTo>
                    <a:pt x="17131" y="8816"/>
                  </a:lnTo>
                  <a:lnTo>
                    <a:pt x="16918" y="8963"/>
                  </a:lnTo>
                  <a:lnTo>
                    <a:pt x="16705" y="9551"/>
                  </a:lnTo>
                  <a:lnTo>
                    <a:pt x="16493" y="9551"/>
                  </a:lnTo>
                  <a:lnTo>
                    <a:pt x="16493" y="9845"/>
                  </a:lnTo>
                  <a:lnTo>
                    <a:pt x="16386" y="9845"/>
                  </a:lnTo>
                  <a:lnTo>
                    <a:pt x="16386" y="9992"/>
                  </a:lnTo>
                  <a:lnTo>
                    <a:pt x="15429" y="11314"/>
                  </a:lnTo>
                  <a:lnTo>
                    <a:pt x="15429" y="12931"/>
                  </a:lnTo>
                  <a:lnTo>
                    <a:pt x="15641" y="12931"/>
                  </a:lnTo>
                  <a:lnTo>
                    <a:pt x="15641" y="13371"/>
                  </a:lnTo>
                  <a:lnTo>
                    <a:pt x="15748" y="13371"/>
                  </a:lnTo>
                  <a:lnTo>
                    <a:pt x="16173" y="13959"/>
                  </a:lnTo>
                  <a:lnTo>
                    <a:pt x="16386" y="13959"/>
                  </a:lnTo>
                  <a:lnTo>
                    <a:pt x="16386" y="14106"/>
                  </a:lnTo>
                  <a:lnTo>
                    <a:pt x="16173" y="14106"/>
                  </a:lnTo>
                  <a:lnTo>
                    <a:pt x="15748" y="14694"/>
                  </a:lnTo>
                  <a:lnTo>
                    <a:pt x="15641" y="14694"/>
                  </a:lnTo>
                  <a:lnTo>
                    <a:pt x="15429" y="14988"/>
                  </a:lnTo>
                  <a:lnTo>
                    <a:pt x="15216" y="14988"/>
                  </a:lnTo>
                  <a:lnTo>
                    <a:pt x="15216" y="15135"/>
                  </a:lnTo>
                  <a:lnTo>
                    <a:pt x="15109" y="15135"/>
                  </a:lnTo>
                  <a:lnTo>
                    <a:pt x="15109" y="15429"/>
                  </a:lnTo>
                  <a:lnTo>
                    <a:pt x="14897" y="15722"/>
                  </a:lnTo>
                  <a:lnTo>
                    <a:pt x="14897" y="16163"/>
                  </a:lnTo>
                  <a:lnTo>
                    <a:pt x="14684" y="16163"/>
                  </a:lnTo>
                  <a:lnTo>
                    <a:pt x="14684" y="16457"/>
                  </a:lnTo>
                  <a:lnTo>
                    <a:pt x="14471" y="16457"/>
                  </a:lnTo>
                  <a:lnTo>
                    <a:pt x="14471" y="17045"/>
                  </a:lnTo>
                  <a:lnTo>
                    <a:pt x="14684" y="17192"/>
                  </a:lnTo>
                  <a:lnTo>
                    <a:pt x="14471" y="17192"/>
                  </a:lnTo>
                  <a:lnTo>
                    <a:pt x="14471" y="17486"/>
                  </a:lnTo>
                  <a:lnTo>
                    <a:pt x="14365" y="17486"/>
                  </a:lnTo>
                  <a:lnTo>
                    <a:pt x="14365" y="17192"/>
                  </a:lnTo>
                  <a:lnTo>
                    <a:pt x="14152" y="17192"/>
                  </a:lnTo>
                  <a:lnTo>
                    <a:pt x="13939" y="17486"/>
                  </a:lnTo>
                  <a:lnTo>
                    <a:pt x="13407" y="17486"/>
                  </a:lnTo>
                  <a:lnTo>
                    <a:pt x="13407" y="17780"/>
                  </a:lnTo>
                  <a:lnTo>
                    <a:pt x="13194" y="17780"/>
                  </a:lnTo>
                  <a:lnTo>
                    <a:pt x="12981" y="18073"/>
                  </a:lnTo>
                  <a:lnTo>
                    <a:pt x="12981" y="18220"/>
                  </a:lnTo>
                  <a:lnTo>
                    <a:pt x="12875" y="18514"/>
                  </a:lnTo>
                  <a:lnTo>
                    <a:pt x="12875" y="18808"/>
                  </a:lnTo>
                  <a:lnTo>
                    <a:pt x="12662" y="18808"/>
                  </a:lnTo>
                  <a:lnTo>
                    <a:pt x="12662" y="19102"/>
                  </a:lnTo>
                  <a:lnTo>
                    <a:pt x="12449" y="19102"/>
                  </a:lnTo>
                  <a:lnTo>
                    <a:pt x="12449" y="19543"/>
                  </a:lnTo>
                  <a:lnTo>
                    <a:pt x="12130" y="19543"/>
                  </a:lnTo>
                  <a:lnTo>
                    <a:pt x="11917" y="19249"/>
                  </a:lnTo>
                  <a:lnTo>
                    <a:pt x="11704" y="19249"/>
                  </a:lnTo>
                  <a:lnTo>
                    <a:pt x="11704" y="19543"/>
                  </a:lnTo>
                  <a:lnTo>
                    <a:pt x="11492" y="19543"/>
                  </a:lnTo>
                  <a:lnTo>
                    <a:pt x="11385" y="19837"/>
                  </a:lnTo>
                  <a:lnTo>
                    <a:pt x="11172" y="19837"/>
                  </a:lnTo>
                  <a:lnTo>
                    <a:pt x="10960" y="19543"/>
                  </a:lnTo>
                  <a:lnTo>
                    <a:pt x="8406" y="19543"/>
                  </a:lnTo>
                  <a:lnTo>
                    <a:pt x="8406" y="19837"/>
                  </a:lnTo>
                  <a:lnTo>
                    <a:pt x="7980" y="19837"/>
                  </a:lnTo>
                  <a:lnTo>
                    <a:pt x="7980" y="20131"/>
                  </a:lnTo>
                  <a:lnTo>
                    <a:pt x="7767" y="20131"/>
                  </a:lnTo>
                  <a:lnTo>
                    <a:pt x="7767" y="20278"/>
                  </a:lnTo>
                  <a:lnTo>
                    <a:pt x="7448" y="20278"/>
                  </a:lnTo>
                  <a:lnTo>
                    <a:pt x="7448" y="20571"/>
                  </a:lnTo>
                  <a:lnTo>
                    <a:pt x="7023" y="20571"/>
                  </a:lnTo>
                  <a:lnTo>
                    <a:pt x="7023" y="20865"/>
                  </a:lnTo>
                  <a:lnTo>
                    <a:pt x="6916" y="20865"/>
                  </a:lnTo>
                  <a:lnTo>
                    <a:pt x="6916" y="21306"/>
                  </a:lnTo>
                  <a:lnTo>
                    <a:pt x="6491" y="21306"/>
                  </a:lnTo>
                  <a:lnTo>
                    <a:pt x="6491" y="21600"/>
                  </a:lnTo>
                  <a:lnTo>
                    <a:pt x="6171" y="21600"/>
                  </a:lnTo>
                  <a:lnTo>
                    <a:pt x="6171" y="21306"/>
                  </a:lnTo>
                  <a:lnTo>
                    <a:pt x="5746" y="21306"/>
                  </a:lnTo>
                  <a:lnTo>
                    <a:pt x="5746" y="21159"/>
                  </a:lnTo>
                  <a:lnTo>
                    <a:pt x="5427" y="20571"/>
                  </a:lnTo>
                  <a:lnTo>
                    <a:pt x="5427" y="20278"/>
                  </a:lnTo>
                  <a:lnTo>
                    <a:pt x="5214" y="20278"/>
                  </a:lnTo>
                  <a:lnTo>
                    <a:pt x="5214" y="20131"/>
                  </a:lnTo>
                  <a:lnTo>
                    <a:pt x="5001" y="20131"/>
                  </a:lnTo>
                  <a:lnTo>
                    <a:pt x="5001" y="19837"/>
                  </a:lnTo>
                  <a:lnTo>
                    <a:pt x="4895" y="19543"/>
                  </a:lnTo>
                  <a:lnTo>
                    <a:pt x="5001" y="19543"/>
                  </a:lnTo>
                  <a:lnTo>
                    <a:pt x="5001" y="19249"/>
                  </a:lnTo>
                  <a:lnTo>
                    <a:pt x="4895" y="19249"/>
                  </a:lnTo>
                  <a:lnTo>
                    <a:pt x="4895" y="19102"/>
                  </a:lnTo>
                  <a:lnTo>
                    <a:pt x="4682" y="19102"/>
                  </a:lnTo>
                  <a:lnTo>
                    <a:pt x="4469" y="18808"/>
                  </a:lnTo>
                  <a:lnTo>
                    <a:pt x="4469" y="18514"/>
                  </a:lnTo>
                  <a:lnTo>
                    <a:pt x="4150" y="18514"/>
                  </a:lnTo>
                  <a:lnTo>
                    <a:pt x="4150" y="18220"/>
                  </a:lnTo>
                  <a:lnTo>
                    <a:pt x="3192" y="18220"/>
                  </a:lnTo>
                  <a:lnTo>
                    <a:pt x="3192" y="17045"/>
                  </a:lnTo>
                  <a:lnTo>
                    <a:pt x="3511" y="16457"/>
                  </a:lnTo>
                  <a:lnTo>
                    <a:pt x="3511" y="16163"/>
                  </a:lnTo>
                  <a:lnTo>
                    <a:pt x="3724" y="16163"/>
                  </a:lnTo>
                  <a:lnTo>
                    <a:pt x="3937" y="16016"/>
                  </a:lnTo>
                  <a:lnTo>
                    <a:pt x="4150" y="16016"/>
                  </a:lnTo>
                  <a:lnTo>
                    <a:pt x="4150" y="15722"/>
                  </a:lnTo>
                  <a:lnTo>
                    <a:pt x="3724" y="15722"/>
                  </a:lnTo>
                  <a:lnTo>
                    <a:pt x="3724" y="15135"/>
                  </a:lnTo>
                  <a:lnTo>
                    <a:pt x="3511" y="14988"/>
                  </a:lnTo>
                  <a:lnTo>
                    <a:pt x="3511" y="14106"/>
                  </a:lnTo>
                  <a:lnTo>
                    <a:pt x="3724" y="13959"/>
                  </a:lnTo>
                  <a:lnTo>
                    <a:pt x="3937" y="13959"/>
                  </a:lnTo>
                  <a:lnTo>
                    <a:pt x="3937" y="13371"/>
                  </a:lnTo>
                  <a:lnTo>
                    <a:pt x="4150" y="13371"/>
                  </a:lnTo>
                  <a:lnTo>
                    <a:pt x="4150" y="13078"/>
                  </a:lnTo>
                  <a:lnTo>
                    <a:pt x="3937" y="13078"/>
                  </a:lnTo>
                  <a:lnTo>
                    <a:pt x="3724" y="12931"/>
                  </a:lnTo>
                  <a:lnTo>
                    <a:pt x="3511" y="12931"/>
                  </a:lnTo>
                  <a:lnTo>
                    <a:pt x="3511" y="12049"/>
                  </a:lnTo>
                  <a:lnTo>
                    <a:pt x="3405" y="12049"/>
                  </a:lnTo>
                  <a:lnTo>
                    <a:pt x="3405" y="11902"/>
                  </a:lnTo>
                  <a:lnTo>
                    <a:pt x="3192" y="11902"/>
                  </a:lnTo>
                  <a:lnTo>
                    <a:pt x="3192" y="11608"/>
                  </a:lnTo>
                  <a:lnTo>
                    <a:pt x="4150" y="11608"/>
                  </a:lnTo>
                  <a:lnTo>
                    <a:pt x="4150" y="9845"/>
                  </a:lnTo>
                  <a:lnTo>
                    <a:pt x="4256" y="9845"/>
                  </a:lnTo>
                  <a:lnTo>
                    <a:pt x="4256" y="8229"/>
                  </a:lnTo>
                  <a:lnTo>
                    <a:pt x="4150" y="8082"/>
                  </a:lnTo>
                  <a:lnTo>
                    <a:pt x="4150" y="7788"/>
                  </a:lnTo>
                  <a:lnTo>
                    <a:pt x="4256" y="7788"/>
                  </a:lnTo>
                  <a:lnTo>
                    <a:pt x="4256" y="7494"/>
                  </a:lnTo>
                  <a:lnTo>
                    <a:pt x="4469" y="7494"/>
                  </a:lnTo>
                  <a:lnTo>
                    <a:pt x="4469" y="7200"/>
                  </a:lnTo>
                  <a:lnTo>
                    <a:pt x="4895" y="7200"/>
                  </a:lnTo>
                  <a:lnTo>
                    <a:pt x="4895" y="7053"/>
                  </a:lnTo>
                  <a:lnTo>
                    <a:pt x="5001" y="7053"/>
                  </a:lnTo>
                  <a:lnTo>
                    <a:pt x="5001" y="6759"/>
                  </a:lnTo>
                  <a:lnTo>
                    <a:pt x="5214" y="6759"/>
                  </a:lnTo>
                  <a:lnTo>
                    <a:pt x="5214" y="6024"/>
                  </a:lnTo>
                  <a:lnTo>
                    <a:pt x="5001" y="6024"/>
                  </a:lnTo>
                  <a:lnTo>
                    <a:pt x="4895" y="5731"/>
                  </a:lnTo>
                  <a:lnTo>
                    <a:pt x="4895" y="6024"/>
                  </a:lnTo>
                  <a:lnTo>
                    <a:pt x="4682" y="6024"/>
                  </a:lnTo>
                  <a:lnTo>
                    <a:pt x="4682" y="5143"/>
                  </a:lnTo>
                  <a:lnTo>
                    <a:pt x="4150" y="5143"/>
                  </a:lnTo>
                  <a:lnTo>
                    <a:pt x="4150" y="4996"/>
                  </a:lnTo>
                  <a:lnTo>
                    <a:pt x="3937" y="4996"/>
                  </a:lnTo>
                  <a:lnTo>
                    <a:pt x="3937" y="5143"/>
                  </a:lnTo>
                  <a:lnTo>
                    <a:pt x="3724" y="5143"/>
                  </a:lnTo>
                  <a:lnTo>
                    <a:pt x="3511" y="5437"/>
                  </a:lnTo>
                  <a:lnTo>
                    <a:pt x="2660" y="5437"/>
                  </a:lnTo>
                  <a:lnTo>
                    <a:pt x="2660" y="5143"/>
                  </a:lnTo>
                  <a:lnTo>
                    <a:pt x="2447" y="5143"/>
                  </a:lnTo>
                  <a:lnTo>
                    <a:pt x="2447" y="5437"/>
                  </a:lnTo>
                  <a:lnTo>
                    <a:pt x="2234" y="5437"/>
                  </a:lnTo>
                  <a:lnTo>
                    <a:pt x="2022" y="5731"/>
                  </a:lnTo>
                  <a:lnTo>
                    <a:pt x="2022" y="4996"/>
                  </a:lnTo>
                  <a:lnTo>
                    <a:pt x="2234" y="4996"/>
                  </a:lnTo>
                  <a:lnTo>
                    <a:pt x="2234" y="4702"/>
                  </a:lnTo>
                  <a:lnTo>
                    <a:pt x="1277" y="4702"/>
                  </a:lnTo>
                  <a:lnTo>
                    <a:pt x="1277" y="4996"/>
                  </a:lnTo>
                  <a:lnTo>
                    <a:pt x="1170" y="4996"/>
                  </a:lnTo>
                  <a:lnTo>
                    <a:pt x="1170" y="5143"/>
                  </a:lnTo>
                  <a:lnTo>
                    <a:pt x="745" y="5143"/>
                  </a:lnTo>
                  <a:lnTo>
                    <a:pt x="745" y="4408"/>
                  </a:lnTo>
                  <a:lnTo>
                    <a:pt x="958" y="4408"/>
                  </a:lnTo>
                  <a:lnTo>
                    <a:pt x="958" y="4114"/>
                  </a:lnTo>
                  <a:lnTo>
                    <a:pt x="745" y="4114"/>
                  </a:lnTo>
                  <a:lnTo>
                    <a:pt x="958" y="3967"/>
                  </a:lnTo>
                  <a:lnTo>
                    <a:pt x="745" y="3967"/>
                  </a:lnTo>
                  <a:lnTo>
                    <a:pt x="745" y="3380"/>
                  </a:lnTo>
                  <a:lnTo>
                    <a:pt x="958" y="3380"/>
                  </a:lnTo>
                  <a:lnTo>
                    <a:pt x="958" y="3086"/>
                  </a:lnTo>
                  <a:lnTo>
                    <a:pt x="745" y="3086"/>
                  </a:lnTo>
                  <a:lnTo>
                    <a:pt x="745" y="3380"/>
                  </a:lnTo>
                  <a:lnTo>
                    <a:pt x="426" y="3380"/>
                  </a:lnTo>
                  <a:lnTo>
                    <a:pt x="532" y="3086"/>
                  </a:lnTo>
                  <a:lnTo>
                    <a:pt x="426" y="2939"/>
                  </a:lnTo>
                  <a:lnTo>
                    <a:pt x="426" y="2645"/>
                  </a:lnTo>
                  <a:lnTo>
                    <a:pt x="0" y="2645"/>
                  </a:lnTo>
                  <a:lnTo>
                    <a:pt x="0" y="2057"/>
                  </a:lnTo>
                  <a:lnTo>
                    <a:pt x="213" y="2057"/>
                  </a:lnTo>
                  <a:lnTo>
                    <a:pt x="213" y="1616"/>
                  </a:lnTo>
                  <a:lnTo>
                    <a:pt x="532" y="1616"/>
                  </a:lnTo>
                  <a:lnTo>
                    <a:pt x="532" y="1322"/>
                  </a:lnTo>
                  <a:lnTo>
                    <a:pt x="1277" y="1322"/>
                  </a:lnTo>
                  <a:lnTo>
                    <a:pt x="1277" y="1029"/>
                  </a:lnTo>
                  <a:lnTo>
                    <a:pt x="1915" y="1029"/>
                  </a:lnTo>
                  <a:lnTo>
                    <a:pt x="1915" y="882"/>
                  </a:lnTo>
                  <a:lnTo>
                    <a:pt x="1702" y="588"/>
                  </a:lnTo>
                  <a:lnTo>
                    <a:pt x="1915" y="588"/>
                  </a:lnTo>
                  <a:lnTo>
                    <a:pt x="1915" y="294"/>
                  </a:lnTo>
                  <a:lnTo>
                    <a:pt x="2022" y="294"/>
                  </a:lnTo>
                  <a:lnTo>
                    <a:pt x="2234" y="0"/>
                  </a:lnTo>
                  <a:close/>
                  <a:moveTo>
                    <a:pt x="2234" y="0"/>
                  </a:moveTo>
                </a:path>
              </a:pathLst>
            </a:custGeom>
            <a:solidFill>
              <a:srgbClr val="00BACF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67" name="Freeform 19"/>
            <p:cNvSpPr>
              <a:spLocks/>
            </p:cNvSpPr>
            <p:nvPr/>
          </p:nvSpPr>
          <p:spPr bwMode="auto">
            <a:xfrm>
              <a:off x="7502948" y="4394104"/>
              <a:ext cx="244778" cy="143039"/>
            </a:xfrm>
            <a:custGeom>
              <a:avLst/>
              <a:gdLst/>
              <a:ahLst/>
              <a:cxnLst>
                <a:cxn ang="0">
                  <a:pos x="20221" y="0"/>
                </a:cxn>
                <a:cxn ang="0">
                  <a:pos x="20681" y="745"/>
                </a:cxn>
                <a:cxn ang="0">
                  <a:pos x="21600" y="2234"/>
                </a:cxn>
                <a:cxn ang="0">
                  <a:pos x="20681" y="5214"/>
                </a:cxn>
                <a:cxn ang="0">
                  <a:pos x="19302" y="7448"/>
                </a:cxn>
                <a:cxn ang="0">
                  <a:pos x="17004" y="8938"/>
                </a:cxn>
                <a:cxn ang="0">
                  <a:pos x="16085" y="10428"/>
                </a:cxn>
                <a:cxn ang="0">
                  <a:pos x="17004" y="12662"/>
                </a:cxn>
                <a:cxn ang="0">
                  <a:pos x="16085" y="14152"/>
                </a:cxn>
                <a:cxn ang="0">
                  <a:pos x="14247" y="15641"/>
                </a:cxn>
                <a:cxn ang="0">
                  <a:pos x="13787" y="16386"/>
                </a:cxn>
                <a:cxn ang="0">
                  <a:pos x="12868" y="20110"/>
                </a:cxn>
                <a:cxn ang="0">
                  <a:pos x="11949" y="20110"/>
                </a:cxn>
                <a:cxn ang="0">
                  <a:pos x="9651" y="19366"/>
                </a:cxn>
                <a:cxn ang="0">
                  <a:pos x="8732" y="17876"/>
                </a:cxn>
                <a:cxn ang="0">
                  <a:pos x="7813" y="19366"/>
                </a:cxn>
                <a:cxn ang="0">
                  <a:pos x="4596" y="20110"/>
                </a:cxn>
                <a:cxn ang="0">
                  <a:pos x="4136" y="19366"/>
                </a:cxn>
                <a:cxn ang="0">
                  <a:pos x="1379" y="20110"/>
                </a:cxn>
                <a:cxn ang="0">
                  <a:pos x="3217" y="19366"/>
                </a:cxn>
                <a:cxn ang="0">
                  <a:pos x="2298" y="16386"/>
                </a:cxn>
                <a:cxn ang="0">
                  <a:pos x="919" y="15641"/>
                </a:cxn>
                <a:cxn ang="0">
                  <a:pos x="1379" y="14152"/>
                </a:cxn>
                <a:cxn ang="0">
                  <a:pos x="919" y="12662"/>
                </a:cxn>
                <a:cxn ang="0">
                  <a:pos x="1379" y="11172"/>
                </a:cxn>
                <a:cxn ang="0">
                  <a:pos x="919" y="10428"/>
                </a:cxn>
                <a:cxn ang="0">
                  <a:pos x="0" y="8938"/>
                </a:cxn>
                <a:cxn ang="0">
                  <a:pos x="1379" y="7448"/>
                </a:cxn>
                <a:cxn ang="0">
                  <a:pos x="5515" y="5959"/>
                </a:cxn>
                <a:cxn ang="0">
                  <a:pos x="6434" y="7448"/>
                </a:cxn>
                <a:cxn ang="0">
                  <a:pos x="7353" y="5959"/>
                </a:cxn>
                <a:cxn ang="0">
                  <a:pos x="8732" y="7448"/>
                </a:cxn>
                <a:cxn ang="0">
                  <a:pos x="9651" y="5959"/>
                </a:cxn>
                <a:cxn ang="0">
                  <a:pos x="10570" y="3724"/>
                </a:cxn>
                <a:cxn ang="0">
                  <a:pos x="16085" y="2234"/>
                </a:cxn>
                <a:cxn ang="0">
                  <a:pos x="19302" y="3724"/>
                </a:cxn>
                <a:cxn ang="0">
                  <a:pos x="19302" y="0"/>
                </a:cxn>
              </a:cxnLst>
              <a:rect l="0" t="0" r="r" b="b"/>
              <a:pathLst>
                <a:path w="21600" h="21600">
                  <a:moveTo>
                    <a:pt x="19302" y="0"/>
                  </a:moveTo>
                  <a:lnTo>
                    <a:pt x="20221" y="0"/>
                  </a:lnTo>
                  <a:lnTo>
                    <a:pt x="20221" y="745"/>
                  </a:lnTo>
                  <a:lnTo>
                    <a:pt x="20681" y="745"/>
                  </a:lnTo>
                  <a:lnTo>
                    <a:pt x="20681" y="2234"/>
                  </a:lnTo>
                  <a:lnTo>
                    <a:pt x="21600" y="2234"/>
                  </a:lnTo>
                  <a:lnTo>
                    <a:pt x="21600" y="5214"/>
                  </a:lnTo>
                  <a:lnTo>
                    <a:pt x="20681" y="5214"/>
                  </a:lnTo>
                  <a:lnTo>
                    <a:pt x="20681" y="7448"/>
                  </a:lnTo>
                  <a:lnTo>
                    <a:pt x="19302" y="7448"/>
                  </a:lnTo>
                  <a:lnTo>
                    <a:pt x="19302" y="8938"/>
                  </a:lnTo>
                  <a:lnTo>
                    <a:pt x="17004" y="8938"/>
                  </a:lnTo>
                  <a:lnTo>
                    <a:pt x="17004" y="10428"/>
                  </a:lnTo>
                  <a:lnTo>
                    <a:pt x="16085" y="10428"/>
                  </a:lnTo>
                  <a:lnTo>
                    <a:pt x="16085" y="12662"/>
                  </a:lnTo>
                  <a:lnTo>
                    <a:pt x="17004" y="12662"/>
                  </a:lnTo>
                  <a:lnTo>
                    <a:pt x="17004" y="14152"/>
                  </a:lnTo>
                  <a:lnTo>
                    <a:pt x="16085" y="14152"/>
                  </a:lnTo>
                  <a:lnTo>
                    <a:pt x="16085" y="15641"/>
                  </a:lnTo>
                  <a:lnTo>
                    <a:pt x="14247" y="15641"/>
                  </a:lnTo>
                  <a:lnTo>
                    <a:pt x="14247" y="16386"/>
                  </a:lnTo>
                  <a:lnTo>
                    <a:pt x="13787" y="16386"/>
                  </a:lnTo>
                  <a:lnTo>
                    <a:pt x="13787" y="20110"/>
                  </a:lnTo>
                  <a:lnTo>
                    <a:pt x="12868" y="20110"/>
                  </a:lnTo>
                  <a:lnTo>
                    <a:pt x="12868" y="21600"/>
                  </a:lnTo>
                  <a:lnTo>
                    <a:pt x="11949" y="20110"/>
                  </a:lnTo>
                  <a:lnTo>
                    <a:pt x="9651" y="20110"/>
                  </a:lnTo>
                  <a:lnTo>
                    <a:pt x="9651" y="19366"/>
                  </a:lnTo>
                  <a:lnTo>
                    <a:pt x="8732" y="19366"/>
                  </a:lnTo>
                  <a:lnTo>
                    <a:pt x="8732" y="17876"/>
                  </a:lnTo>
                  <a:lnTo>
                    <a:pt x="7813" y="17876"/>
                  </a:lnTo>
                  <a:lnTo>
                    <a:pt x="7813" y="19366"/>
                  </a:lnTo>
                  <a:lnTo>
                    <a:pt x="7353" y="20110"/>
                  </a:lnTo>
                  <a:lnTo>
                    <a:pt x="4596" y="20110"/>
                  </a:lnTo>
                  <a:lnTo>
                    <a:pt x="4596" y="19366"/>
                  </a:lnTo>
                  <a:lnTo>
                    <a:pt x="4136" y="19366"/>
                  </a:lnTo>
                  <a:lnTo>
                    <a:pt x="4136" y="20110"/>
                  </a:lnTo>
                  <a:lnTo>
                    <a:pt x="1379" y="20110"/>
                  </a:lnTo>
                  <a:lnTo>
                    <a:pt x="1379" y="19366"/>
                  </a:lnTo>
                  <a:lnTo>
                    <a:pt x="3217" y="19366"/>
                  </a:lnTo>
                  <a:lnTo>
                    <a:pt x="3217" y="16386"/>
                  </a:lnTo>
                  <a:lnTo>
                    <a:pt x="2298" y="16386"/>
                  </a:lnTo>
                  <a:lnTo>
                    <a:pt x="1379" y="15641"/>
                  </a:lnTo>
                  <a:lnTo>
                    <a:pt x="919" y="15641"/>
                  </a:lnTo>
                  <a:lnTo>
                    <a:pt x="919" y="14152"/>
                  </a:lnTo>
                  <a:lnTo>
                    <a:pt x="1379" y="14152"/>
                  </a:lnTo>
                  <a:lnTo>
                    <a:pt x="1379" y="12662"/>
                  </a:lnTo>
                  <a:lnTo>
                    <a:pt x="919" y="12662"/>
                  </a:lnTo>
                  <a:lnTo>
                    <a:pt x="919" y="11172"/>
                  </a:lnTo>
                  <a:lnTo>
                    <a:pt x="1379" y="11172"/>
                  </a:lnTo>
                  <a:lnTo>
                    <a:pt x="1379" y="10428"/>
                  </a:lnTo>
                  <a:lnTo>
                    <a:pt x="919" y="10428"/>
                  </a:lnTo>
                  <a:lnTo>
                    <a:pt x="919" y="8938"/>
                  </a:lnTo>
                  <a:lnTo>
                    <a:pt x="0" y="8938"/>
                  </a:lnTo>
                  <a:lnTo>
                    <a:pt x="0" y="7448"/>
                  </a:lnTo>
                  <a:lnTo>
                    <a:pt x="1379" y="7448"/>
                  </a:lnTo>
                  <a:lnTo>
                    <a:pt x="1379" y="5959"/>
                  </a:lnTo>
                  <a:lnTo>
                    <a:pt x="5515" y="5959"/>
                  </a:lnTo>
                  <a:lnTo>
                    <a:pt x="5515" y="7448"/>
                  </a:lnTo>
                  <a:lnTo>
                    <a:pt x="6434" y="7448"/>
                  </a:lnTo>
                  <a:lnTo>
                    <a:pt x="6434" y="5959"/>
                  </a:lnTo>
                  <a:lnTo>
                    <a:pt x="7353" y="5959"/>
                  </a:lnTo>
                  <a:lnTo>
                    <a:pt x="7353" y="7448"/>
                  </a:lnTo>
                  <a:lnTo>
                    <a:pt x="8732" y="7448"/>
                  </a:lnTo>
                  <a:lnTo>
                    <a:pt x="8732" y="5959"/>
                  </a:lnTo>
                  <a:lnTo>
                    <a:pt x="9651" y="5959"/>
                  </a:lnTo>
                  <a:lnTo>
                    <a:pt x="10570" y="5214"/>
                  </a:lnTo>
                  <a:lnTo>
                    <a:pt x="10570" y="3724"/>
                  </a:lnTo>
                  <a:lnTo>
                    <a:pt x="16085" y="3724"/>
                  </a:lnTo>
                  <a:lnTo>
                    <a:pt x="16085" y="2234"/>
                  </a:lnTo>
                  <a:lnTo>
                    <a:pt x="18383" y="2234"/>
                  </a:lnTo>
                  <a:lnTo>
                    <a:pt x="19302" y="3724"/>
                  </a:lnTo>
                  <a:lnTo>
                    <a:pt x="19302" y="0"/>
                  </a:lnTo>
                  <a:close/>
                  <a:moveTo>
                    <a:pt x="19302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68" name="Freeform 20"/>
            <p:cNvSpPr>
              <a:spLocks/>
            </p:cNvSpPr>
            <p:nvPr/>
          </p:nvSpPr>
          <p:spPr bwMode="auto">
            <a:xfrm>
              <a:off x="7794993" y="4118097"/>
              <a:ext cx="460856" cy="193406"/>
            </a:xfrm>
            <a:custGeom>
              <a:avLst/>
              <a:gdLst/>
              <a:ahLst/>
              <a:cxnLst>
                <a:cxn ang="0">
                  <a:pos x="10193" y="0"/>
                </a:cxn>
                <a:cxn ang="0">
                  <a:pos x="10921" y="2700"/>
                </a:cxn>
                <a:cxn ang="0">
                  <a:pos x="12135" y="4320"/>
                </a:cxn>
                <a:cxn ang="0">
                  <a:pos x="12620" y="3780"/>
                </a:cxn>
                <a:cxn ang="0">
                  <a:pos x="15290" y="2700"/>
                </a:cxn>
                <a:cxn ang="0">
                  <a:pos x="16018" y="3780"/>
                </a:cxn>
                <a:cxn ang="0">
                  <a:pos x="16503" y="2700"/>
                </a:cxn>
                <a:cxn ang="0">
                  <a:pos x="17231" y="1620"/>
                </a:cxn>
                <a:cxn ang="0">
                  <a:pos x="17717" y="1620"/>
                </a:cxn>
                <a:cxn ang="0">
                  <a:pos x="18202" y="2700"/>
                </a:cxn>
                <a:cxn ang="0">
                  <a:pos x="19416" y="4320"/>
                </a:cxn>
                <a:cxn ang="0">
                  <a:pos x="20629" y="5400"/>
                </a:cxn>
                <a:cxn ang="0">
                  <a:pos x="21600" y="7560"/>
                </a:cxn>
                <a:cxn ang="0">
                  <a:pos x="21115" y="8100"/>
                </a:cxn>
                <a:cxn ang="0">
                  <a:pos x="20629" y="10260"/>
                </a:cxn>
                <a:cxn ang="0">
                  <a:pos x="20387" y="11880"/>
                </a:cxn>
                <a:cxn ang="0">
                  <a:pos x="19901" y="12960"/>
                </a:cxn>
                <a:cxn ang="0">
                  <a:pos x="19416" y="14040"/>
                </a:cxn>
                <a:cxn ang="0">
                  <a:pos x="18688" y="12960"/>
                </a:cxn>
                <a:cxn ang="0">
                  <a:pos x="17717" y="11880"/>
                </a:cxn>
                <a:cxn ang="0">
                  <a:pos x="16989" y="11340"/>
                </a:cxn>
                <a:cxn ang="0">
                  <a:pos x="14804" y="11880"/>
                </a:cxn>
                <a:cxn ang="0">
                  <a:pos x="13834" y="12960"/>
                </a:cxn>
                <a:cxn ang="0">
                  <a:pos x="13591" y="14040"/>
                </a:cxn>
                <a:cxn ang="0">
                  <a:pos x="13106" y="15120"/>
                </a:cxn>
                <a:cxn ang="0">
                  <a:pos x="12135" y="16740"/>
                </a:cxn>
                <a:cxn ang="0">
                  <a:pos x="11407" y="15660"/>
                </a:cxn>
                <a:cxn ang="0">
                  <a:pos x="10193" y="15120"/>
                </a:cxn>
                <a:cxn ang="0">
                  <a:pos x="9708" y="15660"/>
                </a:cxn>
                <a:cxn ang="0">
                  <a:pos x="8494" y="16740"/>
                </a:cxn>
                <a:cxn ang="0">
                  <a:pos x="8009" y="17820"/>
                </a:cxn>
                <a:cxn ang="0">
                  <a:pos x="7524" y="18900"/>
                </a:cxn>
                <a:cxn ang="0">
                  <a:pos x="7038" y="19440"/>
                </a:cxn>
                <a:cxn ang="0">
                  <a:pos x="4611" y="20520"/>
                </a:cxn>
                <a:cxn ang="0">
                  <a:pos x="3398" y="21600"/>
                </a:cxn>
                <a:cxn ang="0">
                  <a:pos x="2427" y="20520"/>
                </a:cxn>
                <a:cxn ang="0">
                  <a:pos x="2184" y="19440"/>
                </a:cxn>
                <a:cxn ang="0">
                  <a:pos x="728" y="18900"/>
                </a:cxn>
                <a:cxn ang="0">
                  <a:pos x="485" y="16740"/>
                </a:cxn>
                <a:cxn ang="0">
                  <a:pos x="0" y="15660"/>
                </a:cxn>
                <a:cxn ang="0">
                  <a:pos x="485" y="12960"/>
                </a:cxn>
                <a:cxn ang="0">
                  <a:pos x="0" y="11880"/>
                </a:cxn>
                <a:cxn ang="0">
                  <a:pos x="485" y="10260"/>
                </a:cxn>
                <a:cxn ang="0">
                  <a:pos x="728" y="9180"/>
                </a:cxn>
                <a:cxn ang="0">
                  <a:pos x="3398" y="8100"/>
                </a:cxn>
                <a:cxn ang="0">
                  <a:pos x="4126" y="7560"/>
                </a:cxn>
                <a:cxn ang="0">
                  <a:pos x="4611" y="6480"/>
                </a:cxn>
                <a:cxn ang="0">
                  <a:pos x="5097" y="4320"/>
                </a:cxn>
                <a:cxn ang="0">
                  <a:pos x="5825" y="3780"/>
                </a:cxn>
                <a:cxn ang="0">
                  <a:pos x="6310" y="2700"/>
                </a:cxn>
                <a:cxn ang="0">
                  <a:pos x="6796" y="540"/>
                </a:cxn>
                <a:cxn ang="0">
                  <a:pos x="8009" y="1620"/>
                </a:cxn>
                <a:cxn ang="0">
                  <a:pos x="8737" y="2700"/>
                </a:cxn>
                <a:cxn ang="0">
                  <a:pos x="9222" y="540"/>
                </a:cxn>
                <a:cxn ang="0">
                  <a:pos x="9708" y="0"/>
                </a:cxn>
              </a:cxnLst>
              <a:rect l="0" t="0" r="r" b="b"/>
              <a:pathLst>
                <a:path w="21600" h="21600">
                  <a:moveTo>
                    <a:pt x="9708" y="0"/>
                  </a:moveTo>
                  <a:lnTo>
                    <a:pt x="10193" y="0"/>
                  </a:lnTo>
                  <a:lnTo>
                    <a:pt x="10193" y="2700"/>
                  </a:lnTo>
                  <a:lnTo>
                    <a:pt x="10921" y="2700"/>
                  </a:lnTo>
                  <a:lnTo>
                    <a:pt x="10921" y="4320"/>
                  </a:lnTo>
                  <a:lnTo>
                    <a:pt x="12135" y="4320"/>
                  </a:lnTo>
                  <a:lnTo>
                    <a:pt x="12135" y="3780"/>
                  </a:lnTo>
                  <a:lnTo>
                    <a:pt x="12620" y="3780"/>
                  </a:lnTo>
                  <a:lnTo>
                    <a:pt x="13106" y="2700"/>
                  </a:lnTo>
                  <a:lnTo>
                    <a:pt x="15290" y="2700"/>
                  </a:lnTo>
                  <a:lnTo>
                    <a:pt x="15290" y="3780"/>
                  </a:lnTo>
                  <a:lnTo>
                    <a:pt x="16018" y="3780"/>
                  </a:lnTo>
                  <a:lnTo>
                    <a:pt x="16018" y="2700"/>
                  </a:lnTo>
                  <a:lnTo>
                    <a:pt x="16503" y="2700"/>
                  </a:lnTo>
                  <a:lnTo>
                    <a:pt x="16503" y="1620"/>
                  </a:lnTo>
                  <a:lnTo>
                    <a:pt x="17231" y="1620"/>
                  </a:lnTo>
                  <a:lnTo>
                    <a:pt x="17231" y="2700"/>
                  </a:lnTo>
                  <a:lnTo>
                    <a:pt x="17717" y="1620"/>
                  </a:lnTo>
                  <a:lnTo>
                    <a:pt x="18202" y="1620"/>
                  </a:lnTo>
                  <a:lnTo>
                    <a:pt x="18202" y="2700"/>
                  </a:lnTo>
                  <a:lnTo>
                    <a:pt x="19416" y="2700"/>
                  </a:lnTo>
                  <a:lnTo>
                    <a:pt x="19416" y="4320"/>
                  </a:lnTo>
                  <a:lnTo>
                    <a:pt x="20387" y="4320"/>
                  </a:lnTo>
                  <a:lnTo>
                    <a:pt x="20629" y="5400"/>
                  </a:lnTo>
                  <a:lnTo>
                    <a:pt x="21600" y="5400"/>
                  </a:lnTo>
                  <a:lnTo>
                    <a:pt x="21600" y="7560"/>
                  </a:lnTo>
                  <a:lnTo>
                    <a:pt x="21115" y="7560"/>
                  </a:lnTo>
                  <a:lnTo>
                    <a:pt x="21115" y="8100"/>
                  </a:lnTo>
                  <a:lnTo>
                    <a:pt x="20629" y="9180"/>
                  </a:lnTo>
                  <a:lnTo>
                    <a:pt x="20629" y="10260"/>
                  </a:lnTo>
                  <a:lnTo>
                    <a:pt x="20387" y="10260"/>
                  </a:lnTo>
                  <a:lnTo>
                    <a:pt x="20387" y="11880"/>
                  </a:lnTo>
                  <a:lnTo>
                    <a:pt x="19901" y="11880"/>
                  </a:lnTo>
                  <a:lnTo>
                    <a:pt x="19901" y="12960"/>
                  </a:lnTo>
                  <a:lnTo>
                    <a:pt x="19416" y="12960"/>
                  </a:lnTo>
                  <a:lnTo>
                    <a:pt x="19416" y="14040"/>
                  </a:lnTo>
                  <a:lnTo>
                    <a:pt x="18688" y="14040"/>
                  </a:lnTo>
                  <a:lnTo>
                    <a:pt x="18688" y="12960"/>
                  </a:lnTo>
                  <a:lnTo>
                    <a:pt x="18202" y="12960"/>
                  </a:lnTo>
                  <a:lnTo>
                    <a:pt x="17717" y="11880"/>
                  </a:lnTo>
                  <a:lnTo>
                    <a:pt x="16989" y="11880"/>
                  </a:lnTo>
                  <a:lnTo>
                    <a:pt x="16989" y="11340"/>
                  </a:lnTo>
                  <a:lnTo>
                    <a:pt x="14804" y="11340"/>
                  </a:lnTo>
                  <a:lnTo>
                    <a:pt x="14804" y="11880"/>
                  </a:lnTo>
                  <a:lnTo>
                    <a:pt x="14319" y="11880"/>
                  </a:lnTo>
                  <a:lnTo>
                    <a:pt x="13834" y="12960"/>
                  </a:lnTo>
                  <a:lnTo>
                    <a:pt x="13591" y="12960"/>
                  </a:lnTo>
                  <a:lnTo>
                    <a:pt x="13591" y="14040"/>
                  </a:lnTo>
                  <a:lnTo>
                    <a:pt x="13106" y="14040"/>
                  </a:lnTo>
                  <a:lnTo>
                    <a:pt x="13106" y="15120"/>
                  </a:lnTo>
                  <a:lnTo>
                    <a:pt x="12135" y="15120"/>
                  </a:lnTo>
                  <a:lnTo>
                    <a:pt x="12135" y="16740"/>
                  </a:lnTo>
                  <a:lnTo>
                    <a:pt x="11892" y="16740"/>
                  </a:lnTo>
                  <a:lnTo>
                    <a:pt x="11407" y="15660"/>
                  </a:lnTo>
                  <a:lnTo>
                    <a:pt x="10193" y="15660"/>
                  </a:lnTo>
                  <a:lnTo>
                    <a:pt x="10193" y="15120"/>
                  </a:lnTo>
                  <a:lnTo>
                    <a:pt x="9708" y="15120"/>
                  </a:lnTo>
                  <a:lnTo>
                    <a:pt x="9708" y="15660"/>
                  </a:lnTo>
                  <a:lnTo>
                    <a:pt x="8737" y="15660"/>
                  </a:lnTo>
                  <a:lnTo>
                    <a:pt x="8494" y="16740"/>
                  </a:lnTo>
                  <a:lnTo>
                    <a:pt x="8009" y="16740"/>
                  </a:lnTo>
                  <a:lnTo>
                    <a:pt x="8009" y="17820"/>
                  </a:lnTo>
                  <a:lnTo>
                    <a:pt x="7524" y="17820"/>
                  </a:lnTo>
                  <a:lnTo>
                    <a:pt x="7524" y="18900"/>
                  </a:lnTo>
                  <a:lnTo>
                    <a:pt x="7038" y="18900"/>
                  </a:lnTo>
                  <a:lnTo>
                    <a:pt x="7038" y="19440"/>
                  </a:lnTo>
                  <a:lnTo>
                    <a:pt x="7524" y="20520"/>
                  </a:lnTo>
                  <a:lnTo>
                    <a:pt x="4611" y="20520"/>
                  </a:lnTo>
                  <a:lnTo>
                    <a:pt x="4126" y="21600"/>
                  </a:lnTo>
                  <a:lnTo>
                    <a:pt x="3398" y="21600"/>
                  </a:lnTo>
                  <a:lnTo>
                    <a:pt x="3398" y="20520"/>
                  </a:lnTo>
                  <a:lnTo>
                    <a:pt x="2427" y="20520"/>
                  </a:lnTo>
                  <a:lnTo>
                    <a:pt x="2427" y="19440"/>
                  </a:lnTo>
                  <a:lnTo>
                    <a:pt x="2184" y="19440"/>
                  </a:lnTo>
                  <a:lnTo>
                    <a:pt x="2184" y="18900"/>
                  </a:lnTo>
                  <a:lnTo>
                    <a:pt x="728" y="18900"/>
                  </a:lnTo>
                  <a:lnTo>
                    <a:pt x="728" y="16740"/>
                  </a:lnTo>
                  <a:lnTo>
                    <a:pt x="485" y="16740"/>
                  </a:lnTo>
                  <a:lnTo>
                    <a:pt x="485" y="15660"/>
                  </a:lnTo>
                  <a:lnTo>
                    <a:pt x="0" y="15660"/>
                  </a:lnTo>
                  <a:lnTo>
                    <a:pt x="0" y="12960"/>
                  </a:lnTo>
                  <a:lnTo>
                    <a:pt x="485" y="12960"/>
                  </a:lnTo>
                  <a:lnTo>
                    <a:pt x="485" y="11880"/>
                  </a:lnTo>
                  <a:lnTo>
                    <a:pt x="0" y="11880"/>
                  </a:lnTo>
                  <a:lnTo>
                    <a:pt x="485" y="11340"/>
                  </a:lnTo>
                  <a:lnTo>
                    <a:pt x="485" y="10260"/>
                  </a:lnTo>
                  <a:lnTo>
                    <a:pt x="728" y="10260"/>
                  </a:lnTo>
                  <a:lnTo>
                    <a:pt x="728" y="9180"/>
                  </a:lnTo>
                  <a:lnTo>
                    <a:pt x="2912" y="9180"/>
                  </a:lnTo>
                  <a:lnTo>
                    <a:pt x="3398" y="8100"/>
                  </a:lnTo>
                  <a:lnTo>
                    <a:pt x="3398" y="7560"/>
                  </a:lnTo>
                  <a:lnTo>
                    <a:pt x="4126" y="7560"/>
                  </a:lnTo>
                  <a:lnTo>
                    <a:pt x="4126" y="6480"/>
                  </a:lnTo>
                  <a:lnTo>
                    <a:pt x="4611" y="6480"/>
                  </a:lnTo>
                  <a:lnTo>
                    <a:pt x="4611" y="4320"/>
                  </a:lnTo>
                  <a:lnTo>
                    <a:pt x="5097" y="4320"/>
                  </a:lnTo>
                  <a:lnTo>
                    <a:pt x="5097" y="3780"/>
                  </a:lnTo>
                  <a:lnTo>
                    <a:pt x="5825" y="3780"/>
                  </a:lnTo>
                  <a:lnTo>
                    <a:pt x="5825" y="2700"/>
                  </a:lnTo>
                  <a:lnTo>
                    <a:pt x="6310" y="2700"/>
                  </a:lnTo>
                  <a:lnTo>
                    <a:pt x="6310" y="1620"/>
                  </a:lnTo>
                  <a:lnTo>
                    <a:pt x="6796" y="540"/>
                  </a:lnTo>
                  <a:lnTo>
                    <a:pt x="7524" y="540"/>
                  </a:lnTo>
                  <a:lnTo>
                    <a:pt x="8009" y="1620"/>
                  </a:lnTo>
                  <a:lnTo>
                    <a:pt x="8009" y="2700"/>
                  </a:lnTo>
                  <a:lnTo>
                    <a:pt x="8737" y="2700"/>
                  </a:lnTo>
                  <a:lnTo>
                    <a:pt x="8737" y="1620"/>
                  </a:lnTo>
                  <a:lnTo>
                    <a:pt x="9222" y="540"/>
                  </a:lnTo>
                  <a:lnTo>
                    <a:pt x="9708" y="540"/>
                  </a:lnTo>
                  <a:lnTo>
                    <a:pt x="9708" y="0"/>
                  </a:lnTo>
                  <a:close/>
                  <a:moveTo>
                    <a:pt x="9708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69" name="AutoShape 21"/>
            <p:cNvSpPr>
              <a:spLocks/>
            </p:cNvSpPr>
            <p:nvPr/>
          </p:nvSpPr>
          <p:spPr bwMode="auto">
            <a:xfrm>
              <a:off x="7955364" y="4462602"/>
              <a:ext cx="347753" cy="382783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645" y="6646"/>
                  </a:moveTo>
                  <a:lnTo>
                    <a:pt x="1290" y="6646"/>
                  </a:lnTo>
                  <a:lnTo>
                    <a:pt x="1290" y="7200"/>
                  </a:lnTo>
                  <a:lnTo>
                    <a:pt x="645" y="7200"/>
                  </a:lnTo>
                  <a:lnTo>
                    <a:pt x="645" y="6646"/>
                  </a:lnTo>
                  <a:close/>
                  <a:moveTo>
                    <a:pt x="2901" y="0"/>
                  </a:moveTo>
                  <a:lnTo>
                    <a:pt x="3869" y="0"/>
                  </a:lnTo>
                  <a:lnTo>
                    <a:pt x="3869" y="277"/>
                  </a:lnTo>
                  <a:lnTo>
                    <a:pt x="4513" y="277"/>
                  </a:lnTo>
                  <a:lnTo>
                    <a:pt x="4513" y="0"/>
                  </a:lnTo>
                  <a:lnTo>
                    <a:pt x="5158" y="0"/>
                  </a:lnTo>
                  <a:lnTo>
                    <a:pt x="5158" y="277"/>
                  </a:lnTo>
                  <a:lnTo>
                    <a:pt x="5803" y="277"/>
                  </a:lnTo>
                  <a:lnTo>
                    <a:pt x="5803" y="0"/>
                  </a:lnTo>
                  <a:lnTo>
                    <a:pt x="6125" y="0"/>
                  </a:lnTo>
                  <a:lnTo>
                    <a:pt x="6125" y="277"/>
                  </a:lnTo>
                  <a:lnTo>
                    <a:pt x="6770" y="277"/>
                  </a:lnTo>
                  <a:lnTo>
                    <a:pt x="7415" y="831"/>
                  </a:lnTo>
                  <a:lnTo>
                    <a:pt x="7415" y="1385"/>
                  </a:lnTo>
                  <a:lnTo>
                    <a:pt x="8382" y="1385"/>
                  </a:lnTo>
                  <a:lnTo>
                    <a:pt x="8382" y="1938"/>
                  </a:lnTo>
                  <a:lnTo>
                    <a:pt x="9027" y="2215"/>
                  </a:lnTo>
                  <a:lnTo>
                    <a:pt x="9672" y="2215"/>
                  </a:lnTo>
                  <a:lnTo>
                    <a:pt x="9672" y="3600"/>
                  </a:lnTo>
                  <a:lnTo>
                    <a:pt x="10316" y="4154"/>
                  </a:lnTo>
                  <a:lnTo>
                    <a:pt x="10639" y="4154"/>
                  </a:lnTo>
                  <a:lnTo>
                    <a:pt x="10639" y="4708"/>
                  </a:lnTo>
                  <a:lnTo>
                    <a:pt x="11284" y="4708"/>
                  </a:lnTo>
                  <a:lnTo>
                    <a:pt x="11928" y="5262"/>
                  </a:lnTo>
                  <a:lnTo>
                    <a:pt x="12896" y="5262"/>
                  </a:lnTo>
                  <a:lnTo>
                    <a:pt x="12896" y="5538"/>
                  </a:lnTo>
                  <a:lnTo>
                    <a:pt x="13540" y="5538"/>
                  </a:lnTo>
                  <a:lnTo>
                    <a:pt x="12896" y="6092"/>
                  </a:lnTo>
                  <a:lnTo>
                    <a:pt x="12896" y="6646"/>
                  </a:lnTo>
                  <a:lnTo>
                    <a:pt x="13540" y="6646"/>
                  </a:lnTo>
                  <a:lnTo>
                    <a:pt x="13540" y="7200"/>
                  </a:lnTo>
                  <a:lnTo>
                    <a:pt x="12573" y="7200"/>
                  </a:lnTo>
                  <a:lnTo>
                    <a:pt x="12573" y="7477"/>
                  </a:lnTo>
                  <a:lnTo>
                    <a:pt x="13540" y="7477"/>
                  </a:lnTo>
                  <a:lnTo>
                    <a:pt x="13540" y="8031"/>
                  </a:lnTo>
                  <a:lnTo>
                    <a:pt x="15152" y="8031"/>
                  </a:lnTo>
                  <a:lnTo>
                    <a:pt x="15152" y="8585"/>
                  </a:lnTo>
                  <a:lnTo>
                    <a:pt x="15797" y="8585"/>
                  </a:lnTo>
                  <a:lnTo>
                    <a:pt x="15797" y="9138"/>
                  </a:lnTo>
                  <a:lnTo>
                    <a:pt x="16442" y="9138"/>
                  </a:lnTo>
                  <a:lnTo>
                    <a:pt x="16442" y="9415"/>
                  </a:lnTo>
                  <a:lnTo>
                    <a:pt x="17087" y="9415"/>
                  </a:lnTo>
                  <a:lnTo>
                    <a:pt x="17087" y="9138"/>
                  </a:lnTo>
                  <a:lnTo>
                    <a:pt x="17409" y="8585"/>
                  </a:lnTo>
                  <a:lnTo>
                    <a:pt x="18054" y="8585"/>
                  </a:lnTo>
                  <a:lnTo>
                    <a:pt x="18054" y="8031"/>
                  </a:lnTo>
                  <a:lnTo>
                    <a:pt x="18699" y="8031"/>
                  </a:lnTo>
                  <a:lnTo>
                    <a:pt x="18699" y="8585"/>
                  </a:lnTo>
                  <a:lnTo>
                    <a:pt x="19666" y="8585"/>
                  </a:lnTo>
                  <a:lnTo>
                    <a:pt x="19666" y="9138"/>
                  </a:lnTo>
                  <a:lnTo>
                    <a:pt x="18054" y="9138"/>
                  </a:lnTo>
                  <a:lnTo>
                    <a:pt x="18054" y="9415"/>
                  </a:lnTo>
                  <a:lnTo>
                    <a:pt x="18699" y="9415"/>
                  </a:lnTo>
                  <a:lnTo>
                    <a:pt x="18699" y="10523"/>
                  </a:lnTo>
                  <a:lnTo>
                    <a:pt x="19343" y="9969"/>
                  </a:lnTo>
                  <a:lnTo>
                    <a:pt x="19343" y="11908"/>
                  </a:lnTo>
                  <a:lnTo>
                    <a:pt x="18699" y="11908"/>
                  </a:lnTo>
                  <a:lnTo>
                    <a:pt x="18054" y="12462"/>
                  </a:lnTo>
                  <a:lnTo>
                    <a:pt x="18054" y="13846"/>
                  </a:lnTo>
                  <a:lnTo>
                    <a:pt x="18699" y="13846"/>
                  </a:lnTo>
                  <a:lnTo>
                    <a:pt x="18699" y="14954"/>
                  </a:lnTo>
                  <a:lnTo>
                    <a:pt x="19343" y="14954"/>
                  </a:lnTo>
                  <a:lnTo>
                    <a:pt x="19343" y="15231"/>
                  </a:lnTo>
                  <a:lnTo>
                    <a:pt x="20310" y="15231"/>
                  </a:lnTo>
                  <a:lnTo>
                    <a:pt x="20310" y="15785"/>
                  </a:lnTo>
                  <a:lnTo>
                    <a:pt x="20955" y="15785"/>
                  </a:lnTo>
                  <a:lnTo>
                    <a:pt x="20955" y="16338"/>
                  </a:lnTo>
                  <a:lnTo>
                    <a:pt x="21600" y="16338"/>
                  </a:lnTo>
                  <a:lnTo>
                    <a:pt x="21600" y="16892"/>
                  </a:lnTo>
                  <a:lnTo>
                    <a:pt x="20955" y="16892"/>
                  </a:lnTo>
                  <a:lnTo>
                    <a:pt x="20955" y="17169"/>
                  </a:lnTo>
                  <a:lnTo>
                    <a:pt x="19666" y="17169"/>
                  </a:lnTo>
                  <a:lnTo>
                    <a:pt x="19666" y="17723"/>
                  </a:lnTo>
                  <a:lnTo>
                    <a:pt x="18699" y="17723"/>
                  </a:lnTo>
                  <a:lnTo>
                    <a:pt x="18699" y="19108"/>
                  </a:lnTo>
                  <a:lnTo>
                    <a:pt x="18054" y="19108"/>
                  </a:lnTo>
                  <a:lnTo>
                    <a:pt x="18054" y="19662"/>
                  </a:lnTo>
                  <a:lnTo>
                    <a:pt x="18699" y="19662"/>
                  </a:lnTo>
                  <a:lnTo>
                    <a:pt x="19343" y="20215"/>
                  </a:lnTo>
                  <a:lnTo>
                    <a:pt x="18699" y="20215"/>
                  </a:lnTo>
                  <a:lnTo>
                    <a:pt x="18699" y="21046"/>
                  </a:lnTo>
                  <a:lnTo>
                    <a:pt x="14830" y="21046"/>
                  </a:lnTo>
                  <a:lnTo>
                    <a:pt x="14185" y="21600"/>
                  </a:lnTo>
                  <a:lnTo>
                    <a:pt x="14185" y="21046"/>
                  </a:lnTo>
                  <a:lnTo>
                    <a:pt x="13540" y="21046"/>
                  </a:lnTo>
                  <a:lnTo>
                    <a:pt x="13540" y="20769"/>
                  </a:lnTo>
                  <a:lnTo>
                    <a:pt x="14185" y="20769"/>
                  </a:lnTo>
                  <a:lnTo>
                    <a:pt x="14185" y="20215"/>
                  </a:lnTo>
                  <a:lnTo>
                    <a:pt x="14830" y="19662"/>
                  </a:lnTo>
                  <a:lnTo>
                    <a:pt x="14830" y="18831"/>
                  </a:lnTo>
                  <a:lnTo>
                    <a:pt x="14185" y="19108"/>
                  </a:lnTo>
                  <a:lnTo>
                    <a:pt x="14185" y="18831"/>
                  </a:lnTo>
                  <a:lnTo>
                    <a:pt x="12896" y="18831"/>
                  </a:lnTo>
                  <a:lnTo>
                    <a:pt x="12896" y="18277"/>
                  </a:lnTo>
                  <a:lnTo>
                    <a:pt x="12573" y="18277"/>
                  </a:lnTo>
                  <a:lnTo>
                    <a:pt x="12573" y="17723"/>
                  </a:lnTo>
                  <a:lnTo>
                    <a:pt x="11928" y="17723"/>
                  </a:lnTo>
                  <a:lnTo>
                    <a:pt x="11928" y="17169"/>
                  </a:lnTo>
                  <a:lnTo>
                    <a:pt x="11284" y="17169"/>
                  </a:lnTo>
                  <a:lnTo>
                    <a:pt x="11284" y="16892"/>
                  </a:lnTo>
                  <a:lnTo>
                    <a:pt x="10639" y="16892"/>
                  </a:lnTo>
                  <a:lnTo>
                    <a:pt x="10639" y="16338"/>
                  </a:lnTo>
                  <a:lnTo>
                    <a:pt x="10316" y="16338"/>
                  </a:lnTo>
                  <a:lnTo>
                    <a:pt x="10316" y="15785"/>
                  </a:lnTo>
                  <a:lnTo>
                    <a:pt x="9672" y="15785"/>
                  </a:lnTo>
                  <a:lnTo>
                    <a:pt x="9027" y="16338"/>
                  </a:lnTo>
                  <a:lnTo>
                    <a:pt x="9027" y="17169"/>
                  </a:lnTo>
                  <a:lnTo>
                    <a:pt x="8060" y="17169"/>
                  </a:lnTo>
                  <a:lnTo>
                    <a:pt x="8060" y="18277"/>
                  </a:lnTo>
                  <a:lnTo>
                    <a:pt x="7415" y="18277"/>
                  </a:lnTo>
                  <a:lnTo>
                    <a:pt x="7415" y="17723"/>
                  </a:lnTo>
                  <a:lnTo>
                    <a:pt x="6770" y="17169"/>
                  </a:lnTo>
                  <a:lnTo>
                    <a:pt x="6125" y="17169"/>
                  </a:lnTo>
                  <a:lnTo>
                    <a:pt x="5803" y="16892"/>
                  </a:lnTo>
                  <a:lnTo>
                    <a:pt x="4513" y="16892"/>
                  </a:lnTo>
                  <a:lnTo>
                    <a:pt x="4513" y="16338"/>
                  </a:lnTo>
                  <a:lnTo>
                    <a:pt x="3869" y="16338"/>
                  </a:lnTo>
                  <a:lnTo>
                    <a:pt x="3869" y="15785"/>
                  </a:lnTo>
                  <a:lnTo>
                    <a:pt x="3546" y="15231"/>
                  </a:lnTo>
                  <a:lnTo>
                    <a:pt x="2901" y="15231"/>
                  </a:lnTo>
                  <a:lnTo>
                    <a:pt x="2901" y="14954"/>
                  </a:lnTo>
                  <a:lnTo>
                    <a:pt x="2257" y="14954"/>
                  </a:lnTo>
                  <a:lnTo>
                    <a:pt x="1612" y="14400"/>
                  </a:lnTo>
                  <a:lnTo>
                    <a:pt x="2257" y="14400"/>
                  </a:lnTo>
                  <a:lnTo>
                    <a:pt x="2257" y="13846"/>
                  </a:lnTo>
                  <a:lnTo>
                    <a:pt x="3546" y="13846"/>
                  </a:lnTo>
                  <a:lnTo>
                    <a:pt x="3546" y="13015"/>
                  </a:lnTo>
                  <a:lnTo>
                    <a:pt x="2901" y="13015"/>
                  </a:lnTo>
                  <a:lnTo>
                    <a:pt x="2901" y="12462"/>
                  </a:lnTo>
                  <a:lnTo>
                    <a:pt x="2257" y="12462"/>
                  </a:lnTo>
                  <a:lnTo>
                    <a:pt x="2257" y="11908"/>
                  </a:lnTo>
                  <a:lnTo>
                    <a:pt x="3869" y="11908"/>
                  </a:lnTo>
                  <a:lnTo>
                    <a:pt x="3869" y="11354"/>
                  </a:lnTo>
                  <a:lnTo>
                    <a:pt x="3546" y="11354"/>
                  </a:lnTo>
                  <a:lnTo>
                    <a:pt x="3546" y="11077"/>
                  </a:lnTo>
                  <a:lnTo>
                    <a:pt x="2901" y="11077"/>
                  </a:lnTo>
                  <a:lnTo>
                    <a:pt x="2901" y="10523"/>
                  </a:lnTo>
                  <a:lnTo>
                    <a:pt x="2257" y="9969"/>
                  </a:lnTo>
                  <a:lnTo>
                    <a:pt x="2257" y="10523"/>
                  </a:lnTo>
                  <a:lnTo>
                    <a:pt x="1612" y="10523"/>
                  </a:lnTo>
                  <a:lnTo>
                    <a:pt x="1612" y="9969"/>
                  </a:lnTo>
                  <a:lnTo>
                    <a:pt x="1290" y="9969"/>
                  </a:lnTo>
                  <a:lnTo>
                    <a:pt x="1290" y="9415"/>
                  </a:lnTo>
                  <a:lnTo>
                    <a:pt x="1612" y="9415"/>
                  </a:lnTo>
                  <a:lnTo>
                    <a:pt x="1612" y="8031"/>
                  </a:lnTo>
                  <a:lnTo>
                    <a:pt x="2257" y="8031"/>
                  </a:lnTo>
                  <a:lnTo>
                    <a:pt x="2257" y="7200"/>
                  </a:lnTo>
                  <a:lnTo>
                    <a:pt x="2901" y="7200"/>
                  </a:lnTo>
                  <a:lnTo>
                    <a:pt x="2901" y="6646"/>
                  </a:lnTo>
                  <a:lnTo>
                    <a:pt x="2257" y="6646"/>
                  </a:lnTo>
                  <a:lnTo>
                    <a:pt x="2257" y="7200"/>
                  </a:lnTo>
                  <a:lnTo>
                    <a:pt x="1612" y="7200"/>
                  </a:lnTo>
                  <a:lnTo>
                    <a:pt x="1612" y="6646"/>
                  </a:lnTo>
                  <a:lnTo>
                    <a:pt x="1290" y="6646"/>
                  </a:lnTo>
                  <a:lnTo>
                    <a:pt x="1290" y="5262"/>
                  </a:lnTo>
                  <a:lnTo>
                    <a:pt x="2257" y="5262"/>
                  </a:lnTo>
                  <a:lnTo>
                    <a:pt x="2257" y="4708"/>
                  </a:lnTo>
                  <a:lnTo>
                    <a:pt x="1290" y="4708"/>
                  </a:lnTo>
                  <a:lnTo>
                    <a:pt x="645" y="4154"/>
                  </a:lnTo>
                  <a:lnTo>
                    <a:pt x="645" y="3600"/>
                  </a:lnTo>
                  <a:lnTo>
                    <a:pt x="1290" y="3600"/>
                  </a:lnTo>
                  <a:lnTo>
                    <a:pt x="1290" y="3323"/>
                  </a:lnTo>
                  <a:lnTo>
                    <a:pt x="0" y="3323"/>
                  </a:lnTo>
                  <a:lnTo>
                    <a:pt x="0" y="1385"/>
                  </a:lnTo>
                  <a:lnTo>
                    <a:pt x="645" y="1385"/>
                  </a:lnTo>
                  <a:lnTo>
                    <a:pt x="645" y="831"/>
                  </a:lnTo>
                  <a:lnTo>
                    <a:pt x="2257" y="831"/>
                  </a:lnTo>
                  <a:lnTo>
                    <a:pt x="2257" y="277"/>
                  </a:lnTo>
                  <a:lnTo>
                    <a:pt x="2901" y="277"/>
                  </a:lnTo>
                  <a:lnTo>
                    <a:pt x="2901" y="0"/>
                  </a:lnTo>
                  <a:close/>
                  <a:moveTo>
                    <a:pt x="2901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70" name="AutoShape 22"/>
            <p:cNvSpPr>
              <a:spLocks/>
            </p:cNvSpPr>
            <p:nvPr/>
          </p:nvSpPr>
          <p:spPr bwMode="auto">
            <a:xfrm>
              <a:off x="8017825" y="3519747"/>
              <a:ext cx="275163" cy="96703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815" y="16200"/>
                  </a:moveTo>
                  <a:lnTo>
                    <a:pt x="815" y="18360"/>
                  </a:lnTo>
                  <a:lnTo>
                    <a:pt x="0" y="18360"/>
                  </a:lnTo>
                  <a:lnTo>
                    <a:pt x="815" y="16200"/>
                  </a:lnTo>
                  <a:close/>
                  <a:moveTo>
                    <a:pt x="8151" y="0"/>
                  </a:moveTo>
                  <a:lnTo>
                    <a:pt x="8558" y="0"/>
                  </a:lnTo>
                  <a:lnTo>
                    <a:pt x="8558" y="1080"/>
                  </a:lnTo>
                  <a:lnTo>
                    <a:pt x="8151" y="1080"/>
                  </a:lnTo>
                  <a:lnTo>
                    <a:pt x="8151" y="3240"/>
                  </a:lnTo>
                  <a:lnTo>
                    <a:pt x="7336" y="3240"/>
                  </a:lnTo>
                  <a:lnTo>
                    <a:pt x="6521" y="5400"/>
                  </a:lnTo>
                  <a:lnTo>
                    <a:pt x="6521" y="7560"/>
                  </a:lnTo>
                  <a:lnTo>
                    <a:pt x="7336" y="7560"/>
                  </a:lnTo>
                  <a:lnTo>
                    <a:pt x="8151" y="8640"/>
                  </a:lnTo>
                  <a:lnTo>
                    <a:pt x="8558" y="8640"/>
                  </a:lnTo>
                  <a:lnTo>
                    <a:pt x="8558" y="7560"/>
                  </a:lnTo>
                  <a:lnTo>
                    <a:pt x="9374" y="7560"/>
                  </a:lnTo>
                  <a:lnTo>
                    <a:pt x="10189" y="5400"/>
                  </a:lnTo>
                  <a:lnTo>
                    <a:pt x="10189" y="1080"/>
                  </a:lnTo>
                  <a:lnTo>
                    <a:pt x="11004" y="1080"/>
                  </a:lnTo>
                  <a:lnTo>
                    <a:pt x="11004" y="0"/>
                  </a:lnTo>
                  <a:lnTo>
                    <a:pt x="11411" y="0"/>
                  </a:lnTo>
                  <a:lnTo>
                    <a:pt x="11411" y="1080"/>
                  </a:lnTo>
                  <a:lnTo>
                    <a:pt x="12226" y="1080"/>
                  </a:lnTo>
                  <a:lnTo>
                    <a:pt x="13042" y="3240"/>
                  </a:lnTo>
                  <a:lnTo>
                    <a:pt x="14264" y="3240"/>
                  </a:lnTo>
                  <a:lnTo>
                    <a:pt x="15079" y="5400"/>
                  </a:lnTo>
                  <a:lnTo>
                    <a:pt x="19970" y="5400"/>
                  </a:lnTo>
                  <a:lnTo>
                    <a:pt x="19970" y="8640"/>
                  </a:lnTo>
                  <a:lnTo>
                    <a:pt x="20785" y="8640"/>
                  </a:lnTo>
                  <a:lnTo>
                    <a:pt x="20785" y="10800"/>
                  </a:lnTo>
                  <a:lnTo>
                    <a:pt x="21600" y="10800"/>
                  </a:lnTo>
                  <a:lnTo>
                    <a:pt x="21600" y="12960"/>
                  </a:lnTo>
                  <a:lnTo>
                    <a:pt x="20785" y="12960"/>
                  </a:lnTo>
                  <a:lnTo>
                    <a:pt x="20785" y="16200"/>
                  </a:lnTo>
                  <a:lnTo>
                    <a:pt x="19970" y="16200"/>
                  </a:lnTo>
                  <a:lnTo>
                    <a:pt x="19970" y="18360"/>
                  </a:lnTo>
                  <a:lnTo>
                    <a:pt x="20785" y="18360"/>
                  </a:lnTo>
                  <a:lnTo>
                    <a:pt x="20785" y="21600"/>
                  </a:lnTo>
                  <a:lnTo>
                    <a:pt x="9374" y="21600"/>
                  </a:lnTo>
                  <a:lnTo>
                    <a:pt x="7336" y="20520"/>
                  </a:lnTo>
                  <a:lnTo>
                    <a:pt x="1630" y="20520"/>
                  </a:lnTo>
                  <a:lnTo>
                    <a:pt x="1630" y="18360"/>
                  </a:lnTo>
                  <a:lnTo>
                    <a:pt x="2853" y="16200"/>
                  </a:lnTo>
                  <a:lnTo>
                    <a:pt x="3668" y="16200"/>
                  </a:lnTo>
                  <a:lnTo>
                    <a:pt x="4483" y="15120"/>
                  </a:lnTo>
                  <a:lnTo>
                    <a:pt x="2853" y="15120"/>
                  </a:lnTo>
                  <a:lnTo>
                    <a:pt x="2853" y="12960"/>
                  </a:lnTo>
                  <a:lnTo>
                    <a:pt x="2445" y="12960"/>
                  </a:lnTo>
                  <a:lnTo>
                    <a:pt x="2445" y="15120"/>
                  </a:lnTo>
                  <a:lnTo>
                    <a:pt x="1630" y="15120"/>
                  </a:lnTo>
                  <a:lnTo>
                    <a:pt x="1630" y="10800"/>
                  </a:lnTo>
                  <a:lnTo>
                    <a:pt x="2445" y="10800"/>
                  </a:lnTo>
                  <a:lnTo>
                    <a:pt x="2445" y="7560"/>
                  </a:lnTo>
                  <a:lnTo>
                    <a:pt x="4483" y="7560"/>
                  </a:lnTo>
                  <a:lnTo>
                    <a:pt x="5298" y="5400"/>
                  </a:lnTo>
                  <a:lnTo>
                    <a:pt x="5706" y="5400"/>
                  </a:lnTo>
                  <a:lnTo>
                    <a:pt x="8151" y="0"/>
                  </a:lnTo>
                  <a:close/>
                  <a:moveTo>
                    <a:pt x="8151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71" name="Freeform 23"/>
            <p:cNvSpPr>
              <a:spLocks/>
            </p:cNvSpPr>
            <p:nvPr/>
          </p:nvSpPr>
          <p:spPr bwMode="auto">
            <a:xfrm>
              <a:off x="8075221" y="4257108"/>
              <a:ext cx="781599" cy="451281"/>
            </a:xfrm>
            <a:custGeom>
              <a:avLst/>
              <a:gdLst/>
              <a:ahLst/>
              <a:cxnLst>
                <a:cxn ang="0">
                  <a:pos x="15264" y="235"/>
                </a:cxn>
                <a:cxn ang="0">
                  <a:pos x="16128" y="1878"/>
                </a:cxn>
                <a:cxn ang="0">
                  <a:pos x="16272" y="3287"/>
                </a:cxn>
                <a:cxn ang="0">
                  <a:pos x="16848" y="3991"/>
                </a:cxn>
                <a:cxn ang="0">
                  <a:pos x="17568" y="5635"/>
                </a:cxn>
                <a:cxn ang="0">
                  <a:pos x="18144" y="7278"/>
                </a:cxn>
                <a:cxn ang="0">
                  <a:pos x="18144" y="9861"/>
                </a:cxn>
                <a:cxn ang="0">
                  <a:pos x="17856" y="10565"/>
                </a:cxn>
                <a:cxn ang="0">
                  <a:pos x="18576" y="13383"/>
                </a:cxn>
                <a:cxn ang="0">
                  <a:pos x="19584" y="14322"/>
                </a:cxn>
                <a:cxn ang="0">
                  <a:pos x="20160" y="14322"/>
                </a:cxn>
                <a:cxn ang="0">
                  <a:pos x="21312" y="13383"/>
                </a:cxn>
                <a:cxn ang="0">
                  <a:pos x="20880" y="16200"/>
                </a:cxn>
                <a:cxn ang="0">
                  <a:pos x="20304" y="15496"/>
                </a:cxn>
                <a:cxn ang="0">
                  <a:pos x="19872" y="16200"/>
                </a:cxn>
                <a:cxn ang="0">
                  <a:pos x="20160" y="17139"/>
                </a:cxn>
                <a:cxn ang="0">
                  <a:pos x="19872" y="17609"/>
                </a:cxn>
                <a:cxn ang="0">
                  <a:pos x="19152" y="21130"/>
                </a:cxn>
                <a:cxn ang="0">
                  <a:pos x="17856" y="20426"/>
                </a:cxn>
                <a:cxn ang="0">
                  <a:pos x="17280" y="20426"/>
                </a:cxn>
                <a:cxn ang="0">
                  <a:pos x="14832" y="19487"/>
                </a:cxn>
                <a:cxn ang="0">
                  <a:pos x="13248" y="20426"/>
                </a:cxn>
                <a:cxn ang="0">
                  <a:pos x="10512" y="21130"/>
                </a:cxn>
                <a:cxn ang="0">
                  <a:pos x="9216" y="21130"/>
                </a:cxn>
                <a:cxn ang="0">
                  <a:pos x="7776" y="21130"/>
                </a:cxn>
                <a:cxn ang="0">
                  <a:pos x="5760" y="20896"/>
                </a:cxn>
                <a:cxn ang="0">
                  <a:pos x="6336" y="19487"/>
                </a:cxn>
                <a:cxn ang="0">
                  <a:pos x="5472" y="18783"/>
                </a:cxn>
                <a:cxn ang="0">
                  <a:pos x="5040" y="17843"/>
                </a:cxn>
                <a:cxn ang="0">
                  <a:pos x="5472" y="17843"/>
                </a:cxn>
                <a:cxn ang="0">
                  <a:pos x="4752" y="16670"/>
                </a:cxn>
                <a:cxn ang="0">
                  <a:pos x="4032" y="17843"/>
                </a:cxn>
                <a:cxn ang="0">
                  <a:pos x="3456" y="16670"/>
                </a:cxn>
                <a:cxn ang="0">
                  <a:pos x="2448" y="15965"/>
                </a:cxn>
                <a:cxn ang="0">
                  <a:pos x="2448" y="15026"/>
                </a:cxn>
                <a:cxn ang="0">
                  <a:pos x="2448" y="14322"/>
                </a:cxn>
                <a:cxn ang="0">
                  <a:pos x="1440" y="13383"/>
                </a:cxn>
                <a:cxn ang="0">
                  <a:pos x="1008" y="11739"/>
                </a:cxn>
                <a:cxn ang="0">
                  <a:pos x="432" y="11035"/>
                </a:cxn>
                <a:cxn ang="0">
                  <a:pos x="288" y="10096"/>
                </a:cxn>
                <a:cxn ang="0">
                  <a:pos x="720" y="10096"/>
                </a:cxn>
                <a:cxn ang="0">
                  <a:pos x="1296" y="9391"/>
                </a:cxn>
                <a:cxn ang="0">
                  <a:pos x="2016" y="9391"/>
                </a:cxn>
                <a:cxn ang="0">
                  <a:pos x="2448" y="8217"/>
                </a:cxn>
                <a:cxn ang="0">
                  <a:pos x="3024" y="6574"/>
                </a:cxn>
                <a:cxn ang="0">
                  <a:pos x="3312" y="5635"/>
                </a:cxn>
                <a:cxn ang="0">
                  <a:pos x="4032" y="4461"/>
                </a:cxn>
                <a:cxn ang="0">
                  <a:pos x="4752" y="3287"/>
                </a:cxn>
                <a:cxn ang="0">
                  <a:pos x="5760" y="1878"/>
                </a:cxn>
                <a:cxn ang="0">
                  <a:pos x="6480" y="1174"/>
                </a:cxn>
                <a:cxn ang="0">
                  <a:pos x="8208" y="1174"/>
                </a:cxn>
                <a:cxn ang="0">
                  <a:pos x="9216" y="1174"/>
                </a:cxn>
                <a:cxn ang="0">
                  <a:pos x="10080" y="1878"/>
                </a:cxn>
                <a:cxn ang="0">
                  <a:pos x="10800" y="2817"/>
                </a:cxn>
                <a:cxn ang="0">
                  <a:pos x="11232" y="1643"/>
                </a:cxn>
                <a:cxn ang="0">
                  <a:pos x="13824" y="704"/>
                </a:cxn>
                <a:cxn ang="0">
                  <a:pos x="14256" y="0"/>
                </a:cxn>
              </a:cxnLst>
              <a:rect l="0" t="0" r="r" b="b"/>
              <a:pathLst>
                <a:path w="21600" h="21600">
                  <a:moveTo>
                    <a:pt x="14256" y="0"/>
                  </a:moveTo>
                  <a:lnTo>
                    <a:pt x="14544" y="0"/>
                  </a:lnTo>
                  <a:lnTo>
                    <a:pt x="14832" y="235"/>
                  </a:lnTo>
                  <a:lnTo>
                    <a:pt x="15264" y="235"/>
                  </a:lnTo>
                  <a:lnTo>
                    <a:pt x="15264" y="704"/>
                  </a:lnTo>
                  <a:lnTo>
                    <a:pt x="15840" y="704"/>
                  </a:lnTo>
                  <a:lnTo>
                    <a:pt x="15840" y="1878"/>
                  </a:lnTo>
                  <a:lnTo>
                    <a:pt x="16128" y="1878"/>
                  </a:lnTo>
                  <a:lnTo>
                    <a:pt x="16128" y="2817"/>
                  </a:lnTo>
                  <a:lnTo>
                    <a:pt x="16272" y="2817"/>
                  </a:lnTo>
                  <a:lnTo>
                    <a:pt x="16128" y="3287"/>
                  </a:lnTo>
                  <a:lnTo>
                    <a:pt x="16272" y="3287"/>
                  </a:lnTo>
                  <a:lnTo>
                    <a:pt x="16272" y="3522"/>
                  </a:lnTo>
                  <a:lnTo>
                    <a:pt x="16560" y="3522"/>
                  </a:lnTo>
                  <a:lnTo>
                    <a:pt x="16560" y="3991"/>
                  </a:lnTo>
                  <a:lnTo>
                    <a:pt x="16848" y="3991"/>
                  </a:lnTo>
                  <a:lnTo>
                    <a:pt x="16848" y="4930"/>
                  </a:lnTo>
                  <a:lnTo>
                    <a:pt x="17280" y="4930"/>
                  </a:lnTo>
                  <a:lnTo>
                    <a:pt x="17280" y="5635"/>
                  </a:lnTo>
                  <a:lnTo>
                    <a:pt x="17568" y="5635"/>
                  </a:lnTo>
                  <a:lnTo>
                    <a:pt x="17856" y="6104"/>
                  </a:lnTo>
                  <a:lnTo>
                    <a:pt x="17856" y="6574"/>
                  </a:lnTo>
                  <a:lnTo>
                    <a:pt x="18144" y="6574"/>
                  </a:lnTo>
                  <a:lnTo>
                    <a:pt x="18144" y="7278"/>
                  </a:lnTo>
                  <a:lnTo>
                    <a:pt x="18288" y="7278"/>
                  </a:lnTo>
                  <a:lnTo>
                    <a:pt x="18288" y="8922"/>
                  </a:lnTo>
                  <a:lnTo>
                    <a:pt x="18144" y="9391"/>
                  </a:lnTo>
                  <a:lnTo>
                    <a:pt x="18144" y="9861"/>
                  </a:lnTo>
                  <a:lnTo>
                    <a:pt x="17856" y="9861"/>
                  </a:lnTo>
                  <a:lnTo>
                    <a:pt x="17856" y="10096"/>
                  </a:lnTo>
                  <a:lnTo>
                    <a:pt x="18144" y="10096"/>
                  </a:lnTo>
                  <a:lnTo>
                    <a:pt x="17856" y="10565"/>
                  </a:lnTo>
                  <a:lnTo>
                    <a:pt x="17856" y="11504"/>
                  </a:lnTo>
                  <a:lnTo>
                    <a:pt x="18144" y="11504"/>
                  </a:lnTo>
                  <a:lnTo>
                    <a:pt x="18144" y="13383"/>
                  </a:lnTo>
                  <a:lnTo>
                    <a:pt x="18576" y="13383"/>
                  </a:lnTo>
                  <a:lnTo>
                    <a:pt x="18576" y="13852"/>
                  </a:lnTo>
                  <a:lnTo>
                    <a:pt x="18864" y="13852"/>
                  </a:lnTo>
                  <a:lnTo>
                    <a:pt x="18864" y="14322"/>
                  </a:lnTo>
                  <a:lnTo>
                    <a:pt x="19584" y="14322"/>
                  </a:lnTo>
                  <a:lnTo>
                    <a:pt x="19584" y="13852"/>
                  </a:lnTo>
                  <a:lnTo>
                    <a:pt x="19872" y="13852"/>
                  </a:lnTo>
                  <a:lnTo>
                    <a:pt x="19872" y="14322"/>
                  </a:lnTo>
                  <a:lnTo>
                    <a:pt x="20160" y="14322"/>
                  </a:lnTo>
                  <a:lnTo>
                    <a:pt x="20160" y="13852"/>
                  </a:lnTo>
                  <a:lnTo>
                    <a:pt x="20592" y="13852"/>
                  </a:lnTo>
                  <a:lnTo>
                    <a:pt x="20592" y="13383"/>
                  </a:lnTo>
                  <a:lnTo>
                    <a:pt x="21312" y="13383"/>
                  </a:lnTo>
                  <a:lnTo>
                    <a:pt x="21600" y="13852"/>
                  </a:lnTo>
                  <a:lnTo>
                    <a:pt x="21600" y="15965"/>
                  </a:lnTo>
                  <a:lnTo>
                    <a:pt x="21312" y="16200"/>
                  </a:lnTo>
                  <a:lnTo>
                    <a:pt x="20880" y="16200"/>
                  </a:lnTo>
                  <a:lnTo>
                    <a:pt x="20880" y="15965"/>
                  </a:lnTo>
                  <a:lnTo>
                    <a:pt x="20160" y="15965"/>
                  </a:lnTo>
                  <a:lnTo>
                    <a:pt x="20160" y="15496"/>
                  </a:lnTo>
                  <a:lnTo>
                    <a:pt x="20304" y="15496"/>
                  </a:lnTo>
                  <a:lnTo>
                    <a:pt x="20160" y="15026"/>
                  </a:lnTo>
                  <a:lnTo>
                    <a:pt x="20160" y="15496"/>
                  </a:lnTo>
                  <a:lnTo>
                    <a:pt x="19872" y="15965"/>
                  </a:lnTo>
                  <a:lnTo>
                    <a:pt x="19872" y="16200"/>
                  </a:lnTo>
                  <a:lnTo>
                    <a:pt x="19584" y="16200"/>
                  </a:lnTo>
                  <a:lnTo>
                    <a:pt x="19584" y="16670"/>
                  </a:lnTo>
                  <a:lnTo>
                    <a:pt x="20160" y="16670"/>
                  </a:lnTo>
                  <a:lnTo>
                    <a:pt x="20160" y="17139"/>
                  </a:lnTo>
                  <a:lnTo>
                    <a:pt x="19584" y="17139"/>
                  </a:lnTo>
                  <a:lnTo>
                    <a:pt x="19584" y="17609"/>
                  </a:lnTo>
                  <a:lnTo>
                    <a:pt x="19872" y="17139"/>
                  </a:lnTo>
                  <a:lnTo>
                    <a:pt x="19872" y="17609"/>
                  </a:lnTo>
                  <a:lnTo>
                    <a:pt x="19296" y="18313"/>
                  </a:lnTo>
                  <a:lnTo>
                    <a:pt x="19296" y="19252"/>
                  </a:lnTo>
                  <a:lnTo>
                    <a:pt x="19152" y="19252"/>
                  </a:lnTo>
                  <a:lnTo>
                    <a:pt x="19152" y="21130"/>
                  </a:lnTo>
                  <a:lnTo>
                    <a:pt x="18864" y="20896"/>
                  </a:lnTo>
                  <a:lnTo>
                    <a:pt x="18144" y="20896"/>
                  </a:lnTo>
                  <a:lnTo>
                    <a:pt x="18144" y="20426"/>
                  </a:lnTo>
                  <a:lnTo>
                    <a:pt x="17856" y="20426"/>
                  </a:lnTo>
                  <a:lnTo>
                    <a:pt x="17856" y="19957"/>
                  </a:lnTo>
                  <a:lnTo>
                    <a:pt x="17568" y="19957"/>
                  </a:lnTo>
                  <a:lnTo>
                    <a:pt x="17568" y="20426"/>
                  </a:lnTo>
                  <a:lnTo>
                    <a:pt x="17280" y="20426"/>
                  </a:lnTo>
                  <a:lnTo>
                    <a:pt x="17280" y="19957"/>
                  </a:lnTo>
                  <a:lnTo>
                    <a:pt x="16272" y="19957"/>
                  </a:lnTo>
                  <a:lnTo>
                    <a:pt x="16272" y="19487"/>
                  </a:lnTo>
                  <a:lnTo>
                    <a:pt x="14832" y="19487"/>
                  </a:lnTo>
                  <a:lnTo>
                    <a:pt x="14832" y="19957"/>
                  </a:lnTo>
                  <a:lnTo>
                    <a:pt x="13536" y="19957"/>
                  </a:lnTo>
                  <a:lnTo>
                    <a:pt x="13536" y="20426"/>
                  </a:lnTo>
                  <a:lnTo>
                    <a:pt x="13248" y="20426"/>
                  </a:lnTo>
                  <a:lnTo>
                    <a:pt x="12528" y="21600"/>
                  </a:lnTo>
                  <a:lnTo>
                    <a:pt x="10800" y="21600"/>
                  </a:lnTo>
                  <a:lnTo>
                    <a:pt x="10800" y="21130"/>
                  </a:lnTo>
                  <a:lnTo>
                    <a:pt x="10512" y="21130"/>
                  </a:lnTo>
                  <a:lnTo>
                    <a:pt x="10224" y="21600"/>
                  </a:lnTo>
                  <a:lnTo>
                    <a:pt x="9792" y="21600"/>
                  </a:lnTo>
                  <a:lnTo>
                    <a:pt x="9792" y="21130"/>
                  </a:lnTo>
                  <a:lnTo>
                    <a:pt x="9216" y="21130"/>
                  </a:lnTo>
                  <a:lnTo>
                    <a:pt x="9216" y="21600"/>
                  </a:lnTo>
                  <a:lnTo>
                    <a:pt x="8496" y="21600"/>
                  </a:lnTo>
                  <a:lnTo>
                    <a:pt x="8208" y="21130"/>
                  </a:lnTo>
                  <a:lnTo>
                    <a:pt x="7776" y="21130"/>
                  </a:lnTo>
                  <a:lnTo>
                    <a:pt x="7488" y="20896"/>
                  </a:lnTo>
                  <a:lnTo>
                    <a:pt x="7344" y="21130"/>
                  </a:lnTo>
                  <a:lnTo>
                    <a:pt x="7344" y="20896"/>
                  </a:lnTo>
                  <a:lnTo>
                    <a:pt x="5760" y="20896"/>
                  </a:lnTo>
                  <a:lnTo>
                    <a:pt x="5760" y="20426"/>
                  </a:lnTo>
                  <a:lnTo>
                    <a:pt x="6048" y="20426"/>
                  </a:lnTo>
                  <a:lnTo>
                    <a:pt x="6336" y="19957"/>
                  </a:lnTo>
                  <a:lnTo>
                    <a:pt x="6336" y="19487"/>
                  </a:lnTo>
                  <a:lnTo>
                    <a:pt x="6048" y="19487"/>
                  </a:lnTo>
                  <a:lnTo>
                    <a:pt x="6048" y="19252"/>
                  </a:lnTo>
                  <a:lnTo>
                    <a:pt x="5472" y="19252"/>
                  </a:lnTo>
                  <a:lnTo>
                    <a:pt x="5472" y="18783"/>
                  </a:lnTo>
                  <a:lnTo>
                    <a:pt x="5328" y="18783"/>
                  </a:lnTo>
                  <a:lnTo>
                    <a:pt x="5328" y="18313"/>
                  </a:lnTo>
                  <a:lnTo>
                    <a:pt x="5040" y="18313"/>
                  </a:lnTo>
                  <a:lnTo>
                    <a:pt x="5040" y="17843"/>
                  </a:lnTo>
                  <a:lnTo>
                    <a:pt x="4752" y="17843"/>
                  </a:lnTo>
                  <a:lnTo>
                    <a:pt x="4752" y="17609"/>
                  </a:lnTo>
                  <a:lnTo>
                    <a:pt x="5328" y="17609"/>
                  </a:lnTo>
                  <a:lnTo>
                    <a:pt x="5472" y="17843"/>
                  </a:lnTo>
                  <a:lnTo>
                    <a:pt x="5472" y="17139"/>
                  </a:lnTo>
                  <a:lnTo>
                    <a:pt x="5040" y="17139"/>
                  </a:lnTo>
                  <a:lnTo>
                    <a:pt x="5040" y="16670"/>
                  </a:lnTo>
                  <a:lnTo>
                    <a:pt x="4752" y="16670"/>
                  </a:lnTo>
                  <a:lnTo>
                    <a:pt x="4752" y="17139"/>
                  </a:lnTo>
                  <a:lnTo>
                    <a:pt x="4320" y="17139"/>
                  </a:lnTo>
                  <a:lnTo>
                    <a:pt x="4320" y="17843"/>
                  </a:lnTo>
                  <a:lnTo>
                    <a:pt x="4032" y="17843"/>
                  </a:lnTo>
                  <a:lnTo>
                    <a:pt x="4032" y="17609"/>
                  </a:lnTo>
                  <a:lnTo>
                    <a:pt x="3744" y="17609"/>
                  </a:lnTo>
                  <a:lnTo>
                    <a:pt x="3744" y="17139"/>
                  </a:lnTo>
                  <a:lnTo>
                    <a:pt x="3456" y="16670"/>
                  </a:lnTo>
                  <a:lnTo>
                    <a:pt x="2736" y="16670"/>
                  </a:lnTo>
                  <a:lnTo>
                    <a:pt x="2736" y="16200"/>
                  </a:lnTo>
                  <a:lnTo>
                    <a:pt x="2304" y="16200"/>
                  </a:lnTo>
                  <a:lnTo>
                    <a:pt x="2448" y="15965"/>
                  </a:lnTo>
                  <a:lnTo>
                    <a:pt x="3024" y="15965"/>
                  </a:lnTo>
                  <a:lnTo>
                    <a:pt x="3024" y="15496"/>
                  </a:lnTo>
                  <a:lnTo>
                    <a:pt x="2448" y="15496"/>
                  </a:lnTo>
                  <a:lnTo>
                    <a:pt x="2448" y="15026"/>
                  </a:lnTo>
                  <a:lnTo>
                    <a:pt x="2736" y="15026"/>
                  </a:lnTo>
                  <a:lnTo>
                    <a:pt x="2736" y="14557"/>
                  </a:lnTo>
                  <a:lnTo>
                    <a:pt x="2448" y="14557"/>
                  </a:lnTo>
                  <a:lnTo>
                    <a:pt x="2448" y="14322"/>
                  </a:lnTo>
                  <a:lnTo>
                    <a:pt x="2016" y="14322"/>
                  </a:lnTo>
                  <a:lnTo>
                    <a:pt x="2016" y="13852"/>
                  </a:lnTo>
                  <a:lnTo>
                    <a:pt x="1440" y="13852"/>
                  </a:lnTo>
                  <a:lnTo>
                    <a:pt x="1440" y="13383"/>
                  </a:lnTo>
                  <a:lnTo>
                    <a:pt x="1296" y="13383"/>
                  </a:lnTo>
                  <a:lnTo>
                    <a:pt x="1296" y="12913"/>
                  </a:lnTo>
                  <a:lnTo>
                    <a:pt x="1008" y="12913"/>
                  </a:lnTo>
                  <a:lnTo>
                    <a:pt x="1008" y="11739"/>
                  </a:lnTo>
                  <a:lnTo>
                    <a:pt x="720" y="11739"/>
                  </a:lnTo>
                  <a:lnTo>
                    <a:pt x="720" y="11504"/>
                  </a:lnTo>
                  <a:lnTo>
                    <a:pt x="432" y="11504"/>
                  </a:lnTo>
                  <a:lnTo>
                    <a:pt x="432" y="11035"/>
                  </a:lnTo>
                  <a:lnTo>
                    <a:pt x="288" y="11035"/>
                  </a:lnTo>
                  <a:lnTo>
                    <a:pt x="0" y="10565"/>
                  </a:lnTo>
                  <a:lnTo>
                    <a:pt x="0" y="10096"/>
                  </a:lnTo>
                  <a:lnTo>
                    <a:pt x="288" y="10096"/>
                  </a:lnTo>
                  <a:lnTo>
                    <a:pt x="288" y="9861"/>
                  </a:lnTo>
                  <a:lnTo>
                    <a:pt x="432" y="9861"/>
                  </a:lnTo>
                  <a:lnTo>
                    <a:pt x="432" y="10096"/>
                  </a:lnTo>
                  <a:lnTo>
                    <a:pt x="720" y="10096"/>
                  </a:lnTo>
                  <a:lnTo>
                    <a:pt x="720" y="9861"/>
                  </a:lnTo>
                  <a:lnTo>
                    <a:pt x="1008" y="9861"/>
                  </a:lnTo>
                  <a:lnTo>
                    <a:pt x="1008" y="9391"/>
                  </a:lnTo>
                  <a:lnTo>
                    <a:pt x="1296" y="9391"/>
                  </a:lnTo>
                  <a:lnTo>
                    <a:pt x="1296" y="9861"/>
                  </a:lnTo>
                  <a:lnTo>
                    <a:pt x="1728" y="9861"/>
                  </a:lnTo>
                  <a:lnTo>
                    <a:pt x="1728" y="9391"/>
                  </a:lnTo>
                  <a:lnTo>
                    <a:pt x="2016" y="9391"/>
                  </a:lnTo>
                  <a:lnTo>
                    <a:pt x="2016" y="8922"/>
                  </a:lnTo>
                  <a:lnTo>
                    <a:pt x="2304" y="8922"/>
                  </a:lnTo>
                  <a:lnTo>
                    <a:pt x="2304" y="8217"/>
                  </a:lnTo>
                  <a:lnTo>
                    <a:pt x="2448" y="8217"/>
                  </a:lnTo>
                  <a:lnTo>
                    <a:pt x="2736" y="7748"/>
                  </a:lnTo>
                  <a:lnTo>
                    <a:pt x="2736" y="6809"/>
                  </a:lnTo>
                  <a:lnTo>
                    <a:pt x="3024" y="6809"/>
                  </a:lnTo>
                  <a:lnTo>
                    <a:pt x="3024" y="6574"/>
                  </a:lnTo>
                  <a:lnTo>
                    <a:pt x="3312" y="6574"/>
                  </a:lnTo>
                  <a:lnTo>
                    <a:pt x="3312" y="6104"/>
                  </a:lnTo>
                  <a:lnTo>
                    <a:pt x="3024" y="6104"/>
                  </a:lnTo>
                  <a:lnTo>
                    <a:pt x="3312" y="5635"/>
                  </a:lnTo>
                  <a:lnTo>
                    <a:pt x="3456" y="5635"/>
                  </a:lnTo>
                  <a:lnTo>
                    <a:pt x="3456" y="4930"/>
                  </a:lnTo>
                  <a:lnTo>
                    <a:pt x="3744" y="4930"/>
                  </a:lnTo>
                  <a:lnTo>
                    <a:pt x="4032" y="4461"/>
                  </a:lnTo>
                  <a:lnTo>
                    <a:pt x="4032" y="3522"/>
                  </a:lnTo>
                  <a:lnTo>
                    <a:pt x="4320" y="3522"/>
                  </a:lnTo>
                  <a:lnTo>
                    <a:pt x="4320" y="3287"/>
                  </a:lnTo>
                  <a:lnTo>
                    <a:pt x="4752" y="3287"/>
                  </a:lnTo>
                  <a:lnTo>
                    <a:pt x="4752" y="2348"/>
                  </a:lnTo>
                  <a:lnTo>
                    <a:pt x="5472" y="2348"/>
                  </a:lnTo>
                  <a:lnTo>
                    <a:pt x="5472" y="1878"/>
                  </a:lnTo>
                  <a:lnTo>
                    <a:pt x="5760" y="1878"/>
                  </a:lnTo>
                  <a:lnTo>
                    <a:pt x="6048" y="1643"/>
                  </a:lnTo>
                  <a:lnTo>
                    <a:pt x="6336" y="1643"/>
                  </a:lnTo>
                  <a:lnTo>
                    <a:pt x="6336" y="1174"/>
                  </a:lnTo>
                  <a:lnTo>
                    <a:pt x="6480" y="1174"/>
                  </a:lnTo>
                  <a:lnTo>
                    <a:pt x="6480" y="704"/>
                  </a:lnTo>
                  <a:lnTo>
                    <a:pt x="7056" y="704"/>
                  </a:lnTo>
                  <a:lnTo>
                    <a:pt x="7056" y="1174"/>
                  </a:lnTo>
                  <a:lnTo>
                    <a:pt x="8208" y="1174"/>
                  </a:lnTo>
                  <a:lnTo>
                    <a:pt x="8208" y="1643"/>
                  </a:lnTo>
                  <a:lnTo>
                    <a:pt x="8784" y="1643"/>
                  </a:lnTo>
                  <a:lnTo>
                    <a:pt x="8784" y="1174"/>
                  </a:lnTo>
                  <a:lnTo>
                    <a:pt x="9216" y="1174"/>
                  </a:lnTo>
                  <a:lnTo>
                    <a:pt x="9504" y="1643"/>
                  </a:lnTo>
                  <a:lnTo>
                    <a:pt x="9792" y="1643"/>
                  </a:lnTo>
                  <a:lnTo>
                    <a:pt x="9792" y="1878"/>
                  </a:lnTo>
                  <a:lnTo>
                    <a:pt x="10080" y="1878"/>
                  </a:lnTo>
                  <a:lnTo>
                    <a:pt x="10080" y="2348"/>
                  </a:lnTo>
                  <a:lnTo>
                    <a:pt x="10512" y="2348"/>
                  </a:lnTo>
                  <a:lnTo>
                    <a:pt x="10512" y="2817"/>
                  </a:lnTo>
                  <a:lnTo>
                    <a:pt x="10800" y="2817"/>
                  </a:lnTo>
                  <a:lnTo>
                    <a:pt x="10800" y="2348"/>
                  </a:lnTo>
                  <a:lnTo>
                    <a:pt x="11088" y="1878"/>
                  </a:lnTo>
                  <a:lnTo>
                    <a:pt x="11232" y="1878"/>
                  </a:lnTo>
                  <a:lnTo>
                    <a:pt x="11232" y="1643"/>
                  </a:lnTo>
                  <a:lnTo>
                    <a:pt x="13104" y="1643"/>
                  </a:lnTo>
                  <a:lnTo>
                    <a:pt x="13248" y="1174"/>
                  </a:lnTo>
                  <a:lnTo>
                    <a:pt x="13824" y="1174"/>
                  </a:lnTo>
                  <a:lnTo>
                    <a:pt x="13824" y="704"/>
                  </a:lnTo>
                  <a:lnTo>
                    <a:pt x="14112" y="704"/>
                  </a:lnTo>
                  <a:lnTo>
                    <a:pt x="14112" y="235"/>
                  </a:lnTo>
                  <a:lnTo>
                    <a:pt x="14256" y="235"/>
                  </a:lnTo>
                  <a:lnTo>
                    <a:pt x="14256" y="0"/>
                  </a:lnTo>
                  <a:close/>
                  <a:moveTo>
                    <a:pt x="14256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72" name="Freeform 24"/>
            <p:cNvSpPr>
              <a:spLocks/>
            </p:cNvSpPr>
            <p:nvPr/>
          </p:nvSpPr>
          <p:spPr bwMode="auto">
            <a:xfrm>
              <a:off x="5597061" y="4855457"/>
              <a:ext cx="265034" cy="469413"/>
            </a:xfrm>
            <a:custGeom>
              <a:avLst/>
              <a:gdLst/>
              <a:ahLst/>
              <a:cxnLst>
                <a:cxn ang="0">
                  <a:pos x="8894" y="0"/>
                </a:cxn>
                <a:cxn ang="0">
                  <a:pos x="8471" y="1125"/>
                </a:cxn>
                <a:cxn ang="0">
                  <a:pos x="9741" y="1575"/>
                </a:cxn>
                <a:cxn ang="0">
                  <a:pos x="10588" y="1125"/>
                </a:cxn>
                <a:cxn ang="0">
                  <a:pos x="11435" y="675"/>
                </a:cxn>
                <a:cxn ang="0">
                  <a:pos x="15671" y="1125"/>
                </a:cxn>
                <a:cxn ang="0">
                  <a:pos x="19482" y="675"/>
                </a:cxn>
                <a:cxn ang="0">
                  <a:pos x="21600" y="2025"/>
                </a:cxn>
                <a:cxn ang="0">
                  <a:pos x="20753" y="3150"/>
                </a:cxn>
                <a:cxn ang="0">
                  <a:pos x="20329" y="3600"/>
                </a:cxn>
                <a:cxn ang="0">
                  <a:pos x="18635" y="3825"/>
                </a:cxn>
                <a:cxn ang="0">
                  <a:pos x="17365" y="4275"/>
                </a:cxn>
                <a:cxn ang="0">
                  <a:pos x="17788" y="5400"/>
                </a:cxn>
                <a:cxn ang="0">
                  <a:pos x="17365" y="7875"/>
                </a:cxn>
                <a:cxn ang="0">
                  <a:pos x="16518" y="8100"/>
                </a:cxn>
                <a:cxn ang="0">
                  <a:pos x="17365" y="8550"/>
                </a:cxn>
                <a:cxn ang="0">
                  <a:pos x="16518" y="10125"/>
                </a:cxn>
                <a:cxn ang="0">
                  <a:pos x="15671" y="10575"/>
                </a:cxn>
                <a:cxn ang="0">
                  <a:pos x="14824" y="10125"/>
                </a:cxn>
                <a:cxn ang="0">
                  <a:pos x="13553" y="10575"/>
                </a:cxn>
                <a:cxn ang="0">
                  <a:pos x="14400" y="11250"/>
                </a:cxn>
                <a:cxn ang="0">
                  <a:pos x="14824" y="12600"/>
                </a:cxn>
                <a:cxn ang="0">
                  <a:pos x="15671" y="12825"/>
                </a:cxn>
                <a:cxn ang="0">
                  <a:pos x="17365" y="13275"/>
                </a:cxn>
                <a:cxn ang="0">
                  <a:pos x="16518" y="14175"/>
                </a:cxn>
                <a:cxn ang="0">
                  <a:pos x="14824" y="15975"/>
                </a:cxn>
                <a:cxn ang="0">
                  <a:pos x="15671" y="16875"/>
                </a:cxn>
                <a:cxn ang="0">
                  <a:pos x="16518" y="17325"/>
                </a:cxn>
                <a:cxn ang="0">
                  <a:pos x="15671" y="17550"/>
                </a:cxn>
                <a:cxn ang="0">
                  <a:pos x="14824" y="18000"/>
                </a:cxn>
                <a:cxn ang="0">
                  <a:pos x="14400" y="18450"/>
                </a:cxn>
                <a:cxn ang="0">
                  <a:pos x="13553" y="19125"/>
                </a:cxn>
                <a:cxn ang="0">
                  <a:pos x="12706" y="19575"/>
                </a:cxn>
                <a:cxn ang="0">
                  <a:pos x="13553" y="21150"/>
                </a:cxn>
                <a:cxn ang="0">
                  <a:pos x="11859" y="21600"/>
                </a:cxn>
                <a:cxn ang="0">
                  <a:pos x="8894" y="21150"/>
                </a:cxn>
                <a:cxn ang="0">
                  <a:pos x="4659" y="21600"/>
                </a:cxn>
                <a:cxn ang="0">
                  <a:pos x="3812" y="21150"/>
                </a:cxn>
                <a:cxn ang="0">
                  <a:pos x="4659" y="19575"/>
                </a:cxn>
                <a:cxn ang="0">
                  <a:pos x="3812" y="16425"/>
                </a:cxn>
                <a:cxn ang="0">
                  <a:pos x="5506" y="15750"/>
                </a:cxn>
                <a:cxn ang="0">
                  <a:pos x="2965" y="15300"/>
                </a:cxn>
                <a:cxn ang="0">
                  <a:pos x="1694" y="15750"/>
                </a:cxn>
                <a:cxn ang="0">
                  <a:pos x="2541" y="14850"/>
                </a:cxn>
                <a:cxn ang="0">
                  <a:pos x="2965" y="13725"/>
                </a:cxn>
                <a:cxn ang="0">
                  <a:pos x="2541" y="14400"/>
                </a:cxn>
                <a:cxn ang="0">
                  <a:pos x="1694" y="14850"/>
                </a:cxn>
                <a:cxn ang="0">
                  <a:pos x="847" y="14400"/>
                </a:cxn>
                <a:cxn ang="0">
                  <a:pos x="0" y="12825"/>
                </a:cxn>
                <a:cxn ang="0">
                  <a:pos x="847" y="11700"/>
                </a:cxn>
                <a:cxn ang="0">
                  <a:pos x="1694" y="11250"/>
                </a:cxn>
                <a:cxn ang="0">
                  <a:pos x="2541" y="10125"/>
                </a:cxn>
                <a:cxn ang="0">
                  <a:pos x="2965" y="9450"/>
                </a:cxn>
                <a:cxn ang="0">
                  <a:pos x="3812" y="6975"/>
                </a:cxn>
                <a:cxn ang="0">
                  <a:pos x="4659" y="6300"/>
                </a:cxn>
                <a:cxn ang="0">
                  <a:pos x="5506" y="5850"/>
                </a:cxn>
                <a:cxn ang="0">
                  <a:pos x="5506" y="5400"/>
                </a:cxn>
                <a:cxn ang="0">
                  <a:pos x="4659" y="3600"/>
                </a:cxn>
                <a:cxn ang="0">
                  <a:pos x="3812" y="2025"/>
                </a:cxn>
                <a:cxn ang="0">
                  <a:pos x="4659" y="675"/>
                </a:cxn>
                <a:cxn ang="0">
                  <a:pos x="5929" y="450"/>
                </a:cxn>
                <a:cxn ang="0">
                  <a:pos x="6776" y="0"/>
                </a:cxn>
              </a:cxnLst>
              <a:rect l="0" t="0" r="r" b="b"/>
              <a:pathLst>
                <a:path w="21600" h="21600">
                  <a:moveTo>
                    <a:pt x="6776" y="0"/>
                  </a:moveTo>
                  <a:lnTo>
                    <a:pt x="8894" y="0"/>
                  </a:lnTo>
                  <a:lnTo>
                    <a:pt x="8894" y="1125"/>
                  </a:lnTo>
                  <a:lnTo>
                    <a:pt x="8471" y="1125"/>
                  </a:lnTo>
                  <a:lnTo>
                    <a:pt x="8894" y="1575"/>
                  </a:lnTo>
                  <a:lnTo>
                    <a:pt x="9741" y="1575"/>
                  </a:lnTo>
                  <a:lnTo>
                    <a:pt x="9741" y="1125"/>
                  </a:lnTo>
                  <a:lnTo>
                    <a:pt x="10588" y="1125"/>
                  </a:lnTo>
                  <a:lnTo>
                    <a:pt x="10588" y="675"/>
                  </a:lnTo>
                  <a:lnTo>
                    <a:pt x="11435" y="675"/>
                  </a:lnTo>
                  <a:lnTo>
                    <a:pt x="11435" y="1125"/>
                  </a:lnTo>
                  <a:lnTo>
                    <a:pt x="15671" y="1125"/>
                  </a:lnTo>
                  <a:lnTo>
                    <a:pt x="15671" y="675"/>
                  </a:lnTo>
                  <a:lnTo>
                    <a:pt x="19482" y="675"/>
                  </a:lnTo>
                  <a:lnTo>
                    <a:pt x="19482" y="2025"/>
                  </a:lnTo>
                  <a:lnTo>
                    <a:pt x="21600" y="2025"/>
                  </a:lnTo>
                  <a:lnTo>
                    <a:pt x="21600" y="3150"/>
                  </a:lnTo>
                  <a:lnTo>
                    <a:pt x="20753" y="3150"/>
                  </a:lnTo>
                  <a:lnTo>
                    <a:pt x="20753" y="3600"/>
                  </a:lnTo>
                  <a:lnTo>
                    <a:pt x="20329" y="3600"/>
                  </a:lnTo>
                  <a:lnTo>
                    <a:pt x="20329" y="3825"/>
                  </a:lnTo>
                  <a:lnTo>
                    <a:pt x="18635" y="3825"/>
                  </a:lnTo>
                  <a:lnTo>
                    <a:pt x="18635" y="4275"/>
                  </a:lnTo>
                  <a:lnTo>
                    <a:pt x="17365" y="4275"/>
                  </a:lnTo>
                  <a:lnTo>
                    <a:pt x="17365" y="5175"/>
                  </a:lnTo>
                  <a:lnTo>
                    <a:pt x="17788" y="5400"/>
                  </a:lnTo>
                  <a:lnTo>
                    <a:pt x="17788" y="7875"/>
                  </a:lnTo>
                  <a:lnTo>
                    <a:pt x="17365" y="7875"/>
                  </a:lnTo>
                  <a:lnTo>
                    <a:pt x="17365" y="8100"/>
                  </a:lnTo>
                  <a:lnTo>
                    <a:pt x="16518" y="8100"/>
                  </a:lnTo>
                  <a:lnTo>
                    <a:pt x="16518" y="8550"/>
                  </a:lnTo>
                  <a:lnTo>
                    <a:pt x="17365" y="8550"/>
                  </a:lnTo>
                  <a:lnTo>
                    <a:pt x="17365" y="10125"/>
                  </a:lnTo>
                  <a:lnTo>
                    <a:pt x="16518" y="10125"/>
                  </a:lnTo>
                  <a:lnTo>
                    <a:pt x="16518" y="10575"/>
                  </a:lnTo>
                  <a:lnTo>
                    <a:pt x="15671" y="10575"/>
                  </a:lnTo>
                  <a:lnTo>
                    <a:pt x="15671" y="10125"/>
                  </a:lnTo>
                  <a:lnTo>
                    <a:pt x="14824" y="10125"/>
                  </a:lnTo>
                  <a:lnTo>
                    <a:pt x="14400" y="10575"/>
                  </a:lnTo>
                  <a:lnTo>
                    <a:pt x="13553" y="10575"/>
                  </a:lnTo>
                  <a:lnTo>
                    <a:pt x="13553" y="11025"/>
                  </a:lnTo>
                  <a:lnTo>
                    <a:pt x="14400" y="11250"/>
                  </a:lnTo>
                  <a:lnTo>
                    <a:pt x="14824" y="11250"/>
                  </a:lnTo>
                  <a:lnTo>
                    <a:pt x="14824" y="12600"/>
                  </a:lnTo>
                  <a:lnTo>
                    <a:pt x="15671" y="12600"/>
                  </a:lnTo>
                  <a:lnTo>
                    <a:pt x="15671" y="12825"/>
                  </a:lnTo>
                  <a:lnTo>
                    <a:pt x="17365" y="12825"/>
                  </a:lnTo>
                  <a:lnTo>
                    <a:pt x="17365" y="13275"/>
                  </a:lnTo>
                  <a:lnTo>
                    <a:pt x="16518" y="13275"/>
                  </a:lnTo>
                  <a:lnTo>
                    <a:pt x="16518" y="14175"/>
                  </a:lnTo>
                  <a:lnTo>
                    <a:pt x="14824" y="14175"/>
                  </a:lnTo>
                  <a:lnTo>
                    <a:pt x="14824" y="15975"/>
                  </a:lnTo>
                  <a:lnTo>
                    <a:pt x="15671" y="15975"/>
                  </a:lnTo>
                  <a:lnTo>
                    <a:pt x="15671" y="16875"/>
                  </a:lnTo>
                  <a:lnTo>
                    <a:pt x="17365" y="16875"/>
                  </a:lnTo>
                  <a:lnTo>
                    <a:pt x="16518" y="17325"/>
                  </a:lnTo>
                  <a:lnTo>
                    <a:pt x="15671" y="17325"/>
                  </a:lnTo>
                  <a:lnTo>
                    <a:pt x="15671" y="17550"/>
                  </a:lnTo>
                  <a:lnTo>
                    <a:pt x="14824" y="17550"/>
                  </a:lnTo>
                  <a:lnTo>
                    <a:pt x="14824" y="18000"/>
                  </a:lnTo>
                  <a:lnTo>
                    <a:pt x="14400" y="18000"/>
                  </a:lnTo>
                  <a:lnTo>
                    <a:pt x="14400" y="18450"/>
                  </a:lnTo>
                  <a:lnTo>
                    <a:pt x="13553" y="18450"/>
                  </a:lnTo>
                  <a:lnTo>
                    <a:pt x="13553" y="19125"/>
                  </a:lnTo>
                  <a:lnTo>
                    <a:pt x="12706" y="19125"/>
                  </a:lnTo>
                  <a:lnTo>
                    <a:pt x="12706" y="19575"/>
                  </a:lnTo>
                  <a:lnTo>
                    <a:pt x="13553" y="19575"/>
                  </a:lnTo>
                  <a:lnTo>
                    <a:pt x="13553" y="21150"/>
                  </a:lnTo>
                  <a:lnTo>
                    <a:pt x="11859" y="21150"/>
                  </a:lnTo>
                  <a:lnTo>
                    <a:pt x="11859" y="21600"/>
                  </a:lnTo>
                  <a:lnTo>
                    <a:pt x="8894" y="21600"/>
                  </a:lnTo>
                  <a:lnTo>
                    <a:pt x="8894" y="21150"/>
                  </a:lnTo>
                  <a:lnTo>
                    <a:pt x="4659" y="21150"/>
                  </a:lnTo>
                  <a:lnTo>
                    <a:pt x="4659" y="21600"/>
                  </a:lnTo>
                  <a:lnTo>
                    <a:pt x="2965" y="21600"/>
                  </a:lnTo>
                  <a:lnTo>
                    <a:pt x="3812" y="21150"/>
                  </a:lnTo>
                  <a:lnTo>
                    <a:pt x="3812" y="20025"/>
                  </a:lnTo>
                  <a:lnTo>
                    <a:pt x="4659" y="19575"/>
                  </a:lnTo>
                  <a:lnTo>
                    <a:pt x="4659" y="16425"/>
                  </a:lnTo>
                  <a:lnTo>
                    <a:pt x="3812" y="16425"/>
                  </a:lnTo>
                  <a:lnTo>
                    <a:pt x="3812" y="15750"/>
                  </a:lnTo>
                  <a:lnTo>
                    <a:pt x="5506" y="15750"/>
                  </a:lnTo>
                  <a:lnTo>
                    <a:pt x="5506" y="15300"/>
                  </a:lnTo>
                  <a:lnTo>
                    <a:pt x="2965" y="15300"/>
                  </a:lnTo>
                  <a:lnTo>
                    <a:pt x="2541" y="15750"/>
                  </a:lnTo>
                  <a:lnTo>
                    <a:pt x="1694" y="15750"/>
                  </a:lnTo>
                  <a:lnTo>
                    <a:pt x="1694" y="14850"/>
                  </a:lnTo>
                  <a:lnTo>
                    <a:pt x="2541" y="14850"/>
                  </a:lnTo>
                  <a:lnTo>
                    <a:pt x="2965" y="14400"/>
                  </a:lnTo>
                  <a:lnTo>
                    <a:pt x="2965" y="13725"/>
                  </a:lnTo>
                  <a:lnTo>
                    <a:pt x="2541" y="13725"/>
                  </a:lnTo>
                  <a:lnTo>
                    <a:pt x="2541" y="14400"/>
                  </a:lnTo>
                  <a:lnTo>
                    <a:pt x="1694" y="14400"/>
                  </a:lnTo>
                  <a:lnTo>
                    <a:pt x="1694" y="14850"/>
                  </a:lnTo>
                  <a:lnTo>
                    <a:pt x="847" y="14850"/>
                  </a:lnTo>
                  <a:lnTo>
                    <a:pt x="847" y="14400"/>
                  </a:lnTo>
                  <a:lnTo>
                    <a:pt x="0" y="14400"/>
                  </a:lnTo>
                  <a:lnTo>
                    <a:pt x="0" y="12825"/>
                  </a:lnTo>
                  <a:lnTo>
                    <a:pt x="847" y="12825"/>
                  </a:lnTo>
                  <a:lnTo>
                    <a:pt x="847" y="11700"/>
                  </a:lnTo>
                  <a:lnTo>
                    <a:pt x="1694" y="11700"/>
                  </a:lnTo>
                  <a:lnTo>
                    <a:pt x="1694" y="11250"/>
                  </a:lnTo>
                  <a:lnTo>
                    <a:pt x="2541" y="11250"/>
                  </a:lnTo>
                  <a:lnTo>
                    <a:pt x="2541" y="10125"/>
                  </a:lnTo>
                  <a:lnTo>
                    <a:pt x="2965" y="10125"/>
                  </a:lnTo>
                  <a:lnTo>
                    <a:pt x="2965" y="9450"/>
                  </a:lnTo>
                  <a:lnTo>
                    <a:pt x="3812" y="9000"/>
                  </a:lnTo>
                  <a:lnTo>
                    <a:pt x="3812" y="6975"/>
                  </a:lnTo>
                  <a:lnTo>
                    <a:pt x="4659" y="6975"/>
                  </a:lnTo>
                  <a:lnTo>
                    <a:pt x="4659" y="6300"/>
                  </a:lnTo>
                  <a:lnTo>
                    <a:pt x="5506" y="6300"/>
                  </a:lnTo>
                  <a:lnTo>
                    <a:pt x="5506" y="5850"/>
                  </a:lnTo>
                  <a:lnTo>
                    <a:pt x="4659" y="5850"/>
                  </a:lnTo>
                  <a:lnTo>
                    <a:pt x="5506" y="5400"/>
                  </a:lnTo>
                  <a:lnTo>
                    <a:pt x="5506" y="3825"/>
                  </a:lnTo>
                  <a:lnTo>
                    <a:pt x="4659" y="3600"/>
                  </a:lnTo>
                  <a:lnTo>
                    <a:pt x="4659" y="2025"/>
                  </a:lnTo>
                  <a:lnTo>
                    <a:pt x="3812" y="2025"/>
                  </a:lnTo>
                  <a:lnTo>
                    <a:pt x="3812" y="1125"/>
                  </a:lnTo>
                  <a:lnTo>
                    <a:pt x="4659" y="675"/>
                  </a:lnTo>
                  <a:lnTo>
                    <a:pt x="5506" y="675"/>
                  </a:lnTo>
                  <a:lnTo>
                    <a:pt x="5929" y="450"/>
                  </a:lnTo>
                  <a:lnTo>
                    <a:pt x="6776" y="450"/>
                  </a:lnTo>
                  <a:lnTo>
                    <a:pt x="6776" y="0"/>
                  </a:lnTo>
                  <a:close/>
                  <a:moveTo>
                    <a:pt x="6776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73" name="AutoShape 25"/>
            <p:cNvSpPr>
              <a:spLocks/>
            </p:cNvSpPr>
            <p:nvPr/>
          </p:nvSpPr>
          <p:spPr bwMode="auto">
            <a:xfrm>
              <a:off x="7562032" y="3558025"/>
              <a:ext cx="837308" cy="618497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610" y="14400"/>
                  </a:moveTo>
                  <a:lnTo>
                    <a:pt x="1878" y="14743"/>
                  </a:lnTo>
                  <a:lnTo>
                    <a:pt x="1878" y="15086"/>
                  </a:lnTo>
                  <a:lnTo>
                    <a:pt x="1476" y="15086"/>
                  </a:lnTo>
                  <a:lnTo>
                    <a:pt x="1476" y="14743"/>
                  </a:lnTo>
                  <a:lnTo>
                    <a:pt x="1610" y="14400"/>
                  </a:lnTo>
                  <a:close/>
                  <a:moveTo>
                    <a:pt x="11538" y="1543"/>
                  </a:moveTo>
                  <a:lnTo>
                    <a:pt x="11672" y="1543"/>
                  </a:lnTo>
                  <a:lnTo>
                    <a:pt x="11672" y="1886"/>
                  </a:lnTo>
                  <a:lnTo>
                    <a:pt x="11270" y="1886"/>
                  </a:lnTo>
                  <a:lnTo>
                    <a:pt x="11538" y="1543"/>
                  </a:lnTo>
                  <a:close/>
                  <a:moveTo>
                    <a:pt x="9123" y="343"/>
                  </a:moveTo>
                  <a:lnTo>
                    <a:pt x="9391" y="343"/>
                  </a:lnTo>
                  <a:lnTo>
                    <a:pt x="9660" y="686"/>
                  </a:lnTo>
                  <a:lnTo>
                    <a:pt x="9794" y="686"/>
                  </a:lnTo>
                  <a:lnTo>
                    <a:pt x="9794" y="1029"/>
                  </a:lnTo>
                  <a:lnTo>
                    <a:pt x="9660" y="1029"/>
                  </a:lnTo>
                  <a:lnTo>
                    <a:pt x="9123" y="343"/>
                  </a:lnTo>
                  <a:close/>
                  <a:moveTo>
                    <a:pt x="8452" y="0"/>
                  </a:moveTo>
                  <a:lnTo>
                    <a:pt x="8855" y="0"/>
                  </a:lnTo>
                  <a:lnTo>
                    <a:pt x="8855" y="343"/>
                  </a:lnTo>
                  <a:lnTo>
                    <a:pt x="9123" y="343"/>
                  </a:lnTo>
                  <a:lnTo>
                    <a:pt x="9123" y="1029"/>
                  </a:lnTo>
                  <a:lnTo>
                    <a:pt x="9391" y="1200"/>
                  </a:lnTo>
                  <a:lnTo>
                    <a:pt x="9391" y="1886"/>
                  </a:lnTo>
                  <a:lnTo>
                    <a:pt x="9794" y="1886"/>
                  </a:lnTo>
                  <a:lnTo>
                    <a:pt x="9794" y="2057"/>
                  </a:lnTo>
                  <a:lnTo>
                    <a:pt x="10330" y="2057"/>
                  </a:lnTo>
                  <a:lnTo>
                    <a:pt x="10599" y="1886"/>
                  </a:lnTo>
                  <a:lnTo>
                    <a:pt x="11001" y="1886"/>
                  </a:lnTo>
                  <a:lnTo>
                    <a:pt x="11001" y="2400"/>
                  </a:lnTo>
                  <a:lnTo>
                    <a:pt x="11270" y="2400"/>
                  </a:lnTo>
                  <a:lnTo>
                    <a:pt x="11538" y="2057"/>
                  </a:lnTo>
                  <a:lnTo>
                    <a:pt x="11672" y="2057"/>
                  </a:lnTo>
                  <a:lnTo>
                    <a:pt x="11672" y="1886"/>
                  </a:lnTo>
                  <a:lnTo>
                    <a:pt x="14087" y="1886"/>
                  </a:lnTo>
                  <a:lnTo>
                    <a:pt x="14758" y="2057"/>
                  </a:lnTo>
                  <a:lnTo>
                    <a:pt x="19051" y="2057"/>
                  </a:lnTo>
                  <a:lnTo>
                    <a:pt x="19051" y="2400"/>
                  </a:lnTo>
                  <a:lnTo>
                    <a:pt x="19453" y="2400"/>
                  </a:lnTo>
                  <a:lnTo>
                    <a:pt x="19722" y="2743"/>
                  </a:lnTo>
                  <a:lnTo>
                    <a:pt x="19722" y="3086"/>
                  </a:lnTo>
                  <a:lnTo>
                    <a:pt x="19990" y="3086"/>
                  </a:lnTo>
                  <a:lnTo>
                    <a:pt x="19990" y="3943"/>
                  </a:lnTo>
                  <a:lnTo>
                    <a:pt x="20124" y="4286"/>
                  </a:lnTo>
                  <a:lnTo>
                    <a:pt x="20124" y="5143"/>
                  </a:lnTo>
                  <a:lnTo>
                    <a:pt x="20393" y="5143"/>
                  </a:lnTo>
                  <a:lnTo>
                    <a:pt x="20393" y="5486"/>
                  </a:lnTo>
                  <a:lnTo>
                    <a:pt x="20661" y="5657"/>
                  </a:lnTo>
                  <a:lnTo>
                    <a:pt x="20661" y="6343"/>
                  </a:lnTo>
                  <a:lnTo>
                    <a:pt x="20795" y="6343"/>
                  </a:lnTo>
                  <a:lnTo>
                    <a:pt x="20795" y="8400"/>
                  </a:lnTo>
                  <a:lnTo>
                    <a:pt x="20661" y="8400"/>
                  </a:lnTo>
                  <a:lnTo>
                    <a:pt x="20393" y="8743"/>
                  </a:lnTo>
                  <a:lnTo>
                    <a:pt x="20124" y="8743"/>
                  </a:lnTo>
                  <a:lnTo>
                    <a:pt x="20124" y="9086"/>
                  </a:lnTo>
                  <a:lnTo>
                    <a:pt x="19990" y="9086"/>
                  </a:lnTo>
                  <a:lnTo>
                    <a:pt x="19990" y="9257"/>
                  </a:lnTo>
                  <a:lnTo>
                    <a:pt x="19722" y="9257"/>
                  </a:lnTo>
                  <a:lnTo>
                    <a:pt x="19453" y="9600"/>
                  </a:lnTo>
                  <a:lnTo>
                    <a:pt x="19185" y="9600"/>
                  </a:lnTo>
                  <a:lnTo>
                    <a:pt x="19185" y="9943"/>
                  </a:lnTo>
                  <a:lnTo>
                    <a:pt x="19722" y="9943"/>
                  </a:lnTo>
                  <a:lnTo>
                    <a:pt x="19722" y="10286"/>
                  </a:lnTo>
                  <a:lnTo>
                    <a:pt x="19990" y="10286"/>
                  </a:lnTo>
                  <a:lnTo>
                    <a:pt x="19990" y="10457"/>
                  </a:lnTo>
                  <a:lnTo>
                    <a:pt x="20393" y="10457"/>
                  </a:lnTo>
                  <a:lnTo>
                    <a:pt x="20393" y="11143"/>
                  </a:lnTo>
                  <a:lnTo>
                    <a:pt x="20124" y="11143"/>
                  </a:lnTo>
                  <a:lnTo>
                    <a:pt x="20124" y="12686"/>
                  </a:lnTo>
                  <a:lnTo>
                    <a:pt x="20393" y="12686"/>
                  </a:lnTo>
                  <a:lnTo>
                    <a:pt x="20393" y="13543"/>
                  </a:lnTo>
                  <a:lnTo>
                    <a:pt x="20661" y="13543"/>
                  </a:lnTo>
                  <a:lnTo>
                    <a:pt x="20795" y="13886"/>
                  </a:lnTo>
                  <a:lnTo>
                    <a:pt x="20795" y="14057"/>
                  </a:lnTo>
                  <a:lnTo>
                    <a:pt x="21063" y="14400"/>
                  </a:lnTo>
                  <a:lnTo>
                    <a:pt x="21063" y="14743"/>
                  </a:lnTo>
                  <a:lnTo>
                    <a:pt x="21332" y="14743"/>
                  </a:lnTo>
                  <a:lnTo>
                    <a:pt x="21332" y="15086"/>
                  </a:lnTo>
                  <a:lnTo>
                    <a:pt x="21600" y="15086"/>
                  </a:lnTo>
                  <a:lnTo>
                    <a:pt x="21600" y="15257"/>
                  </a:lnTo>
                  <a:lnTo>
                    <a:pt x="20795" y="15257"/>
                  </a:lnTo>
                  <a:lnTo>
                    <a:pt x="20795" y="15600"/>
                  </a:lnTo>
                  <a:lnTo>
                    <a:pt x="21063" y="15600"/>
                  </a:lnTo>
                  <a:lnTo>
                    <a:pt x="21063" y="15943"/>
                  </a:lnTo>
                  <a:lnTo>
                    <a:pt x="21332" y="15943"/>
                  </a:lnTo>
                  <a:lnTo>
                    <a:pt x="21332" y="16286"/>
                  </a:lnTo>
                  <a:lnTo>
                    <a:pt x="21063" y="16457"/>
                  </a:lnTo>
                  <a:lnTo>
                    <a:pt x="21063" y="16800"/>
                  </a:lnTo>
                  <a:lnTo>
                    <a:pt x="20393" y="16800"/>
                  </a:lnTo>
                  <a:lnTo>
                    <a:pt x="20393" y="17143"/>
                  </a:lnTo>
                  <a:lnTo>
                    <a:pt x="20124" y="17143"/>
                  </a:lnTo>
                  <a:lnTo>
                    <a:pt x="20124" y="17314"/>
                  </a:lnTo>
                  <a:lnTo>
                    <a:pt x="19722" y="17314"/>
                  </a:lnTo>
                  <a:lnTo>
                    <a:pt x="19722" y="17657"/>
                  </a:lnTo>
                  <a:lnTo>
                    <a:pt x="18514" y="19200"/>
                  </a:lnTo>
                  <a:lnTo>
                    <a:pt x="18246" y="19200"/>
                  </a:lnTo>
                  <a:lnTo>
                    <a:pt x="18246" y="19714"/>
                  </a:lnTo>
                  <a:lnTo>
                    <a:pt x="18112" y="20057"/>
                  </a:lnTo>
                  <a:lnTo>
                    <a:pt x="18246" y="20057"/>
                  </a:lnTo>
                  <a:lnTo>
                    <a:pt x="18246" y="20914"/>
                  </a:lnTo>
                  <a:lnTo>
                    <a:pt x="18514" y="21257"/>
                  </a:lnTo>
                  <a:lnTo>
                    <a:pt x="18783" y="21257"/>
                  </a:lnTo>
                  <a:lnTo>
                    <a:pt x="18783" y="21600"/>
                  </a:lnTo>
                  <a:lnTo>
                    <a:pt x="18112" y="21600"/>
                  </a:lnTo>
                  <a:lnTo>
                    <a:pt x="18112" y="21257"/>
                  </a:lnTo>
                  <a:lnTo>
                    <a:pt x="17307" y="21257"/>
                  </a:lnTo>
                  <a:lnTo>
                    <a:pt x="17173" y="20914"/>
                  </a:lnTo>
                  <a:lnTo>
                    <a:pt x="16904" y="20914"/>
                  </a:lnTo>
                  <a:lnTo>
                    <a:pt x="16636" y="20743"/>
                  </a:lnTo>
                  <a:lnTo>
                    <a:pt x="16636" y="20400"/>
                  </a:lnTo>
                  <a:lnTo>
                    <a:pt x="16234" y="20400"/>
                  </a:lnTo>
                  <a:lnTo>
                    <a:pt x="15965" y="20057"/>
                  </a:lnTo>
                  <a:lnTo>
                    <a:pt x="15026" y="20057"/>
                  </a:lnTo>
                  <a:lnTo>
                    <a:pt x="15026" y="20400"/>
                  </a:lnTo>
                  <a:lnTo>
                    <a:pt x="14758" y="20400"/>
                  </a:lnTo>
                  <a:lnTo>
                    <a:pt x="14489" y="20743"/>
                  </a:lnTo>
                  <a:lnTo>
                    <a:pt x="14355" y="20400"/>
                  </a:lnTo>
                  <a:lnTo>
                    <a:pt x="12880" y="20400"/>
                  </a:lnTo>
                  <a:lnTo>
                    <a:pt x="12477" y="20914"/>
                  </a:lnTo>
                  <a:lnTo>
                    <a:pt x="11940" y="20914"/>
                  </a:lnTo>
                  <a:lnTo>
                    <a:pt x="11940" y="20400"/>
                  </a:lnTo>
                  <a:lnTo>
                    <a:pt x="11538" y="20400"/>
                  </a:lnTo>
                  <a:lnTo>
                    <a:pt x="11538" y="19543"/>
                  </a:lnTo>
                  <a:lnTo>
                    <a:pt x="11001" y="19543"/>
                  </a:lnTo>
                  <a:lnTo>
                    <a:pt x="11001" y="19714"/>
                  </a:lnTo>
                  <a:lnTo>
                    <a:pt x="10733" y="20057"/>
                  </a:lnTo>
                  <a:lnTo>
                    <a:pt x="10599" y="20057"/>
                  </a:lnTo>
                  <a:lnTo>
                    <a:pt x="10599" y="20400"/>
                  </a:lnTo>
                  <a:lnTo>
                    <a:pt x="10330" y="20400"/>
                  </a:lnTo>
                  <a:lnTo>
                    <a:pt x="10330" y="19714"/>
                  </a:lnTo>
                  <a:lnTo>
                    <a:pt x="10062" y="19714"/>
                  </a:lnTo>
                  <a:lnTo>
                    <a:pt x="10062" y="19543"/>
                  </a:lnTo>
                  <a:lnTo>
                    <a:pt x="9794" y="19543"/>
                  </a:lnTo>
                  <a:lnTo>
                    <a:pt x="9794" y="19200"/>
                  </a:lnTo>
                  <a:lnTo>
                    <a:pt x="9660" y="19200"/>
                  </a:lnTo>
                  <a:lnTo>
                    <a:pt x="9391" y="18857"/>
                  </a:lnTo>
                  <a:lnTo>
                    <a:pt x="9391" y="18514"/>
                  </a:lnTo>
                  <a:lnTo>
                    <a:pt x="9123" y="18514"/>
                  </a:lnTo>
                  <a:lnTo>
                    <a:pt x="8855" y="18343"/>
                  </a:lnTo>
                  <a:lnTo>
                    <a:pt x="8720" y="18343"/>
                  </a:lnTo>
                  <a:lnTo>
                    <a:pt x="8452" y="18000"/>
                  </a:lnTo>
                  <a:lnTo>
                    <a:pt x="8452" y="17657"/>
                  </a:lnTo>
                  <a:lnTo>
                    <a:pt x="8184" y="17657"/>
                  </a:lnTo>
                  <a:lnTo>
                    <a:pt x="8184" y="18000"/>
                  </a:lnTo>
                  <a:lnTo>
                    <a:pt x="7916" y="18343"/>
                  </a:lnTo>
                  <a:lnTo>
                    <a:pt x="7781" y="18343"/>
                  </a:lnTo>
                  <a:lnTo>
                    <a:pt x="7781" y="17657"/>
                  </a:lnTo>
                  <a:lnTo>
                    <a:pt x="7245" y="17657"/>
                  </a:lnTo>
                  <a:lnTo>
                    <a:pt x="7245" y="17314"/>
                  </a:lnTo>
                  <a:lnTo>
                    <a:pt x="7781" y="17314"/>
                  </a:lnTo>
                  <a:lnTo>
                    <a:pt x="7781" y="16800"/>
                  </a:lnTo>
                  <a:lnTo>
                    <a:pt x="7513" y="16800"/>
                  </a:lnTo>
                  <a:lnTo>
                    <a:pt x="7513" y="17143"/>
                  </a:lnTo>
                  <a:lnTo>
                    <a:pt x="7111" y="17143"/>
                  </a:lnTo>
                  <a:lnTo>
                    <a:pt x="7111" y="16800"/>
                  </a:lnTo>
                  <a:lnTo>
                    <a:pt x="6171" y="16800"/>
                  </a:lnTo>
                  <a:lnTo>
                    <a:pt x="6171" y="16457"/>
                  </a:lnTo>
                  <a:lnTo>
                    <a:pt x="5903" y="16457"/>
                  </a:lnTo>
                  <a:lnTo>
                    <a:pt x="5903" y="16800"/>
                  </a:lnTo>
                  <a:lnTo>
                    <a:pt x="6171" y="16800"/>
                  </a:lnTo>
                  <a:lnTo>
                    <a:pt x="6171" y="17143"/>
                  </a:lnTo>
                  <a:lnTo>
                    <a:pt x="5903" y="17143"/>
                  </a:lnTo>
                  <a:lnTo>
                    <a:pt x="5903" y="17314"/>
                  </a:lnTo>
                  <a:lnTo>
                    <a:pt x="5635" y="17314"/>
                  </a:lnTo>
                  <a:lnTo>
                    <a:pt x="5635" y="17657"/>
                  </a:lnTo>
                  <a:lnTo>
                    <a:pt x="5232" y="17657"/>
                  </a:lnTo>
                  <a:lnTo>
                    <a:pt x="5232" y="17143"/>
                  </a:lnTo>
                  <a:lnTo>
                    <a:pt x="4696" y="17143"/>
                  </a:lnTo>
                  <a:lnTo>
                    <a:pt x="4696" y="16800"/>
                  </a:lnTo>
                  <a:lnTo>
                    <a:pt x="4427" y="16800"/>
                  </a:lnTo>
                  <a:lnTo>
                    <a:pt x="4427" y="16457"/>
                  </a:lnTo>
                  <a:lnTo>
                    <a:pt x="4696" y="16457"/>
                  </a:lnTo>
                  <a:lnTo>
                    <a:pt x="4696" y="16286"/>
                  </a:lnTo>
                  <a:lnTo>
                    <a:pt x="4964" y="16286"/>
                  </a:lnTo>
                  <a:lnTo>
                    <a:pt x="4964" y="15943"/>
                  </a:lnTo>
                  <a:lnTo>
                    <a:pt x="4696" y="15943"/>
                  </a:lnTo>
                  <a:lnTo>
                    <a:pt x="4696" y="15600"/>
                  </a:lnTo>
                  <a:lnTo>
                    <a:pt x="4427" y="15600"/>
                  </a:lnTo>
                  <a:lnTo>
                    <a:pt x="4293" y="15943"/>
                  </a:lnTo>
                  <a:lnTo>
                    <a:pt x="3757" y="15943"/>
                  </a:lnTo>
                  <a:lnTo>
                    <a:pt x="3757" y="15600"/>
                  </a:lnTo>
                  <a:lnTo>
                    <a:pt x="3086" y="15600"/>
                  </a:lnTo>
                  <a:lnTo>
                    <a:pt x="3086" y="15257"/>
                  </a:lnTo>
                  <a:lnTo>
                    <a:pt x="2549" y="15257"/>
                  </a:lnTo>
                  <a:lnTo>
                    <a:pt x="2549" y="15086"/>
                  </a:lnTo>
                  <a:lnTo>
                    <a:pt x="2415" y="15086"/>
                  </a:lnTo>
                  <a:lnTo>
                    <a:pt x="2415" y="14743"/>
                  </a:lnTo>
                  <a:lnTo>
                    <a:pt x="2147" y="14743"/>
                  </a:lnTo>
                  <a:lnTo>
                    <a:pt x="2147" y="14400"/>
                  </a:lnTo>
                  <a:lnTo>
                    <a:pt x="1610" y="14400"/>
                  </a:lnTo>
                  <a:lnTo>
                    <a:pt x="1610" y="14057"/>
                  </a:lnTo>
                  <a:lnTo>
                    <a:pt x="1878" y="14057"/>
                  </a:lnTo>
                  <a:lnTo>
                    <a:pt x="1878" y="13543"/>
                  </a:lnTo>
                  <a:lnTo>
                    <a:pt x="1610" y="13200"/>
                  </a:lnTo>
                  <a:lnTo>
                    <a:pt x="1610" y="12857"/>
                  </a:lnTo>
                  <a:lnTo>
                    <a:pt x="1476" y="12686"/>
                  </a:lnTo>
                  <a:lnTo>
                    <a:pt x="1207" y="12686"/>
                  </a:lnTo>
                  <a:lnTo>
                    <a:pt x="1207" y="11657"/>
                  </a:lnTo>
                  <a:lnTo>
                    <a:pt x="939" y="11657"/>
                  </a:lnTo>
                  <a:lnTo>
                    <a:pt x="939" y="11486"/>
                  </a:lnTo>
                  <a:lnTo>
                    <a:pt x="1207" y="11143"/>
                  </a:lnTo>
                  <a:lnTo>
                    <a:pt x="1207" y="9943"/>
                  </a:lnTo>
                  <a:lnTo>
                    <a:pt x="939" y="9943"/>
                  </a:lnTo>
                  <a:lnTo>
                    <a:pt x="939" y="9600"/>
                  </a:lnTo>
                  <a:lnTo>
                    <a:pt x="671" y="9600"/>
                  </a:lnTo>
                  <a:lnTo>
                    <a:pt x="671" y="9086"/>
                  </a:lnTo>
                  <a:lnTo>
                    <a:pt x="939" y="9086"/>
                  </a:lnTo>
                  <a:lnTo>
                    <a:pt x="939" y="8400"/>
                  </a:lnTo>
                  <a:lnTo>
                    <a:pt x="537" y="8400"/>
                  </a:lnTo>
                  <a:lnTo>
                    <a:pt x="537" y="8057"/>
                  </a:lnTo>
                  <a:lnTo>
                    <a:pt x="268" y="7886"/>
                  </a:lnTo>
                  <a:lnTo>
                    <a:pt x="0" y="7886"/>
                  </a:lnTo>
                  <a:lnTo>
                    <a:pt x="0" y="7200"/>
                  </a:lnTo>
                  <a:lnTo>
                    <a:pt x="268" y="7200"/>
                  </a:lnTo>
                  <a:lnTo>
                    <a:pt x="537" y="6857"/>
                  </a:lnTo>
                  <a:lnTo>
                    <a:pt x="537" y="6686"/>
                  </a:lnTo>
                  <a:lnTo>
                    <a:pt x="268" y="6686"/>
                  </a:lnTo>
                  <a:lnTo>
                    <a:pt x="537" y="6343"/>
                  </a:lnTo>
                  <a:lnTo>
                    <a:pt x="537" y="5486"/>
                  </a:lnTo>
                  <a:lnTo>
                    <a:pt x="268" y="5486"/>
                  </a:lnTo>
                  <a:lnTo>
                    <a:pt x="268" y="4457"/>
                  </a:lnTo>
                  <a:lnTo>
                    <a:pt x="671" y="4457"/>
                  </a:lnTo>
                  <a:lnTo>
                    <a:pt x="671" y="4800"/>
                  </a:lnTo>
                  <a:lnTo>
                    <a:pt x="939" y="4800"/>
                  </a:lnTo>
                  <a:lnTo>
                    <a:pt x="939" y="4286"/>
                  </a:lnTo>
                  <a:lnTo>
                    <a:pt x="671" y="3943"/>
                  </a:lnTo>
                  <a:lnTo>
                    <a:pt x="537" y="3943"/>
                  </a:lnTo>
                  <a:lnTo>
                    <a:pt x="268" y="4286"/>
                  </a:lnTo>
                  <a:lnTo>
                    <a:pt x="268" y="3943"/>
                  </a:lnTo>
                  <a:lnTo>
                    <a:pt x="0" y="3943"/>
                  </a:lnTo>
                  <a:lnTo>
                    <a:pt x="0" y="3600"/>
                  </a:lnTo>
                  <a:lnTo>
                    <a:pt x="537" y="3600"/>
                  </a:lnTo>
                  <a:lnTo>
                    <a:pt x="671" y="3257"/>
                  </a:lnTo>
                  <a:lnTo>
                    <a:pt x="939" y="3257"/>
                  </a:lnTo>
                  <a:lnTo>
                    <a:pt x="1610" y="3086"/>
                  </a:lnTo>
                  <a:lnTo>
                    <a:pt x="2147" y="2743"/>
                  </a:lnTo>
                  <a:lnTo>
                    <a:pt x="3354" y="2743"/>
                  </a:lnTo>
                  <a:lnTo>
                    <a:pt x="3757" y="2400"/>
                  </a:lnTo>
                  <a:lnTo>
                    <a:pt x="4293" y="2400"/>
                  </a:lnTo>
                  <a:lnTo>
                    <a:pt x="4696" y="1886"/>
                  </a:lnTo>
                  <a:lnTo>
                    <a:pt x="4696" y="1543"/>
                  </a:lnTo>
                  <a:lnTo>
                    <a:pt x="4964" y="1543"/>
                  </a:lnTo>
                  <a:lnTo>
                    <a:pt x="4964" y="1200"/>
                  </a:lnTo>
                  <a:lnTo>
                    <a:pt x="5635" y="1200"/>
                  </a:lnTo>
                  <a:lnTo>
                    <a:pt x="5903" y="1029"/>
                  </a:lnTo>
                  <a:lnTo>
                    <a:pt x="6574" y="1029"/>
                  </a:lnTo>
                  <a:lnTo>
                    <a:pt x="6842" y="686"/>
                  </a:lnTo>
                  <a:lnTo>
                    <a:pt x="7111" y="686"/>
                  </a:lnTo>
                  <a:lnTo>
                    <a:pt x="7111" y="343"/>
                  </a:lnTo>
                  <a:lnTo>
                    <a:pt x="8184" y="343"/>
                  </a:lnTo>
                  <a:lnTo>
                    <a:pt x="8452" y="0"/>
                  </a:lnTo>
                  <a:close/>
                  <a:moveTo>
                    <a:pt x="8452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74" name="AutoShape 26"/>
            <p:cNvSpPr>
              <a:spLocks/>
            </p:cNvSpPr>
            <p:nvPr/>
          </p:nvSpPr>
          <p:spPr bwMode="auto">
            <a:xfrm>
              <a:off x="8220399" y="1577627"/>
              <a:ext cx="116480" cy="54395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7100" y="3927"/>
                  </a:moveTo>
                  <a:lnTo>
                    <a:pt x="18900" y="3927"/>
                  </a:lnTo>
                  <a:lnTo>
                    <a:pt x="18900" y="9818"/>
                  </a:lnTo>
                  <a:lnTo>
                    <a:pt x="15300" y="9818"/>
                  </a:lnTo>
                  <a:lnTo>
                    <a:pt x="15300" y="17673"/>
                  </a:lnTo>
                  <a:lnTo>
                    <a:pt x="6300" y="17673"/>
                  </a:lnTo>
                  <a:lnTo>
                    <a:pt x="4500" y="21600"/>
                  </a:lnTo>
                  <a:lnTo>
                    <a:pt x="1800" y="21600"/>
                  </a:lnTo>
                  <a:lnTo>
                    <a:pt x="1800" y="17673"/>
                  </a:lnTo>
                  <a:lnTo>
                    <a:pt x="0" y="13745"/>
                  </a:lnTo>
                  <a:lnTo>
                    <a:pt x="0" y="7855"/>
                  </a:lnTo>
                  <a:lnTo>
                    <a:pt x="1800" y="7855"/>
                  </a:lnTo>
                  <a:lnTo>
                    <a:pt x="1800" y="9818"/>
                  </a:lnTo>
                  <a:lnTo>
                    <a:pt x="2700" y="9818"/>
                  </a:lnTo>
                  <a:lnTo>
                    <a:pt x="2700" y="7855"/>
                  </a:lnTo>
                  <a:lnTo>
                    <a:pt x="4500" y="9818"/>
                  </a:lnTo>
                  <a:lnTo>
                    <a:pt x="4500" y="7855"/>
                  </a:lnTo>
                  <a:lnTo>
                    <a:pt x="15300" y="7855"/>
                  </a:lnTo>
                  <a:lnTo>
                    <a:pt x="17100" y="3927"/>
                  </a:lnTo>
                  <a:close/>
                  <a:moveTo>
                    <a:pt x="18900" y="0"/>
                  </a:moveTo>
                  <a:lnTo>
                    <a:pt x="21600" y="0"/>
                  </a:lnTo>
                  <a:lnTo>
                    <a:pt x="21600" y="3927"/>
                  </a:lnTo>
                  <a:lnTo>
                    <a:pt x="18900" y="3927"/>
                  </a:lnTo>
                  <a:lnTo>
                    <a:pt x="18900" y="0"/>
                  </a:lnTo>
                  <a:close/>
                  <a:moveTo>
                    <a:pt x="1890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75" name="Freeform 27"/>
            <p:cNvSpPr>
              <a:spLocks/>
            </p:cNvSpPr>
            <p:nvPr/>
          </p:nvSpPr>
          <p:spPr bwMode="auto">
            <a:xfrm>
              <a:off x="8292988" y="1603817"/>
              <a:ext cx="62461" cy="52381"/>
            </a:xfrm>
            <a:custGeom>
              <a:avLst/>
              <a:gdLst/>
              <a:ahLst/>
              <a:cxnLst>
                <a:cxn ang="0">
                  <a:pos x="16200" y="0"/>
                </a:cxn>
                <a:cxn ang="0">
                  <a:pos x="18000" y="0"/>
                </a:cxn>
                <a:cxn ang="0">
                  <a:pos x="18000" y="3927"/>
                </a:cxn>
                <a:cxn ang="0">
                  <a:pos x="21600" y="3927"/>
                </a:cxn>
                <a:cxn ang="0">
                  <a:pos x="21600" y="11782"/>
                </a:cxn>
                <a:cxn ang="0">
                  <a:pos x="18000" y="11782"/>
                </a:cxn>
                <a:cxn ang="0">
                  <a:pos x="9000" y="21600"/>
                </a:cxn>
                <a:cxn ang="0">
                  <a:pos x="3600" y="21600"/>
                </a:cxn>
                <a:cxn ang="0">
                  <a:pos x="3600" y="17673"/>
                </a:cxn>
                <a:cxn ang="0">
                  <a:pos x="0" y="13745"/>
                </a:cxn>
                <a:cxn ang="0">
                  <a:pos x="0" y="11782"/>
                </a:cxn>
                <a:cxn ang="0">
                  <a:pos x="3600" y="13745"/>
                </a:cxn>
                <a:cxn ang="0">
                  <a:pos x="5400" y="11782"/>
                </a:cxn>
                <a:cxn ang="0">
                  <a:pos x="12600" y="11782"/>
                </a:cxn>
                <a:cxn ang="0">
                  <a:pos x="12600" y="7855"/>
                </a:cxn>
                <a:cxn ang="0">
                  <a:pos x="16200" y="7855"/>
                </a:cxn>
                <a:cxn ang="0">
                  <a:pos x="16200" y="0"/>
                </a:cxn>
                <a:cxn ang="0">
                  <a:pos x="16200" y="0"/>
                </a:cxn>
              </a:cxnLst>
              <a:rect l="0" t="0" r="r" b="b"/>
              <a:pathLst>
                <a:path w="21600" h="21600">
                  <a:moveTo>
                    <a:pt x="16200" y="0"/>
                  </a:moveTo>
                  <a:lnTo>
                    <a:pt x="18000" y="0"/>
                  </a:lnTo>
                  <a:lnTo>
                    <a:pt x="18000" y="3927"/>
                  </a:lnTo>
                  <a:lnTo>
                    <a:pt x="21600" y="3927"/>
                  </a:lnTo>
                  <a:lnTo>
                    <a:pt x="21600" y="11782"/>
                  </a:lnTo>
                  <a:lnTo>
                    <a:pt x="18000" y="11782"/>
                  </a:lnTo>
                  <a:lnTo>
                    <a:pt x="9000" y="21600"/>
                  </a:lnTo>
                  <a:lnTo>
                    <a:pt x="3600" y="21600"/>
                  </a:lnTo>
                  <a:lnTo>
                    <a:pt x="3600" y="17673"/>
                  </a:lnTo>
                  <a:lnTo>
                    <a:pt x="0" y="13745"/>
                  </a:lnTo>
                  <a:lnTo>
                    <a:pt x="0" y="11782"/>
                  </a:lnTo>
                  <a:lnTo>
                    <a:pt x="3600" y="13745"/>
                  </a:lnTo>
                  <a:lnTo>
                    <a:pt x="5400" y="11782"/>
                  </a:lnTo>
                  <a:lnTo>
                    <a:pt x="12600" y="11782"/>
                  </a:lnTo>
                  <a:lnTo>
                    <a:pt x="12600" y="7855"/>
                  </a:lnTo>
                  <a:lnTo>
                    <a:pt x="16200" y="7855"/>
                  </a:lnTo>
                  <a:lnTo>
                    <a:pt x="16200" y="0"/>
                  </a:lnTo>
                  <a:close/>
                  <a:moveTo>
                    <a:pt x="1620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76" name="Freeform 28"/>
            <p:cNvSpPr>
              <a:spLocks/>
            </p:cNvSpPr>
            <p:nvPr/>
          </p:nvSpPr>
          <p:spPr bwMode="auto">
            <a:xfrm>
              <a:off x="8012760" y="1656198"/>
              <a:ext cx="28699" cy="34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700" y="0"/>
                </a:cxn>
                <a:cxn ang="0">
                  <a:pos x="8100" y="6171"/>
                </a:cxn>
                <a:cxn ang="0">
                  <a:pos x="18900" y="6171"/>
                </a:cxn>
                <a:cxn ang="0">
                  <a:pos x="18900" y="9257"/>
                </a:cxn>
                <a:cxn ang="0">
                  <a:pos x="21600" y="9257"/>
                </a:cxn>
                <a:cxn ang="0">
                  <a:pos x="21600" y="21600"/>
                </a:cxn>
                <a:cxn ang="0">
                  <a:pos x="8100" y="21600"/>
                </a:cxn>
                <a:cxn ang="0">
                  <a:pos x="8100" y="9257"/>
                </a:cxn>
                <a:cxn ang="0">
                  <a:pos x="2700" y="9257"/>
                </a:cxn>
                <a:cxn ang="0">
                  <a:pos x="0" y="6171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700" y="0"/>
                  </a:lnTo>
                  <a:lnTo>
                    <a:pt x="8100" y="6171"/>
                  </a:lnTo>
                  <a:lnTo>
                    <a:pt x="18900" y="6171"/>
                  </a:lnTo>
                  <a:lnTo>
                    <a:pt x="18900" y="9257"/>
                  </a:lnTo>
                  <a:lnTo>
                    <a:pt x="21600" y="9257"/>
                  </a:lnTo>
                  <a:lnTo>
                    <a:pt x="21600" y="21600"/>
                  </a:lnTo>
                  <a:lnTo>
                    <a:pt x="8100" y="21600"/>
                  </a:lnTo>
                  <a:lnTo>
                    <a:pt x="8100" y="9257"/>
                  </a:lnTo>
                  <a:lnTo>
                    <a:pt x="2700" y="9257"/>
                  </a:lnTo>
                  <a:lnTo>
                    <a:pt x="0" y="6171"/>
                  </a:lnTo>
                  <a:lnTo>
                    <a:pt x="0" y="0"/>
                  </a:lnTo>
                  <a:close/>
                  <a:moveTo>
                    <a:pt x="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77" name="Freeform 29"/>
            <p:cNvSpPr>
              <a:spLocks/>
            </p:cNvSpPr>
            <p:nvPr/>
          </p:nvSpPr>
          <p:spPr bwMode="auto">
            <a:xfrm>
              <a:off x="7882775" y="1682389"/>
              <a:ext cx="135050" cy="82600"/>
            </a:xfrm>
            <a:custGeom>
              <a:avLst/>
              <a:gdLst/>
              <a:ahLst/>
              <a:cxnLst>
                <a:cxn ang="0">
                  <a:pos x="14954" y="0"/>
                </a:cxn>
                <a:cxn ang="0">
                  <a:pos x="19108" y="0"/>
                </a:cxn>
                <a:cxn ang="0">
                  <a:pos x="20769" y="2700"/>
                </a:cxn>
                <a:cxn ang="0">
                  <a:pos x="21600" y="2700"/>
                </a:cxn>
                <a:cxn ang="0">
                  <a:pos x="21600" y="6750"/>
                </a:cxn>
                <a:cxn ang="0">
                  <a:pos x="20769" y="6750"/>
                </a:cxn>
                <a:cxn ang="0">
                  <a:pos x="20769" y="9450"/>
                </a:cxn>
                <a:cxn ang="0">
                  <a:pos x="19108" y="12150"/>
                </a:cxn>
                <a:cxn ang="0">
                  <a:pos x="14954" y="12150"/>
                </a:cxn>
                <a:cxn ang="0">
                  <a:pos x="14954" y="9450"/>
                </a:cxn>
                <a:cxn ang="0">
                  <a:pos x="13292" y="9450"/>
                </a:cxn>
                <a:cxn ang="0">
                  <a:pos x="13292" y="12150"/>
                </a:cxn>
                <a:cxn ang="0">
                  <a:pos x="14954" y="12150"/>
                </a:cxn>
                <a:cxn ang="0">
                  <a:pos x="14954" y="14850"/>
                </a:cxn>
                <a:cxn ang="0">
                  <a:pos x="13292" y="14850"/>
                </a:cxn>
                <a:cxn ang="0">
                  <a:pos x="13292" y="16200"/>
                </a:cxn>
                <a:cxn ang="0">
                  <a:pos x="11631" y="16200"/>
                </a:cxn>
                <a:cxn ang="0">
                  <a:pos x="11631" y="18900"/>
                </a:cxn>
                <a:cxn ang="0">
                  <a:pos x="9969" y="18900"/>
                </a:cxn>
                <a:cxn ang="0">
                  <a:pos x="9969" y="21600"/>
                </a:cxn>
                <a:cxn ang="0">
                  <a:pos x="0" y="21600"/>
                </a:cxn>
                <a:cxn ang="0">
                  <a:pos x="0" y="18900"/>
                </a:cxn>
                <a:cxn ang="0">
                  <a:pos x="4154" y="18900"/>
                </a:cxn>
                <a:cxn ang="0">
                  <a:pos x="4154" y="16200"/>
                </a:cxn>
                <a:cxn ang="0">
                  <a:pos x="3323" y="16200"/>
                </a:cxn>
                <a:cxn ang="0">
                  <a:pos x="3323" y="14850"/>
                </a:cxn>
                <a:cxn ang="0">
                  <a:pos x="4154" y="14850"/>
                </a:cxn>
                <a:cxn ang="0">
                  <a:pos x="4154" y="12150"/>
                </a:cxn>
                <a:cxn ang="0">
                  <a:pos x="9969" y="12150"/>
                </a:cxn>
                <a:cxn ang="0">
                  <a:pos x="9969" y="6750"/>
                </a:cxn>
                <a:cxn ang="0">
                  <a:pos x="11631" y="6750"/>
                </a:cxn>
                <a:cxn ang="0">
                  <a:pos x="11631" y="5400"/>
                </a:cxn>
                <a:cxn ang="0">
                  <a:pos x="13292" y="2700"/>
                </a:cxn>
                <a:cxn ang="0">
                  <a:pos x="14954" y="2700"/>
                </a:cxn>
                <a:cxn ang="0">
                  <a:pos x="14954" y="0"/>
                </a:cxn>
                <a:cxn ang="0">
                  <a:pos x="14954" y="0"/>
                </a:cxn>
              </a:cxnLst>
              <a:rect l="0" t="0" r="r" b="b"/>
              <a:pathLst>
                <a:path w="21600" h="21600">
                  <a:moveTo>
                    <a:pt x="14954" y="0"/>
                  </a:moveTo>
                  <a:lnTo>
                    <a:pt x="19108" y="0"/>
                  </a:lnTo>
                  <a:lnTo>
                    <a:pt x="20769" y="2700"/>
                  </a:lnTo>
                  <a:lnTo>
                    <a:pt x="21600" y="2700"/>
                  </a:lnTo>
                  <a:lnTo>
                    <a:pt x="21600" y="6750"/>
                  </a:lnTo>
                  <a:lnTo>
                    <a:pt x="20769" y="6750"/>
                  </a:lnTo>
                  <a:lnTo>
                    <a:pt x="20769" y="9450"/>
                  </a:lnTo>
                  <a:lnTo>
                    <a:pt x="19108" y="12150"/>
                  </a:lnTo>
                  <a:lnTo>
                    <a:pt x="14954" y="12150"/>
                  </a:lnTo>
                  <a:lnTo>
                    <a:pt x="14954" y="9450"/>
                  </a:lnTo>
                  <a:lnTo>
                    <a:pt x="13292" y="9450"/>
                  </a:lnTo>
                  <a:lnTo>
                    <a:pt x="13292" y="12150"/>
                  </a:lnTo>
                  <a:lnTo>
                    <a:pt x="14954" y="12150"/>
                  </a:lnTo>
                  <a:lnTo>
                    <a:pt x="14954" y="14850"/>
                  </a:lnTo>
                  <a:lnTo>
                    <a:pt x="13292" y="14850"/>
                  </a:lnTo>
                  <a:lnTo>
                    <a:pt x="13292" y="16200"/>
                  </a:lnTo>
                  <a:lnTo>
                    <a:pt x="11631" y="16200"/>
                  </a:lnTo>
                  <a:lnTo>
                    <a:pt x="11631" y="18900"/>
                  </a:lnTo>
                  <a:lnTo>
                    <a:pt x="9969" y="18900"/>
                  </a:lnTo>
                  <a:lnTo>
                    <a:pt x="9969" y="21600"/>
                  </a:lnTo>
                  <a:lnTo>
                    <a:pt x="0" y="21600"/>
                  </a:lnTo>
                  <a:lnTo>
                    <a:pt x="0" y="18900"/>
                  </a:lnTo>
                  <a:lnTo>
                    <a:pt x="4154" y="18900"/>
                  </a:lnTo>
                  <a:lnTo>
                    <a:pt x="4154" y="16200"/>
                  </a:lnTo>
                  <a:lnTo>
                    <a:pt x="3323" y="16200"/>
                  </a:lnTo>
                  <a:lnTo>
                    <a:pt x="3323" y="14850"/>
                  </a:lnTo>
                  <a:lnTo>
                    <a:pt x="4154" y="14850"/>
                  </a:lnTo>
                  <a:lnTo>
                    <a:pt x="4154" y="12150"/>
                  </a:lnTo>
                  <a:lnTo>
                    <a:pt x="9969" y="12150"/>
                  </a:lnTo>
                  <a:lnTo>
                    <a:pt x="9969" y="6750"/>
                  </a:lnTo>
                  <a:lnTo>
                    <a:pt x="11631" y="6750"/>
                  </a:lnTo>
                  <a:lnTo>
                    <a:pt x="11631" y="5400"/>
                  </a:lnTo>
                  <a:lnTo>
                    <a:pt x="13292" y="2700"/>
                  </a:lnTo>
                  <a:lnTo>
                    <a:pt x="14954" y="2700"/>
                  </a:lnTo>
                  <a:lnTo>
                    <a:pt x="14954" y="0"/>
                  </a:lnTo>
                  <a:close/>
                  <a:moveTo>
                    <a:pt x="14954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78" name="AutoShape 30"/>
            <p:cNvSpPr>
              <a:spLocks/>
            </p:cNvSpPr>
            <p:nvPr/>
          </p:nvSpPr>
          <p:spPr bwMode="auto">
            <a:xfrm>
              <a:off x="7675136" y="1799238"/>
              <a:ext cx="62461" cy="54395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0" y="17673"/>
                  </a:moveTo>
                  <a:lnTo>
                    <a:pt x="3600" y="17673"/>
                  </a:lnTo>
                  <a:lnTo>
                    <a:pt x="3600" y="21600"/>
                  </a:lnTo>
                  <a:lnTo>
                    <a:pt x="0" y="21600"/>
                  </a:lnTo>
                  <a:lnTo>
                    <a:pt x="0" y="17673"/>
                  </a:lnTo>
                  <a:close/>
                  <a:moveTo>
                    <a:pt x="16200" y="0"/>
                  </a:moveTo>
                  <a:lnTo>
                    <a:pt x="21600" y="0"/>
                  </a:lnTo>
                  <a:lnTo>
                    <a:pt x="16200" y="7855"/>
                  </a:lnTo>
                  <a:lnTo>
                    <a:pt x="16200" y="11782"/>
                  </a:lnTo>
                  <a:lnTo>
                    <a:pt x="12600" y="11782"/>
                  </a:lnTo>
                  <a:lnTo>
                    <a:pt x="9000" y="13745"/>
                  </a:lnTo>
                  <a:lnTo>
                    <a:pt x="7200" y="13745"/>
                  </a:lnTo>
                  <a:lnTo>
                    <a:pt x="7200" y="17673"/>
                  </a:lnTo>
                  <a:lnTo>
                    <a:pt x="3600" y="17673"/>
                  </a:lnTo>
                  <a:lnTo>
                    <a:pt x="3600" y="13745"/>
                  </a:lnTo>
                  <a:lnTo>
                    <a:pt x="0" y="13745"/>
                  </a:lnTo>
                  <a:lnTo>
                    <a:pt x="9000" y="3927"/>
                  </a:lnTo>
                  <a:lnTo>
                    <a:pt x="12600" y="3927"/>
                  </a:lnTo>
                  <a:lnTo>
                    <a:pt x="16200" y="0"/>
                  </a:lnTo>
                  <a:close/>
                  <a:moveTo>
                    <a:pt x="1620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79" name="Freeform 31"/>
            <p:cNvSpPr>
              <a:spLocks/>
            </p:cNvSpPr>
            <p:nvPr/>
          </p:nvSpPr>
          <p:spPr bwMode="auto">
            <a:xfrm>
              <a:off x="7649815" y="1833487"/>
              <a:ext cx="119856" cy="98718"/>
            </a:xfrm>
            <a:custGeom>
              <a:avLst/>
              <a:gdLst/>
              <a:ahLst/>
              <a:cxnLst>
                <a:cxn ang="0">
                  <a:pos x="9391" y="0"/>
                </a:cxn>
                <a:cxn ang="0">
                  <a:pos x="11270" y="0"/>
                </a:cxn>
                <a:cxn ang="0">
                  <a:pos x="11270" y="9720"/>
                </a:cxn>
                <a:cxn ang="0">
                  <a:pos x="9391" y="11880"/>
                </a:cxn>
                <a:cxn ang="0">
                  <a:pos x="9391" y="14040"/>
                </a:cxn>
                <a:cxn ang="0">
                  <a:pos x="11270" y="14040"/>
                </a:cxn>
                <a:cxn ang="0">
                  <a:pos x="11270" y="11880"/>
                </a:cxn>
                <a:cxn ang="0">
                  <a:pos x="13148" y="11880"/>
                </a:cxn>
                <a:cxn ang="0">
                  <a:pos x="13148" y="9720"/>
                </a:cxn>
                <a:cxn ang="0">
                  <a:pos x="15026" y="9720"/>
                </a:cxn>
                <a:cxn ang="0">
                  <a:pos x="15026" y="6480"/>
                </a:cxn>
                <a:cxn ang="0">
                  <a:pos x="15965" y="6480"/>
                </a:cxn>
                <a:cxn ang="0">
                  <a:pos x="15965" y="4320"/>
                </a:cxn>
                <a:cxn ang="0">
                  <a:pos x="21600" y="4320"/>
                </a:cxn>
                <a:cxn ang="0">
                  <a:pos x="21600" y="11880"/>
                </a:cxn>
                <a:cxn ang="0">
                  <a:pos x="19722" y="14040"/>
                </a:cxn>
                <a:cxn ang="0">
                  <a:pos x="15026" y="14040"/>
                </a:cxn>
                <a:cxn ang="0">
                  <a:pos x="11270" y="17280"/>
                </a:cxn>
                <a:cxn ang="0">
                  <a:pos x="9391" y="17280"/>
                </a:cxn>
                <a:cxn ang="0">
                  <a:pos x="9391" y="19440"/>
                </a:cxn>
                <a:cxn ang="0">
                  <a:pos x="8452" y="21600"/>
                </a:cxn>
                <a:cxn ang="0">
                  <a:pos x="4696" y="21600"/>
                </a:cxn>
                <a:cxn ang="0">
                  <a:pos x="4696" y="19440"/>
                </a:cxn>
                <a:cxn ang="0">
                  <a:pos x="0" y="19440"/>
                </a:cxn>
                <a:cxn ang="0">
                  <a:pos x="1878" y="17280"/>
                </a:cxn>
                <a:cxn ang="0">
                  <a:pos x="2817" y="17280"/>
                </a:cxn>
                <a:cxn ang="0">
                  <a:pos x="2817" y="11880"/>
                </a:cxn>
                <a:cxn ang="0">
                  <a:pos x="4696" y="11880"/>
                </a:cxn>
                <a:cxn ang="0">
                  <a:pos x="4696" y="7560"/>
                </a:cxn>
                <a:cxn ang="0">
                  <a:pos x="6574" y="7560"/>
                </a:cxn>
                <a:cxn ang="0">
                  <a:pos x="6574" y="6480"/>
                </a:cxn>
                <a:cxn ang="0">
                  <a:pos x="8452" y="6480"/>
                </a:cxn>
                <a:cxn ang="0">
                  <a:pos x="8452" y="2160"/>
                </a:cxn>
                <a:cxn ang="0">
                  <a:pos x="9391" y="0"/>
                </a:cxn>
                <a:cxn ang="0">
                  <a:pos x="9391" y="0"/>
                </a:cxn>
              </a:cxnLst>
              <a:rect l="0" t="0" r="r" b="b"/>
              <a:pathLst>
                <a:path w="21600" h="21600">
                  <a:moveTo>
                    <a:pt x="9391" y="0"/>
                  </a:moveTo>
                  <a:lnTo>
                    <a:pt x="11270" y="0"/>
                  </a:lnTo>
                  <a:lnTo>
                    <a:pt x="11270" y="9720"/>
                  </a:lnTo>
                  <a:lnTo>
                    <a:pt x="9391" y="11880"/>
                  </a:lnTo>
                  <a:lnTo>
                    <a:pt x="9391" y="14040"/>
                  </a:lnTo>
                  <a:lnTo>
                    <a:pt x="11270" y="14040"/>
                  </a:lnTo>
                  <a:lnTo>
                    <a:pt x="11270" y="11880"/>
                  </a:lnTo>
                  <a:lnTo>
                    <a:pt x="13148" y="11880"/>
                  </a:lnTo>
                  <a:lnTo>
                    <a:pt x="13148" y="9720"/>
                  </a:lnTo>
                  <a:lnTo>
                    <a:pt x="15026" y="9720"/>
                  </a:lnTo>
                  <a:lnTo>
                    <a:pt x="15026" y="6480"/>
                  </a:lnTo>
                  <a:lnTo>
                    <a:pt x="15965" y="6480"/>
                  </a:lnTo>
                  <a:lnTo>
                    <a:pt x="15965" y="4320"/>
                  </a:lnTo>
                  <a:lnTo>
                    <a:pt x="21600" y="4320"/>
                  </a:lnTo>
                  <a:lnTo>
                    <a:pt x="21600" y="11880"/>
                  </a:lnTo>
                  <a:lnTo>
                    <a:pt x="19722" y="14040"/>
                  </a:lnTo>
                  <a:lnTo>
                    <a:pt x="15026" y="14040"/>
                  </a:lnTo>
                  <a:lnTo>
                    <a:pt x="11270" y="17280"/>
                  </a:lnTo>
                  <a:lnTo>
                    <a:pt x="9391" y="17280"/>
                  </a:lnTo>
                  <a:lnTo>
                    <a:pt x="9391" y="19440"/>
                  </a:lnTo>
                  <a:lnTo>
                    <a:pt x="8452" y="21600"/>
                  </a:lnTo>
                  <a:lnTo>
                    <a:pt x="4696" y="21600"/>
                  </a:lnTo>
                  <a:lnTo>
                    <a:pt x="4696" y="19440"/>
                  </a:lnTo>
                  <a:lnTo>
                    <a:pt x="0" y="19440"/>
                  </a:lnTo>
                  <a:lnTo>
                    <a:pt x="1878" y="17280"/>
                  </a:lnTo>
                  <a:lnTo>
                    <a:pt x="2817" y="17280"/>
                  </a:lnTo>
                  <a:lnTo>
                    <a:pt x="2817" y="11880"/>
                  </a:lnTo>
                  <a:lnTo>
                    <a:pt x="4696" y="11880"/>
                  </a:lnTo>
                  <a:lnTo>
                    <a:pt x="4696" y="7560"/>
                  </a:lnTo>
                  <a:lnTo>
                    <a:pt x="6574" y="7560"/>
                  </a:lnTo>
                  <a:lnTo>
                    <a:pt x="6574" y="6480"/>
                  </a:lnTo>
                  <a:lnTo>
                    <a:pt x="8452" y="6480"/>
                  </a:lnTo>
                  <a:lnTo>
                    <a:pt x="8452" y="2160"/>
                  </a:lnTo>
                  <a:lnTo>
                    <a:pt x="9391" y="0"/>
                  </a:lnTo>
                  <a:close/>
                  <a:moveTo>
                    <a:pt x="9391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80" name="Freeform 32"/>
            <p:cNvSpPr>
              <a:spLocks/>
            </p:cNvSpPr>
            <p:nvPr/>
          </p:nvSpPr>
          <p:spPr bwMode="auto">
            <a:xfrm>
              <a:off x="7587354" y="1833487"/>
              <a:ext cx="87782" cy="64469"/>
            </a:xfrm>
            <a:custGeom>
              <a:avLst/>
              <a:gdLst/>
              <a:ahLst/>
              <a:cxnLst>
                <a:cxn ang="0">
                  <a:pos x="12706" y="0"/>
                </a:cxn>
                <a:cxn ang="0">
                  <a:pos x="15247" y="0"/>
                </a:cxn>
                <a:cxn ang="0">
                  <a:pos x="15247" y="3323"/>
                </a:cxn>
                <a:cxn ang="0">
                  <a:pos x="17788" y="3323"/>
                </a:cxn>
                <a:cxn ang="0">
                  <a:pos x="17788" y="6646"/>
                </a:cxn>
                <a:cxn ang="0">
                  <a:pos x="19059" y="6646"/>
                </a:cxn>
                <a:cxn ang="0">
                  <a:pos x="21600" y="9969"/>
                </a:cxn>
                <a:cxn ang="0">
                  <a:pos x="21600" y="11631"/>
                </a:cxn>
                <a:cxn ang="0">
                  <a:pos x="19059" y="11631"/>
                </a:cxn>
                <a:cxn ang="0">
                  <a:pos x="19059" y="18277"/>
                </a:cxn>
                <a:cxn ang="0">
                  <a:pos x="15247" y="18277"/>
                </a:cxn>
                <a:cxn ang="0">
                  <a:pos x="12706" y="21600"/>
                </a:cxn>
                <a:cxn ang="0">
                  <a:pos x="10165" y="21600"/>
                </a:cxn>
                <a:cxn ang="0">
                  <a:pos x="10165" y="18277"/>
                </a:cxn>
                <a:cxn ang="0">
                  <a:pos x="12706" y="14954"/>
                </a:cxn>
                <a:cxn ang="0">
                  <a:pos x="3812" y="14954"/>
                </a:cxn>
                <a:cxn ang="0">
                  <a:pos x="3812" y="18277"/>
                </a:cxn>
                <a:cxn ang="0">
                  <a:pos x="1271" y="18277"/>
                </a:cxn>
                <a:cxn ang="0">
                  <a:pos x="0" y="14954"/>
                </a:cxn>
                <a:cxn ang="0">
                  <a:pos x="1271" y="14954"/>
                </a:cxn>
                <a:cxn ang="0">
                  <a:pos x="3812" y="11631"/>
                </a:cxn>
                <a:cxn ang="0">
                  <a:pos x="6353" y="11631"/>
                </a:cxn>
                <a:cxn ang="0">
                  <a:pos x="6353" y="9969"/>
                </a:cxn>
                <a:cxn ang="0">
                  <a:pos x="10165" y="9969"/>
                </a:cxn>
                <a:cxn ang="0">
                  <a:pos x="10165" y="6646"/>
                </a:cxn>
                <a:cxn ang="0">
                  <a:pos x="12706" y="6646"/>
                </a:cxn>
                <a:cxn ang="0">
                  <a:pos x="12706" y="0"/>
                </a:cxn>
                <a:cxn ang="0">
                  <a:pos x="12706" y="0"/>
                </a:cxn>
              </a:cxnLst>
              <a:rect l="0" t="0" r="r" b="b"/>
              <a:pathLst>
                <a:path w="21600" h="21600">
                  <a:moveTo>
                    <a:pt x="12706" y="0"/>
                  </a:moveTo>
                  <a:lnTo>
                    <a:pt x="15247" y="0"/>
                  </a:lnTo>
                  <a:lnTo>
                    <a:pt x="15247" y="3323"/>
                  </a:lnTo>
                  <a:lnTo>
                    <a:pt x="17788" y="3323"/>
                  </a:lnTo>
                  <a:lnTo>
                    <a:pt x="17788" y="6646"/>
                  </a:lnTo>
                  <a:lnTo>
                    <a:pt x="19059" y="6646"/>
                  </a:lnTo>
                  <a:lnTo>
                    <a:pt x="21600" y="9969"/>
                  </a:lnTo>
                  <a:lnTo>
                    <a:pt x="21600" y="11631"/>
                  </a:lnTo>
                  <a:lnTo>
                    <a:pt x="19059" y="11631"/>
                  </a:lnTo>
                  <a:lnTo>
                    <a:pt x="19059" y="18277"/>
                  </a:lnTo>
                  <a:lnTo>
                    <a:pt x="15247" y="18277"/>
                  </a:lnTo>
                  <a:lnTo>
                    <a:pt x="12706" y="21600"/>
                  </a:lnTo>
                  <a:lnTo>
                    <a:pt x="10165" y="21600"/>
                  </a:lnTo>
                  <a:lnTo>
                    <a:pt x="10165" y="18277"/>
                  </a:lnTo>
                  <a:lnTo>
                    <a:pt x="12706" y="14954"/>
                  </a:lnTo>
                  <a:lnTo>
                    <a:pt x="3812" y="14954"/>
                  </a:lnTo>
                  <a:lnTo>
                    <a:pt x="3812" y="18277"/>
                  </a:lnTo>
                  <a:lnTo>
                    <a:pt x="1271" y="18277"/>
                  </a:lnTo>
                  <a:lnTo>
                    <a:pt x="0" y="14954"/>
                  </a:lnTo>
                  <a:lnTo>
                    <a:pt x="1271" y="14954"/>
                  </a:lnTo>
                  <a:lnTo>
                    <a:pt x="3812" y="11631"/>
                  </a:lnTo>
                  <a:lnTo>
                    <a:pt x="6353" y="11631"/>
                  </a:lnTo>
                  <a:lnTo>
                    <a:pt x="6353" y="9969"/>
                  </a:lnTo>
                  <a:lnTo>
                    <a:pt x="10165" y="9969"/>
                  </a:lnTo>
                  <a:lnTo>
                    <a:pt x="10165" y="6646"/>
                  </a:lnTo>
                  <a:lnTo>
                    <a:pt x="12706" y="6646"/>
                  </a:lnTo>
                  <a:lnTo>
                    <a:pt x="12706" y="0"/>
                  </a:lnTo>
                  <a:close/>
                  <a:moveTo>
                    <a:pt x="12706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81" name="Freeform 33"/>
            <p:cNvSpPr>
              <a:spLocks/>
            </p:cNvSpPr>
            <p:nvPr/>
          </p:nvSpPr>
          <p:spPr bwMode="auto">
            <a:xfrm>
              <a:off x="7577225" y="1901985"/>
              <a:ext cx="70901" cy="44322"/>
            </a:xfrm>
            <a:custGeom>
              <a:avLst/>
              <a:gdLst/>
              <a:ahLst/>
              <a:cxnLst>
                <a:cxn ang="0">
                  <a:pos x="21600" y="0"/>
                </a:cxn>
                <a:cxn ang="0">
                  <a:pos x="21600" y="9600"/>
                </a:cxn>
                <a:cxn ang="0">
                  <a:pos x="15429" y="9600"/>
                </a:cxn>
                <a:cxn ang="0">
                  <a:pos x="15429" y="14400"/>
                </a:cxn>
                <a:cxn ang="0">
                  <a:pos x="10800" y="14400"/>
                </a:cxn>
                <a:cxn ang="0">
                  <a:pos x="10800" y="16800"/>
                </a:cxn>
                <a:cxn ang="0">
                  <a:pos x="4629" y="16800"/>
                </a:cxn>
                <a:cxn ang="0">
                  <a:pos x="3086" y="21600"/>
                </a:cxn>
                <a:cxn ang="0">
                  <a:pos x="0" y="21600"/>
                </a:cxn>
                <a:cxn ang="0">
                  <a:pos x="0" y="14400"/>
                </a:cxn>
                <a:cxn ang="0">
                  <a:pos x="3086" y="14400"/>
                </a:cxn>
                <a:cxn ang="0">
                  <a:pos x="4629" y="9600"/>
                </a:cxn>
                <a:cxn ang="0">
                  <a:pos x="10800" y="9600"/>
                </a:cxn>
                <a:cxn ang="0">
                  <a:pos x="10800" y="4800"/>
                </a:cxn>
                <a:cxn ang="0">
                  <a:pos x="18514" y="4800"/>
                </a:cxn>
                <a:cxn ang="0">
                  <a:pos x="21600" y="0"/>
                </a:cxn>
                <a:cxn ang="0">
                  <a:pos x="21600" y="0"/>
                </a:cxn>
              </a:cxnLst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21600" y="9600"/>
                  </a:lnTo>
                  <a:lnTo>
                    <a:pt x="15429" y="9600"/>
                  </a:lnTo>
                  <a:lnTo>
                    <a:pt x="15429" y="14400"/>
                  </a:lnTo>
                  <a:lnTo>
                    <a:pt x="10800" y="14400"/>
                  </a:lnTo>
                  <a:lnTo>
                    <a:pt x="10800" y="16800"/>
                  </a:lnTo>
                  <a:lnTo>
                    <a:pt x="4629" y="16800"/>
                  </a:lnTo>
                  <a:lnTo>
                    <a:pt x="3086" y="21600"/>
                  </a:lnTo>
                  <a:lnTo>
                    <a:pt x="0" y="21600"/>
                  </a:lnTo>
                  <a:lnTo>
                    <a:pt x="0" y="14400"/>
                  </a:lnTo>
                  <a:lnTo>
                    <a:pt x="3086" y="14400"/>
                  </a:lnTo>
                  <a:lnTo>
                    <a:pt x="4629" y="9600"/>
                  </a:lnTo>
                  <a:lnTo>
                    <a:pt x="10800" y="9600"/>
                  </a:lnTo>
                  <a:lnTo>
                    <a:pt x="10800" y="4800"/>
                  </a:lnTo>
                  <a:lnTo>
                    <a:pt x="18514" y="4800"/>
                  </a:lnTo>
                  <a:lnTo>
                    <a:pt x="21600" y="0"/>
                  </a:lnTo>
                  <a:close/>
                  <a:moveTo>
                    <a:pt x="2160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82" name="Freeform 34"/>
            <p:cNvSpPr>
              <a:spLocks/>
            </p:cNvSpPr>
            <p:nvPr/>
          </p:nvSpPr>
          <p:spPr bwMode="auto">
            <a:xfrm>
              <a:off x="7514765" y="1914073"/>
              <a:ext cx="50644" cy="34250"/>
            </a:xfrm>
            <a:custGeom>
              <a:avLst/>
              <a:gdLst/>
              <a:ahLst/>
              <a:cxnLst>
                <a:cxn ang="0">
                  <a:pos x="15120" y="0"/>
                </a:cxn>
                <a:cxn ang="0">
                  <a:pos x="17280" y="6171"/>
                </a:cxn>
                <a:cxn ang="0">
                  <a:pos x="17280" y="9257"/>
                </a:cxn>
                <a:cxn ang="0">
                  <a:pos x="21600" y="9257"/>
                </a:cxn>
                <a:cxn ang="0">
                  <a:pos x="17280" y="15429"/>
                </a:cxn>
                <a:cxn ang="0">
                  <a:pos x="15120" y="15429"/>
                </a:cxn>
                <a:cxn ang="0">
                  <a:pos x="15120" y="21600"/>
                </a:cxn>
                <a:cxn ang="0">
                  <a:pos x="0" y="21600"/>
                </a:cxn>
                <a:cxn ang="0">
                  <a:pos x="0" y="15429"/>
                </a:cxn>
                <a:cxn ang="0">
                  <a:pos x="2160" y="9257"/>
                </a:cxn>
                <a:cxn ang="0">
                  <a:pos x="6480" y="9257"/>
                </a:cxn>
                <a:cxn ang="0">
                  <a:pos x="15120" y="0"/>
                </a:cxn>
                <a:cxn ang="0">
                  <a:pos x="15120" y="0"/>
                </a:cxn>
              </a:cxnLst>
              <a:rect l="0" t="0" r="r" b="b"/>
              <a:pathLst>
                <a:path w="21600" h="21600">
                  <a:moveTo>
                    <a:pt x="15120" y="0"/>
                  </a:moveTo>
                  <a:lnTo>
                    <a:pt x="17280" y="6171"/>
                  </a:lnTo>
                  <a:lnTo>
                    <a:pt x="17280" y="9257"/>
                  </a:lnTo>
                  <a:lnTo>
                    <a:pt x="21600" y="9257"/>
                  </a:lnTo>
                  <a:lnTo>
                    <a:pt x="17280" y="15429"/>
                  </a:lnTo>
                  <a:lnTo>
                    <a:pt x="15120" y="15429"/>
                  </a:lnTo>
                  <a:lnTo>
                    <a:pt x="15120" y="21600"/>
                  </a:lnTo>
                  <a:lnTo>
                    <a:pt x="0" y="21600"/>
                  </a:lnTo>
                  <a:lnTo>
                    <a:pt x="0" y="15429"/>
                  </a:lnTo>
                  <a:lnTo>
                    <a:pt x="2160" y="9257"/>
                  </a:lnTo>
                  <a:lnTo>
                    <a:pt x="6480" y="9257"/>
                  </a:lnTo>
                  <a:lnTo>
                    <a:pt x="15120" y="0"/>
                  </a:lnTo>
                  <a:close/>
                  <a:moveTo>
                    <a:pt x="1512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83" name="AutoShape 35"/>
            <p:cNvSpPr>
              <a:spLocks/>
            </p:cNvSpPr>
            <p:nvPr/>
          </p:nvSpPr>
          <p:spPr bwMode="auto">
            <a:xfrm>
              <a:off x="7455680" y="1956381"/>
              <a:ext cx="27010" cy="44322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7280" y="4800"/>
                  </a:moveTo>
                  <a:lnTo>
                    <a:pt x="17280" y="7200"/>
                  </a:lnTo>
                  <a:lnTo>
                    <a:pt x="21600" y="7200"/>
                  </a:lnTo>
                  <a:lnTo>
                    <a:pt x="21600" y="12000"/>
                  </a:lnTo>
                  <a:lnTo>
                    <a:pt x="17280" y="12000"/>
                  </a:lnTo>
                  <a:lnTo>
                    <a:pt x="0" y="21600"/>
                  </a:lnTo>
                  <a:lnTo>
                    <a:pt x="0" y="12000"/>
                  </a:lnTo>
                  <a:lnTo>
                    <a:pt x="17280" y="4800"/>
                  </a:lnTo>
                  <a:close/>
                  <a:moveTo>
                    <a:pt x="17280" y="0"/>
                  </a:moveTo>
                  <a:lnTo>
                    <a:pt x="21600" y="0"/>
                  </a:lnTo>
                  <a:lnTo>
                    <a:pt x="21600" y="4800"/>
                  </a:lnTo>
                  <a:lnTo>
                    <a:pt x="17280" y="4800"/>
                  </a:lnTo>
                  <a:lnTo>
                    <a:pt x="17280" y="0"/>
                  </a:lnTo>
                  <a:close/>
                  <a:moveTo>
                    <a:pt x="1728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84" name="Freeform 36"/>
            <p:cNvSpPr>
              <a:spLocks/>
            </p:cNvSpPr>
            <p:nvPr/>
          </p:nvSpPr>
          <p:spPr bwMode="auto">
            <a:xfrm>
              <a:off x="7087670" y="2540628"/>
              <a:ext cx="62461" cy="26190"/>
            </a:xfrm>
            <a:custGeom>
              <a:avLst/>
              <a:gdLst/>
              <a:ahLst/>
              <a:cxnLst>
                <a:cxn ang="0">
                  <a:pos x="9000" y="0"/>
                </a:cxn>
                <a:cxn ang="0">
                  <a:pos x="18000" y="0"/>
                </a:cxn>
                <a:cxn ang="0">
                  <a:pos x="21600" y="4320"/>
                </a:cxn>
                <a:cxn ang="0">
                  <a:pos x="18000" y="12960"/>
                </a:cxn>
                <a:cxn ang="0">
                  <a:pos x="9000" y="12960"/>
                </a:cxn>
                <a:cxn ang="0">
                  <a:pos x="9000" y="21600"/>
                </a:cxn>
                <a:cxn ang="0">
                  <a:pos x="0" y="21600"/>
                </a:cxn>
                <a:cxn ang="0">
                  <a:pos x="0" y="12960"/>
                </a:cxn>
                <a:cxn ang="0">
                  <a:pos x="1800" y="12960"/>
                </a:cxn>
                <a:cxn ang="0">
                  <a:pos x="5400" y="4320"/>
                </a:cxn>
                <a:cxn ang="0">
                  <a:pos x="9000" y="4320"/>
                </a:cxn>
                <a:cxn ang="0">
                  <a:pos x="9000" y="0"/>
                </a:cxn>
                <a:cxn ang="0">
                  <a:pos x="9000" y="0"/>
                </a:cxn>
              </a:cxnLst>
              <a:rect l="0" t="0" r="r" b="b"/>
              <a:pathLst>
                <a:path w="21600" h="21600">
                  <a:moveTo>
                    <a:pt x="9000" y="0"/>
                  </a:moveTo>
                  <a:lnTo>
                    <a:pt x="18000" y="0"/>
                  </a:lnTo>
                  <a:lnTo>
                    <a:pt x="21600" y="4320"/>
                  </a:lnTo>
                  <a:lnTo>
                    <a:pt x="18000" y="12960"/>
                  </a:lnTo>
                  <a:lnTo>
                    <a:pt x="9000" y="12960"/>
                  </a:lnTo>
                  <a:lnTo>
                    <a:pt x="9000" y="21600"/>
                  </a:lnTo>
                  <a:lnTo>
                    <a:pt x="0" y="21600"/>
                  </a:lnTo>
                  <a:lnTo>
                    <a:pt x="0" y="12960"/>
                  </a:lnTo>
                  <a:lnTo>
                    <a:pt x="1800" y="12960"/>
                  </a:lnTo>
                  <a:lnTo>
                    <a:pt x="5400" y="4320"/>
                  </a:lnTo>
                  <a:lnTo>
                    <a:pt x="9000" y="4320"/>
                  </a:lnTo>
                  <a:lnTo>
                    <a:pt x="9000" y="0"/>
                  </a:lnTo>
                  <a:close/>
                  <a:moveTo>
                    <a:pt x="900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85" name="AutoShape 37"/>
            <p:cNvSpPr>
              <a:spLocks/>
            </p:cNvSpPr>
            <p:nvPr/>
          </p:nvSpPr>
          <p:spPr bwMode="auto">
            <a:xfrm>
              <a:off x="6795626" y="1525246"/>
              <a:ext cx="2177675" cy="1680216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464" y="19263"/>
                  </a:moveTo>
                  <a:lnTo>
                    <a:pt x="464" y="19389"/>
                  </a:lnTo>
                  <a:lnTo>
                    <a:pt x="516" y="19389"/>
                  </a:lnTo>
                  <a:lnTo>
                    <a:pt x="516" y="19263"/>
                  </a:lnTo>
                  <a:lnTo>
                    <a:pt x="464" y="19263"/>
                  </a:lnTo>
                  <a:close/>
                  <a:moveTo>
                    <a:pt x="4743" y="18695"/>
                  </a:moveTo>
                  <a:lnTo>
                    <a:pt x="4743" y="18821"/>
                  </a:lnTo>
                  <a:lnTo>
                    <a:pt x="4691" y="18821"/>
                  </a:lnTo>
                  <a:lnTo>
                    <a:pt x="4691" y="19074"/>
                  </a:lnTo>
                  <a:lnTo>
                    <a:pt x="4743" y="19074"/>
                  </a:lnTo>
                  <a:lnTo>
                    <a:pt x="4743" y="18821"/>
                  </a:lnTo>
                  <a:lnTo>
                    <a:pt x="4846" y="18821"/>
                  </a:lnTo>
                  <a:lnTo>
                    <a:pt x="4846" y="18695"/>
                  </a:lnTo>
                  <a:lnTo>
                    <a:pt x="4743" y="18695"/>
                  </a:lnTo>
                  <a:close/>
                  <a:moveTo>
                    <a:pt x="1340" y="18253"/>
                  </a:moveTo>
                  <a:lnTo>
                    <a:pt x="1340" y="18379"/>
                  </a:lnTo>
                  <a:lnTo>
                    <a:pt x="1443" y="18379"/>
                  </a:lnTo>
                  <a:lnTo>
                    <a:pt x="1443" y="18253"/>
                  </a:lnTo>
                  <a:lnTo>
                    <a:pt x="1340" y="18253"/>
                  </a:lnTo>
                  <a:close/>
                  <a:moveTo>
                    <a:pt x="1134" y="18063"/>
                  </a:moveTo>
                  <a:lnTo>
                    <a:pt x="1134" y="18189"/>
                  </a:lnTo>
                  <a:lnTo>
                    <a:pt x="1237" y="18189"/>
                  </a:lnTo>
                  <a:lnTo>
                    <a:pt x="1237" y="18063"/>
                  </a:lnTo>
                  <a:lnTo>
                    <a:pt x="1134" y="18063"/>
                  </a:lnTo>
                  <a:close/>
                  <a:moveTo>
                    <a:pt x="1340" y="17937"/>
                  </a:moveTo>
                  <a:lnTo>
                    <a:pt x="1340" y="18063"/>
                  </a:lnTo>
                  <a:lnTo>
                    <a:pt x="1495" y="18063"/>
                  </a:lnTo>
                  <a:lnTo>
                    <a:pt x="1495" y="17937"/>
                  </a:lnTo>
                  <a:lnTo>
                    <a:pt x="1340" y="17937"/>
                  </a:lnTo>
                  <a:close/>
                  <a:moveTo>
                    <a:pt x="1340" y="16863"/>
                  </a:moveTo>
                  <a:lnTo>
                    <a:pt x="1237" y="16926"/>
                  </a:lnTo>
                  <a:lnTo>
                    <a:pt x="1083" y="16926"/>
                  </a:lnTo>
                  <a:lnTo>
                    <a:pt x="1134" y="17053"/>
                  </a:lnTo>
                  <a:lnTo>
                    <a:pt x="1237" y="17053"/>
                  </a:lnTo>
                  <a:lnTo>
                    <a:pt x="1237" y="16926"/>
                  </a:lnTo>
                  <a:lnTo>
                    <a:pt x="1340" y="16926"/>
                  </a:lnTo>
                  <a:lnTo>
                    <a:pt x="1340" y="16863"/>
                  </a:lnTo>
                  <a:close/>
                  <a:moveTo>
                    <a:pt x="1959" y="16737"/>
                  </a:moveTo>
                  <a:lnTo>
                    <a:pt x="1959" y="16863"/>
                  </a:lnTo>
                  <a:lnTo>
                    <a:pt x="1495" y="16863"/>
                  </a:lnTo>
                  <a:lnTo>
                    <a:pt x="1598" y="16926"/>
                  </a:lnTo>
                  <a:lnTo>
                    <a:pt x="1701" y="16926"/>
                  </a:lnTo>
                  <a:lnTo>
                    <a:pt x="1701" y="17179"/>
                  </a:lnTo>
                  <a:lnTo>
                    <a:pt x="1804" y="17179"/>
                  </a:lnTo>
                  <a:lnTo>
                    <a:pt x="1804" y="16926"/>
                  </a:lnTo>
                  <a:lnTo>
                    <a:pt x="1959" y="16926"/>
                  </a:lnTo>
                  <a:lnTo>
                    <a:pt x="1959" y="16863"/>
                  </a:lnTo>
                  <a:lnTo>
                    <a:pt x="2062" y="16863"/>
                  </a:lnTo>
                  <a:lnTo>
                    <a:pt x="1959" y="16737"/>
                  </a:lnTo>
                  <a:close/>
                  <a:moveTo>
                    <a:pt x="1959" y="16484"/>
                  </a:moveTo>
                  <a:lnTo>
                    <a:pt x="1959" y="16611"/>
                  </a:lnTo>
                  <a:lnTo>
                    <a:pt x="2062" y="16611"/>
                  </a:lnTo>
                  <a:lnTo>
                    <a:pt x="2062" y="16484"/>
                  </a:lnTo>
                  <a:lnTo>
                    <a:pt x="1959" y="16484"/>
                  </a:lnTo>
                  <a:close/>
                  <a:moveTo>
                    <a:pt x="619" y="15726"/>
                  </a:moveTo>
                  <a:lnTo>
                    <a:pt x="722" y="15853"/>
                  </a:lnTo>
                  <a:lnTo>
                    <a:pt x="876" y="15853"/>
                  </a:lnTo>
                  <a:lnTo>
                    <a:pt x="876" y="15979"/>
                  </a:lnTo>
                  <a:lnTo>
                    <a:pt x="979" y="15853"/>
                  </a:lnTo>
                  <a:lnTo>
                    <a:pt x="1134" y="15853"/>
                  </a:lnTo>
                  <a:lnTo>
                    <a:pt x="1134" y="15726"/>
                  </a:lnTo>
                  <a:lnTo>
                    <a:pt x="619" y="15726"/>
                  </a:lnTo>
                  <a:close/>
                  <a:moveTo>
                    <a:pt x="0" y="15726"/>
                  </a:moveTo>
                  <a:lnTo>
                    <a:pt x="103" y="15726"/>
                  </a:lnTo>
                  <a:lnTo>
                    <a:pt x="155" y="15853"/>
                  </a:lnTo>
                  <a:lnTo>
                    <a:pt x="103" y="15853"/>
                  </a:lnTo>
                  <a:lnTo>
                    <a:pt x="103" y="15979"/>
                  </a:lnTo>
                  <a:lnTo>
                    <a:pt x="0" y="15853"/>
                  </a:lnTo>
                  <a:lnTo>
                    <a:pt x="0" y="15726"/>
                  </a:lnTo>
                  <a:close/>
                  <a:moveTo>
                    <a:pt x="1701" y="15284"/>
                  </a:moveTo>
                  <a:lnTo>
                    <a:pt x="1701" y="15411"/>
                  </a:lnTo>
                  <a:lnTo>
                    <a:pt x="1804" y="15411"/>
                  </a:lnTo>
                  <a:lnTo>
                    <a:pt x="1804" y="15284"/>
                  </a:lnTo>
                  <a:lnTo>
                    <a:pt x="1701" y="15284"/>
                  </a:lnTo>
                  <a:close/>
                  <a:moveTo>
                    <a:pt x="258" y="15158"/>
                  </a:moveTo>
                  <a:lnTo>
                    <a:pt x="361" y="15284"/>
                  </a:lnTo>
                  <a:lnTo>
                    <a:pt x="258" y="15284"/>
                  </a:lnTo>
                  <a:lnTo>
                    <a:pt x="258" y="15158"/>
                  </a:lnTo>
                  <a:close/>
                  <a:moveTo>
                    <a:pt x="1701" y="15095"/>
                  </a:moveTo>
                  <a:lnTo>
                    <a:pt x="1701" y="15158"/>
                  </a:lnTo>
                  <a:lnTo>
                    <a:pt x="1804" y="15158"/>
                  </a:lnTo>
                  <a:lnTo>
                    <a:pt x="1804" y="15095"/>
                  </a:lnTo>
                  <a:lnTo>
                    <a:pt x="1701" y="15095"/>
                  </a:lnTo>
                  <a:close/>
                  <a:moveTo>
                    <a:pt x="722" y="14968"/>
                  </a:moveTo>
                  <a:lnTo>
                    <a:pt x="979" y="14968"/>
                  </a:lnTo>
                  <a:lnTo>
                    <a:pt x="876" y="15095"/>
                  </a:lnTo>
                  <a:lnTo>
                    <a:pt x="773" y="15095"/>
                  </a:lnTo>
                  <a:lnTo>
                    <a:pt x="773" y="15158"/>
                  </a:lnTo>
                  <a:lnTo>
                    <a:pt x="619" y="15158"/>
                  </a:lnTo>
                  <a:lnTo>
                    <a:pt x="619" y="15095"/>
                  </a:lnTo>
                  <a:lnTo>
                    <a:pt x="722" y="15095"/>
                  </a:lnTo>
                  <a:lnTo>
                    <a:pt x="722" y="14968"/>
                  </a:lnTo>
                  <a:close/>
                  <a:moveTo>
                    <a:pt x="2320" y="14400"/>
                  </a:moveTo>
                  <a:lnTo>
                    <a:pt x="2423" y="14526"/>
                  </a:lnTo>
                  <a:lnTo>
                    <a:pt x="2423" y="14400"/>
                  </a:lnTo>
                  <a:lnTo>
                    <a:pt x="2320" y="14400"/>
                  </a:lnTo>
                  <a:close/>
                  <a:moveTo>
                    <a:pt x="4846" y="12568"/>
                  </a:moveTo>
                  <a:lnTo>
                    <a:pt x="4846" y="12632"/>
                  </a:lnTo>
                  <a:lnTo>
                    <a:pt x="4949" y="12632"/>
                  </a:lnTo>
                  <a:lnTo>
                    <a:pt x="4949" y="12568"/>
                  </a:lnTo>
                  <a:lnTo>
                    <a:pt x="4846" y="12568"/>
                  </a:lnTo>
                  <a:close/>
                  <a:moveTo>
                    <a:pt x="5413" y="10989"/>
                  </a:moveTo>
                  <a:lnTo>
                    <a:pt x="5464" y="10989"/>
                  </a:lnTo>
                  <a:lnTo>
                    <a:pt x="5464" y="11116"/>
                  </a:lnTo>
                  <a:lnTo>
                    <a:pt x="5310" y="11116"/>
                  </a:lnTo>
                  <a:lnTo>
                    <a:pt x="5413" y="10989"/>
                  </a:lnTo>
                  <a:close/>
                  <a:moveTo>
                    <a:pt x="6186" y="9916"/>
                  </a:moveTo>
                  <a:lnTo>
                    <a:pt x="6289" y="9979"/>
                  </a:lnTo>
                  <a:lnTo>
                    <a:pt x="6392" y="9979"/>
                  </a:lnTo>
                  <a:lnTo>
                    <a:pt x="6392" y="10105"/>
                  </a:lnTo>
                  <a:lnTo>
                    <a:pt x="6444" y="10105"/>
                  </a:lnTo>
                  <a:lnTo>
                    <a:pt x="6444" y="9979"/>
                  </a:lnTo>
                  <a:lnTo>
                    <a:pt x="6392" y="9979"/>
                  </a:lnTo>
                  <a:lnTo>
                    <a:pt x="6392" y="9916"/>
                  </a:lnTo>
                  <a:lnTo>
                    <a:pt x="6186" y="9916"/>
                  </a:lnTo>
                  <a:close/>
                  <a:moveTo>
                    <a:pt x="6753" y="8653"/>
                  </a:moveTo>
                  <a:lnTo>
                    <a:pt x="6805" y="8653"/>
                  </a:lnTo>
                  <a:lnTo>
                    <a:pt x="6753" y="8779"/>
                  </a:lnTo>
                  <a:lnTo>
                    <a:pt x="6753" y="8653"/>
                  </a:lnTo>
                  <a:close/>
                  <a:moveTo>
                    <a:pt x="7475" y="8589"/>
                  </a:moveTo>
                  <a:lnTo>
                    <a:pt x="7475" y="8653"/>
                  </a:lnTo>
                  <a:lnTo>
                    <a:pt x="7526" y="8653"/>
                  </a:lnTo>
                  <a:lnTo>
                    <a:pt x="7526" y="8589"/>
                  </a:lnTo>
                  <a:lnTo>
                    <a:pt x="7475" y="8589"/>
                  </a:lnTo>
                  <a:close/>
                  <a:moveTo>
                    <a:pt x="7166" y="8589"/>
                  </a:moveTo>
                  <a:lnTo>
                    <a:pt x="7166" y="8653"/>
                  </a:lnTo>
                  <a:lnTo>
                    <a:pt x="7114" y="8653"/>
                  </a:lnTo>
                  <a:lnTo>
                    <a:pt x="7166" y="8779"/>
                  </a:lnTo>
                  <a:lnTo>
                    <a:pt x="7372" y="8779"/>
                  </a:lnTo>
                  <a:lnTo>
                    <a:pt x="7372" y="8589"/>
                  </a:lnTo>
                  <a:lnTo>
                    <a:pt x="7166" y="8589"/>
                  </a:lnTo>
                  <a:close/>
                  <a:moveTo>
                    <a:pt x="8609" y="7011"/>
                  </a:moveTo>
                  <a:lnTo>
                    <a:pt x="8609" y="7137"/>
                  </a:lnTo>
                  <a:lnTo>
                    <a:pt x="8712" y="7137"/>
                  </a:lnTo>
                  <a:lnTo>
                    <a:pt x="8609" y="7011"/>
                  </a:lnTo>
                  <a:close/>
                  <a:moveTo>
                    <a:pt x="8815" y="5368"/>
                  </a:moveTo>
                  <a:lnTo>
                    <a:pt x="8918" y="5368"/>
                  </a:lnTo>
                  <a:lnTo>
                    <a:pt x="8918" y="5495"/>
                  </a:lnTo>
                  <a:lnTo>
                    <a:pt x="8815" y="5495"/>
                  </a:lnTo>
                  <a:lnTo>
                    <a:pt x="8815" y="5368"/>
                  </a:lnTo>
                  <a:close/>
                  <a:moveTo>
                    <a:pt x="8712" y="5368"/>
                  </a:moveTo>
                  <a:lnTo>
                    <a:pt x="8712" y="5495"/>
                  </a:lnTo>
                  <a:lnTo>
                    <a:pt x="8815" y="5495"/>
                  </a:lnTo>
                  <a:lnTo>
                    <a:pt x="8815" y="5621"/>
                  </a:lnTo>
                  <a:lnTo>
                    <a:pt x="8609" y="5621"/>
                  </a:lnTo>
                  <a:lnTo>
                    <a:pt x="8609" y="5495"/>
                  </a:lnTo>
                  <a:lnTo>
                    <a:pt x="8712" y="5368"/>
                  </a:lnTo>
                  <a:close/>
                  <a:moveTo>
                    <a:pt x="11857" y="3284"/>
                  </a:moveTo>
                  <a:lnTo>
                    <a:pt x="11857" y="3411"/>
                  </a:lnTo>
                  <a:lnTo>
                    <a:pt x="11960" y="3411"/>
                  </a:lnTo>
                  <a:lnTo>
                    <a:pt x="11960" y="3474"/>
                  </a:lnTo>
                  <a:lnTo>
                    <a:pt x="12063" y="3474"/>
                  </a:lnTo>
                  <a:lnTo>
                    <a:pt x="12063" y="3411"/>
                  </a:lnTo>
                  <a:lnTo>
                    <a:pt x="11960" y="3411"/>
                  </a:lnTo>
                  <a:lnTo>
                    <a:pt x="11960" y="3284"/>
                  </a:lnTo>
                  <a:lnTo>
                    <a:pt x="11857" y="3284"/>
                  </a:lnTo>
                  <a:close/>
                  <a:moveTo>
                    <a:pt x="17063" y="0"/>
                  </a:moveTo>
                  <a:lnTo>
                    <a:pt x="17270" y="0"/>
                  </a:lnTo>
                  <a:lnTo>
                    <a:pt x="17270" y="63"/>
                  </a:lnTo>
                  <a:lnTo>
                    <a:pt x="17424" y="63"/>
                  </a:lnTo>
                  <a:lnTo>
                    <a:pt x="17424" y="316"/>
                  </a:lnTo>
                  <a:lnTo>
                    <a:pt x="17270" y="316"/>
                  </a:lnTo>
                  <a:lnTo>
                    <a:pt x="17270" y="442"/>
                  </a:lnTo>
                  <a:lnTo>
                    <a:pt x="17167" y="442"/>
                  </a:lnTo>
                  <a:lnTo>
                    <a:pt x="17167" y="505"/>
                  </a:lnTo>
                  <a:lnTo>
                    <a:pt x="17373" y="505"/>
                  </a:lnTo>
                  <a:lnTo>
                    <a:pt x="17373" y="632"/>
                  </a:lnTo>
                  <a:lnTo>
                    <a:pt x="17270" y="632"/>
                  </a:lnTo>
                  <a:lnTo>
                    <a:pt x="17270" y="758"/>
                  </a:lnTo>
                  <a:lnTo>
                    <a:pt x="17167" y="758"/>
                  </a:lnTo>
                  <a:lnTo>
                    <a:pt x="17167" y="884"/>
                  </a:lnTo>
                  <a:lnTo>
                    <a:pt x="17012" y="884"/>
                  </a:lnTo>
                  <a:lnTo>
                    <a:pt x="17012" y="947"/>
                  </a:lnTo>
                  <a:lnTo>
                    <a:pt x="16909" y="947"/>
                  </a:lnTo>
                  <a:lnTo>
                    <a:pt x="16703" y="1200"/>
                  </a:lnTo>
                  <a:lnTo>
                    <a:pt x="16703" y="1389"/>
                  </a:lnTo>
                  <a:lnTo>
                    <a:pt x="16651" y="1389"/>
                  </a:lnTo>
                  <a:lnTo>
                    <a:pt x="16651" y="1642"/>
                  </a:lnTo>
                  <a:lnTo>
                    <a:pt x="16548" y="1768"/>
                  </a:lnTo>
                  <a:lnTo>
                    <a:pt x="16548" y="1958"/>
                  </a:lnTo>
                  <a:lnTo>
                    <a:pt x="16651" y="1958"/>
                  </a:lnTo>
                  <a:lnTo>
                    <a:pt x="16651" y="1832"/>
                  </a:lnTo>
                  <a:lnTo>
                    <a:pt x="16703" y="1832"/>
                  </a:lnTo>
                  <a:lnTo>
                    <a:pt x="16703" y="1958"/>
                  </a:lnTo>
                  <a:lnTo>
                    <a:pt x="16806" y="1958"/>
                  </a:lnTo>
                  <a:lnTo>
                    <a:pt x="16806" y="1832"/>
                  </a:lnTo>
                  <a:lnTo>
                    <a:pt x="16909" y="1768"/>
                  </a:lnTo>
                  <a:lnTo>
                    <a:pt x="17012" y="1768"/>
                  </a:lnTo>
                  <a:lnTo>
                    <a:pt x="17012" y="1516"/>
                  </a:lnTo>
                  <a:lnTo>
                    <a:pt x="16909" y="1516"/>
                  </a:lnTo>
                  <a:lnTo>
                    <a:pt x="17012" y="1389"/>
                  </a:lnTo>
                  <a:lnTo>
                    <a:pt x="17167" y="1326"/>
                  </a:lnTo>
                  <a:lnTo>
                    <a:pt x="17270" y="1200"/>
                  </a:lnTo>
                  <a:lnTo>
                    <a:pt x="17270" y="1074"/>
                  </a:lnTo>
                  <a:lnTo>
                    <a:pt x="17373" y="1074"/>
                  </a:lnTo>
                  <a:lnTo>
                    <a:pt x="17373" y="947"/>
                  </a:lnTo>
                  <a:lnTo>
                    <a:pt x="17424" y="947"/>
                  </a:lnTo>
                  <a:lnTo>
                    <a:pt x="17424" y="884"/>
                  </a:lnTo>
                  <a:lnTo>
                    <a:pt x="17527" y="884"/>
                  </a:lnTo>
                  <a:lnTo>
                    <a:pt x="17527" y="758"/>
                  </a:lnTo>
                  <a:lnTo>
                    <a:pt x="17631" y="758"/>
                  </a:lnTo>
                  <a:lnTo>
                    <a:pt x="17888" y="442"/>
                  </a:lnTo>
                  <a:lnTo>
                    <a:pt x="17991" y="442"/>
                  </a:lnTo>
                  <a:lnTo>
                    <a:pt x="17991" y="758"/>
                  </a:lnTo>
                  <a:lnTo>
                    <a:pt x="17888" y="884"/>
                  </a:lnTo>
                  <a:lnTo>
                    <a:pt x="17785" y="884"/>
                  </a:lnTo>
                  <a:lnTo>
                    <a:pt x="17785" y="1074"/>
                  </a:lnTo>
                  <a:lnTo>
                    <a:pt x="17888" y="1074"/>
                  </a:lnTo>
                  <a:lnTo>
                    <a:pt x="17888" y="1389"/>
                  </a:lnTo>
                  <a:lnTo>
                    <a:pt x="17991" y="1389"/>
                  </a:lnTo>
                  <a:lnTo>
                    <a:pt x="17991" y="1326"/>
                  </a:lnTo>
                  <a:lnTo>
                    <a:pt x="18095" y="1326"/>
                  </a:lnTo>
                  <a:lnTo>
                    <a:pt x="18095" y="1200"/>
                  </a:lnTo>
                  <a:lnTo>
                    <a:pt x="18249" y="1200"/>
                  </a:lnTo>
                  <a:lnTo>
                    <a:pt x="18249" y="1074"/>
                  </a:lnTo>
                  <a:lnTo>
                    <a:pt x="18352" y="1074"/>
                  </a:lnTo>
                  <a:lnTo>
                    <a:pt x="18352" y="884"/>
                  </a:lnTo>
                  <a:lnTo>
                    <a:pt x="18455" y="884"/>
                  </a:lnTo>
                  <a:lnTo>
                    <a:pt x="18507" y="758"/>
                  </a:lnTo>
                  <a:lnTo>
                    <a:pt x="18713" y="758"/>
                  </a:lnTo>
                  <a:lnTo>
                    <a:pt x="18713" y="632"/>
                  </a:lnTo>
                  <a:lnTo>
                    <a:pt x="18610" y="632"/>
                  </a:lnTo>
                  <a:lnTo>
                    <a:pt x="18610" y="505"/>
                  </a:lnTo>
                  <a:lnTo>
                    <a:pt x="18507" y="505"/>
                  </a:lnTo>
                  <a:lnTo>
                    <a:pt x="18507" y="442"/>
                  </a:lnTo>
                  <a:lnTo>
                    <a:pt x="18713" y="442"/>
                  </a:lnTo>
                  <a:lnTo>
                    <a:pt x="18713" y="316"/>
                  </a:lnTo>
                  <a:lnTo>
                    <a:pt x="18816" y="316"/>
                  </a:lnTo>
                  <a:lnTo>
                    <a:pt x="18816" y="63"/>
                  </a:lnTo>
                  <a:lnTo>
                    <a:pt x="18868" y="63"/>
                  </a:lnTo>
                  <a:lnTo>
                    <a:pt x="18971" y="189"/>
                  </a:lnTo>
                  <a:lnTo>
                    <a:pt x="19332" y="189"/>
                  </a:lnTo>
                  <a:lnTo>
                    <a:pt x="19332" y="316"/>
                  </a:lnTo>
                  <a:lnTo>
                    <a:pt x="19538" y="316"/>
                  </a:lnTo>
                  <a:lnTo>
                    <a:pt x="19538" y="505"/>
                  </a:lnTo>
                  <a:lnTo>
                    <a:pt x="19435" y="505"/>
                  </a:lnTo>
                  <a:lnTo>
                    <a:pt x="19229" y="758"/>
                  </a:lnTo>
                  <a:lnTo>
                    <a:pt x="18971" y="758"/>
                  </a:lnTo>
                  <a:lnTo>
                    <a:pt x="18971" y="884"/>
                  </a:lnTo>
                  <a:lnTo>
                    <a:pt x="19229" y="884"/>
                  </a:lnTo>
                  <a:lnTo>
                    <a:pt x="19229" y="758"/>
                  </a:lnTo>
                  <a:lnTo>
                    <a:pt x="19332" y="758"/>
                  </a:lnTo>
                  <a:lnTo>
                    <a:pt x="19332" y="947"/>
                  </a:lnTo>
                  <a:lnTo>
                    <a:pt x="19229" y="947"/>
                  </a:lnTo>
                  <a:lnTo>
                    <a:pt x="19229" y="1074"/>
                  </a:lnTo>
                  <a:lnTo>
                    <a:pt x="19177" y="1074"/>
                  </a:lnTo>
                  <a:lnTo>
                    <a:pt x="19074" y="1200"/>
                  </a:lnTo>
                  <a:lnTo>
                    <a:pt x="18971" y="1200"/>
                  </a:lnTo>
                  <a:lnTo>
                    <a:pt x="18971" y="1326"/>
                  </a:lnTo>
                  <a:lnTo>
                    <a:pt x="19074" y="1389"/>
                  </a:lnTo>
                  <a:lnTo>
                    <a:pt x="19074" y="1326"/>
                  </a:lnTo>
                  <a:lnTo>
                    <a:pt x="19332" y="1326"/>
                  </a:lnTo>
                  <a:lnTo>
                    <a:pt x="19332" y="1389"/>
                  </a:lnTo>
                  <a:lnTo>
                    <a:pt x="19229" y="1389"/>
                  </a:lnTo>
                  <a:lnTo>
                    <a:pt x="19229" y="1516"/>
                  </a:lnTo>
                  <a:lnTo>
                    <a:pt x="19332" y="1516"/>
                  </a:lnTo>
                  <a:lnTo>
                    <a:pt x="19332" y="1389"/>
                  </a:lnTo>
                  <a:lnTo>
                    <a:pt x="19435" y="1389"/>
                  </a:lnTo>
                  <a:lnTo>
                    <a:pt x="19435" y="1074"/>
                  </a:lnTo>
                  <a:lnTo>
                    <a:pt x="19589" y="884"/>
                  </a:lnTo>
                  <a:lnTo>
                    <a:pt x="19589" y="632"/>
                  </a:lnTo>
                  <a:lnTo>
                    <a:pt x="19693" y="632"/>
                  </a:lnTo>
                  <a:lnTo>
                    <a:pt x="19693" y="505"/>
                  </a:lnTo>
                  <a:lnTo>
                    <a:pt x="19899" y="505"/>
                  </a:lnTo>
                  <a:lnTo>
                    <a:pt x="19899" y="632"/>
                  </a:lnTo>
                  <a:lnTo>
                    <a:pt x="20053" y="632"/>
                  </a:lnTo>
                  <a:lnTo>
                    <a:pt x="20053" y="758"/>
                  </a:lnTo>
                  <a:lnTo>
                    <a:pt x="20157" y="758"/>
                  </a:lnTo>
                  <a:lnTo>
                    <a:pt x="20260" y="884"/>
                  </a:lnTo>
                  <a:lnTo>
                    <a:pt x="20517" y="884"/>
                  </a:lnTo>
                  <a:lnTo>
                    <a:pt x="20517" y="947"/>
                  </a:lnTo>
                  <a:lnTo>
                    <a:pt x="20569" y="947"/>
                  </a:lnTo>
                  <a:lnTo>
                    <a:pt x="20672" y="884"/>
                  </a:lnTo>
                  <a:lnTo>
                    <a:pt x="20878" y="884"/>
                  </a:lnTo>
                  <a:lnTo>
                    <a:pt x="20878" y="1200"/>
                  </a:lnTo>
                  <a:lnTo>
                    <a:pt x="21136" y="1200"/>
                  </a:lnTo>
                  <a:lnTo>
                    <a:pt x="21136" y="1326"/>
                  </a:lnTo>
                  <a:lnTo>
                    <a:pt x="21497" y="1326"/>
                  </a:lnTo>
                  <a:lnTo>
                    <a:pt x="21497" y="1389"/>
                  </a:lnTo>
                  <a:lnTo>
                    <a:pt x="21600" y="1389"/>
                  </a:lnTo>
                  <a:lnTo>
                    <a:pt x="21600" y="1642"/>
                  </a:lnTo>
                  <a:lnTo>
                    <a:pt x="21497" y="1642"/>
                  </a:lnTo>
                  <a:lnTo>
                    <a:pt x="21497" y="1768"/>
                  </a:lnTo>
                  <a:lnTo>
                    <a:pt x="21136" y="1768"/>
                  </a:lnTo>
                  <a:lnTo>
                    <a:pt x="21136" y="1832"/>
                  </a:lnTo>
                  <a:lnTo>
                    <a:pt x="20930" y="1832"/>
                  </a:lnTo>
                  <a:lnTo>
                    <a:pt x="20930" y="1958"/>
                  </a:lnTo>
                  <a:lnTo>
                    <a:pt x="20878" y="2084"/>
                  </a:lnTo>
                  <a:lnTo>
                    <a:pt x="20775" y="2084"/>
                  </a:lnTo>
                  <a:lnTo>
                    <a:pt x="20672" y="1958"/>
                  </a:lnTo>
                  <a:lnTo>
                    <a:pt x="19899" y="1958"/>
                  </a:lnTo>
                  <a:lnTo>
                    <a:pt x="19899" y="1832"/>
                  </a:lnTo>
                  <a:lnTo>
                    <a:pt x="19589" y="1832"/>
                  </a:lnTo>
                  <a:lnTo>
                    <a:pt x="19589" y="1958"/>
                  </a:lnTo>
                  <a:lnTo>
                    <a:pt x="19899" y="1958"/>
                  </a:lnTo>
                  <a:lnTo>
                    <a:pt x="19899" y="2084"/>
                  </a:lnTo>
                  <a:lnTo>
                    <a:pt x="20157" y="2084"/>
                  </a:lnTo>
                  <a:lnTo>
                    <a:pt x="20260" y="2211"/>
                  </a:lnTo>
                  <a:lnTo>
                    <a:pt x="20260" y="2400"/>
                  </a:lnTo>
                  <a:lnTo>
                    <a:pt x="20311" y="2400"/>
                  </a:lnTo>
                  <a:lnTo>
                    <a:pt x="20311" y="2526"/>
                  </a:lnTo>
                  <a:lnTo>
                    <a:pt x="20414" y="2526"/>
                  </a:lnTo>
                  <a:lnTo>
                    <a:pt x="20517" y="2653"/>
                  </a:lnTo>
                  <a:lnTo>
                    <a:pt x="20414" y="2653"/>
                  </a:lnTo>
                  <a:lnTo>
                    <a:pt x="20414" y="2716"/>
                  </a:lnTo>
                  <a:lnTo>
                    <a:pt x="20517" y="2716"/>
                  </a:lnTo>
                  <a:lnTo>
                    <a:pt x="20517" y="2653"/>
                  </a:lnTo>
                  <a:lnTo>
                    <a:pt x="20569" y="2653"/>
                  </a:lnTo>
                  <a:lnTo>
                    <a:pt x="20672" y="2526"/>
                  </a:lnTo>
                  <a:lnTo>
                    <a:pt x="20775" y="2526"/>
                  </a:lnTo>
                  <a:lnTo>
                    <a:pt x="20775" y="2400"/>
                  </a:lnTo>
                  <a:lnTo>
                    <a:pt x="20930" y="2400"/>
                  </a:lnTo>
                  <a:lnTo>
                    <a:pt x="20930" y="2526"/>
                  </a:lnTo>
                  <a:lnTo>
                    <a:pt x="21033" y="2526"/>
                  </a:lnTo>
                  <a:lnTo>
                    <a:pt x="21033" y="2653"/>
                  </a:lnTo>
                  <a:lnTo>
                    <a:pt x="21136" y="2526"/>
                  </a:lnTo>
                  <a:lnTo>
                    <a:pt x="21394" y="2526"/>
                  </a:lnTo>
                  <a:lnTo>
                    <a:pt x="21394" y="3032"/>
                  </a:lnTo>
                  <a:lnTo>
                    <a:pt x="21291" y="3032"/>
                  </a:lnTo>
                  <a:lnTo>
                    <a:pt x="21291" y="2968"/>
                  </a:lnTo>
                  <a:lnTo>
                    <a:pt x="21033" y="2968"/>
                  </a:lnTo>
                  <a:lnTo>
                    <a:pt x="20930" y="2842"/>
                  </a:lnTo>
                  <a:lnTo>
                    <a:pt x="20775" y="2842"/>
                  </a:lnTo>
                  <a:lnTo>
                    <a:pt x="20775" y="3158"/>
                  </a:lnTo>
                  <a:lnTo>
                    <a:pt x="20672" y="3158"/>
                  </a:lnTo>
                  <a:lnTo>
                    <a:pt x="20569" y="3284"/>
                  </a:lnTo>
                  <a:lnTo>
                    <a:pt x="20517" y="3284"/>
                  </a:lnTo>
                  <a:lnTo>
                    <a:pt x="20414" y="3411"/>
                  </a:lnTo>
                  <a:lnTo>
                    <a:pt x="20157" y="3411"/>
                  </a:lnTo>
                  <a:lnTo>
                    <a:pt x="20157" y="3600"/>
                  </a:lnTo>
                  <a:lnTo>
                    <a:pt x="20053" y="3600"/>
                  </a:lnTo>
                  <a:lnTo>
                    <a:pt x="20053" y="3853"/>
                  </a:lnTo>
                  <a:lnTo>
                    <a:pt x="19950" y="3853"/>
                  </a:lnTo>
                  <a:lnTo>
                    <a:pt x="19950" y="3916"/>
                  </a:lnTo>
                  <a:lnTo>
                    <a:pt x="19899" y="3916"/>
                  </a:lnTo>
                  <a:lnTo>
                    <a:pt x="19899" y="3474"/>
                  </a:lnTo>
                  <a:lnTo>
                    <a:pt x="19950" y="3474"/>
                  </a:lnTo>
                  <a:lnTo>
                    <a:pt x="19950" y="3411"/>
                  </a:lnTo>
                  <a:lnTo>
                    <a:pt x="20157" y="3158"/>
                  </a:lnTo>
                  <a:lnTo>
                    <a:pt x="20157" y="2968"/>
                  </a:lnTo>
                  <a:lnTo>
                    <a:pt x="20053" y="2968"/>
                  </a:lnTo>
                  <a:lnTo>
                    <a:pt x="20053" y="2842"/>
                  </a:lnTo>
                  <a:lnTo>
                    <a:pt x="19950" y="2842"/>
                  </a:lnTo>
                  <a:lnTo>
                    <a:pt x="19950" y="2716"/>
                  </a:lnTo>
                  <a:lnTo>
                    <a:pt x="19899" y="2716"/>
                  </a:lnTo>
                  <a:lnTo>
                    <a:pt x="19899" y="2653"/>
                  </a:lnTo>
                  <a:lnTo>
                    <a:pt x="19693" y="2653"/>
                  </a:lnTo>
                  <a:lnTo>
                    <a:pt x="19589" y="2526"/>
                  </a:lnTo>
                  <a:lnTo>
                    <a:pt x="19435" y="2526"/>
                  </a:lnTo>
                  <a:lnTo>
                    <a:pt x="19435" y="2400"/>
                  </a:lnTo>
                  <a:lnTo>
                    <a:pt x="19332" y="2400"/>
                  </a:lnTo>
                  <a:lnTo>
                    <a:pt x="19332" y="2274"/>
                  </a:lnTo>
                  <a:lnTo>
                    <a:pt x="19177" y="2274"/>
                  </a:lnTo>
                  <a:lnTo>
                    <a:pt x="19177" y="2211"/>
                  </a:lnTo>
                  <a:lnTo>
                    <a:pt x="18971" y="2211"/>
                  </a:lnTo>
                  <a:lnTo>
                    <a:pt x="18971" y="1958"/>
                  </a:lnTo>
                  <a:lnTo>
                    <a:pt x="18816" y="1958"/>
                  </a:lnTo>
                  <a:lnTo>
                    <a:pt x="18713" y="2084"/>
                  </a:lnTo>
                  <a:lnTo>
                    <a:pt x="18610" y="2084"/>
                  </a:lnTo>
                  <a:lnTo>
                    <a:pt x="18507" y="2211"/>
                  </a:lnTo>
                  <a:lnTo>
                    <a:pt x="18455" y="2211"/>
                  </a:lnTo>
                  <a:lnTo>
                    <a:pt x="18455" y="2274"/>
                  </a:lnTo>
                  <a:lnTo>
                    <a:pt x="17785" y="2274"/>
                  </a:lnTo>
                  <a:lnTo>
                    <a:pt x="17785" y="2400"/>
                  </a:lnTo>
                  <a:lnTo>
                    <a:pt x="17734" y="2400"/>
                  </a:lnTo>
                  <a:lnTo>
                    <a:pt x="17424" y="2716"/>
                  </a:lnTo>
                  <a:lnTo>
                    <a:pt x="17373" y="2716"/>
                  </a:lnTo>
                  <a:lnTo>
                    <a:pt x="17373" y="2968"/>
                  </a:lnTo>
                  <a:lnTo>
                    <a:pt x="17270" y="2968"/>
                  </a:lnTo>
                  <a:lnTo>
                    <a:pt x="17270" y="3411"/>
                  </a:lnTo>
                  <a:lnTo>
                    <a:pt x="17167" y="3411"/>
                  </a:lnTo>
                  <a:lnTo>
                    <a:pt x="17167" y="3726"/>
                  </a:lnTo>
                  <a:lnTo>
                    <a:pt x="17270" y="3853"/>
                  </a:lnTo>
                  <a:lnTo>
                    <a:pt x="17270" y="4042"/>
                  </a:lnTo>
                  <a:lnTo>
                    <a:pt x="17167" y="4042"/>
                  </a:lnTo>
                  <a:lnTo>
                    <a:pt x="17167" y="4168"/>
                  </a:lnTo>
                  <a:lnTo>
                    <a:pt x="16909" y="4168"/>
                  </a:lnTo>
                  <a:lnTo>
                    <a:pt x="16909" y="4295"/>
                  </a:lnTo>
                  <a:lnTo>
                    <a:pt x="16806" y="4295"/>
                  </a:lnTo>
                  <a:lnTo>
                    <a:pt x="16806" y="4358"/>
                  </a:lnTo>
                  <a:lnTo>
                    <a:pt x="16703" y="4358"/>
                  </a:lnTo>
                  <a:lnTo>
                    <a:pt x="16651" y="4484"/>
                  </a:lnTo>
                  <a:lnTo>
                    <a:pt x="16651" y="4737"/>
                  </a:lnTo>
                  <a:lnTo>
                    <a:pt x="16548" y="4737"/>
                  </a:lnTo>
                  <a:lnTo>
                    <a:pt x="16548" y="4800"/>
                  </a:lnTo>
                  <a:lnTo>
                    <a:pt x="16445" y="4800"/>
                  </a:lnTo>
                  <a:lnTo>
                    <a:pt x="16445" y="4737"/>
                  </a:lnTo>
                  <a:lnTo>
                    <a:pt x="16342" y="4737"/>
                  </a:lnTo>
                  <a:lnTo>
                    <a:pt x="16342" y="4611"/>
                  </a:lnTo>
                  <a:lnTo>
                    <a:pt x="16187" y="4611"/>
                  </a:lnTo>
                  <a:lnTo>
                    <a:pt x="16187" y="4484"/>
                  </a:lnTo>
                  <a:lnTo>
                    <a:pt x="15981" y="4484"/>
                  </a:lnTo>
                  <a:lnTo>
                    <a:pt x="15981" y="4358"/>
                  </a:lnTo>
                  <a:lnTo>
                    <a:pt x="15826" y="4358"/>
                  </a:lnTo>
                  <a:lnTo>
                    <a:pt x="15723" y="4295"/>
                  </a:lnTo>
                  <a:lnTo>
                    <a:pt x="15723" y="4168"/>
                  </a:lnTo>
                  <a:lnTo>
                    <a:pt x="15568" y="4168"/>
                  </a:lnTo>
                  <a:lnTo>
                    <a:pt x="15568" y="4358"/>
                  </a:lnTo>
                  <a:lnTo>
                    <a:pt x="15208" y="4358"/>
                  </a:lnTo>
                  <a:lnTo>
                    <a:pt x="15208" y="4484"/>
                  </a:lnTo>
                  <a:lnTo>
                    <a:pt x="14950" y="4484"/>
                  </a:lnTo>
                  <a:lnTo>
                    <a:pt x="14950" y="4358"/>
                  </a:lnTo>
                  <a:lnTo>
                    <a:pt x="14847" y="4358"/>
                  </a:lnTo>
                  <a:lnTo>
                    <a:pt x="14744" y="4484"/>
                  </a:lnTo>
                  <a:lnTo>
                    <a:pt x="14383" y="4484"/>
                  </a:lnTo>
                  <a:lnTo>
                    <a:pt x="14383" y="4295"/>
                  </a:lnTo>
                  <a:lnTo>
                    <a:pt x="14280" y="4168"/>
                  </a:lnTo>
                  <a:lnTo>
                    <a:pt x="14280" y="4042"/>
                  </a:lnTo>
                  <a:lnTo>
                    <a:pt x="14228" y="4042"/>
                  </a:lnTo>
                  <a:lnTo>
                    <a:pt x="14228" y="3916"/>
                  </a:lnTo>
                  <a:lnTo>
                    <a:pt x="14022" y="3916"/>
                  </a:lnTo>
                  <a:lnTo>
                    <a:pt x="14022" y="3726"/>
                  </a:lnTo>
                  <a:lnTo>
                    <a:pt x="13867" y="3726"/>
                  </a:lnTo>
                  <a:lnTo>
                    <a:pt x="13867" y="3474"/>
                  </a:lnTo>
                  <a:lnTo>
                    <a:pt x="13558" y="3474"/>
                  </a:lnTo>
                  <a:lnTo>
                    <a:pt x="13558" y="3411"/>
                  </a:lnTo>
                  <a:lnTo>
                    <a:pt x="13506" y="3411"/>
                  </a:lnTo>
                  <a:lnTo>
                    <a:pt x="13403" y="3474"/>
                  </a:lnTo>
                  <a:lnTo>
                    <a:pt x="13197" y="3474"/>
                  </a:lnTo>
                  <a:lnTo>
                    <a:pt x="13197" y="3600"/>
                  </a:lnTo>
                  <a:lnTo>
                    <a:pt x="13300" y="3600"/>
                  </a:lnTo>
                  <a:lnTo>
                    <a:pt x="13300" y="3853"/>
                  </a:lnTo>
                  <a:lnTo>
                    <a:pt x="13146" y="3853"/>
                  </a:lnTo>
                  <a:lnTo>
                    <a:pt x="13146" y="3726"/>
                  </a:lnTo>
                  <a:lnTo>
                    <a:pt x="12939" y="3726"/>
                  </a:lnTo>
                  <a:lnTo>
                    <a:pt x="12939" y="3853"/>
                  </a:lnTo>
                  <a:lnTo>
                    <a:pt x="12475" y="3853"/>
                  </a:lnTo>
                  <a:lnTo>
                    <a:pt x="12475" y="3916"/>
                  </a:lnTo>
                  <a:lnTo>
                    <a:pt x="12579" y="3916"/>
                  </a:lnTo>
                  <a:lnTo>
                    <a:pt x="12682" y="4042"/>
                  </a:lnTo>
                  <a:lnTo>
                    <a:pt x="12682" y="4358"/>
                  </a:lnTo>
                  <a:lnTo>
                    <a:pt x="12579" y="4484"/>
                  </a:lnTo>
                  <a:lnTo>
                    <a:pt x="12475" y="4484"/>
                  </a:lnTo>
                  <a:lnTo>
                    <a:pt x="12475" y="4611"/>
                  </a:lnTo>
                  <a:lnTo>
                    <a:pt x="12424" y="4611"/>
                  </a:lnTo>
                  <a:lnTo>
                    <a:pt x="12424" y="4737"/>
                  </a:lnTo>
                  <a:lnTo>
                    <a:pt x="12579" y="4737"/>
                  </a:lnTo>
                  <a:lnTo>
                    <a:pt x="12579" y="4926"/>
                  </a:lnTo>
                  <a:lnTo>
                    <a:pt x="12475" y="4926"/>
                  </a:lnTo>
                  <a:lnTo>
                    <a:pt x="12475" y="5179"/>
                  </a:lnTo>
                  <a:lnTo>
                    <a:pt x="12424" y="5179"/>
                  </a:lnTo>
                  <a:lnTo>
                    <a:pt x="12424" y="5053"/>
                  </a:lnTo>
                  <a:lnTo>
                    <a:pt x="12063" y="5053"/>
                  </a:lnTo>
                  <a:lnTo>
                    <a:pt x="11960" y="4926"/>
                  </a:lnTo>
                  <a:lnTo>
                    <a:pt x="11857" y="4926"/>
                  </a:lnTo>
                  <a:lnTo>
                    <a:pt x="11754" y="4800"/>
                  </a:lnTo>
                  <a:lnTo>
                    <a:pt x="11238" y="4800"/>
                  </a:lnTo>
                  <a:lnTo>
                    <a:pt x="11238" y="4737"/>
                  </a:lnTo>
                  <a:lnTo>
                    <a:pt x="10877" y="4737"/>
                  </a:lnTo>
                  <a:lnTo>
                    <a:pt x="10877" y="4800"/>
                  </a:lnTo>
                  <a:lnTo>
                    <a:pt x="10980" y="4800"/>
                  </a:lnTo>
                  <a:lnTo>
                    <a:pt x="10980" y="5242"/>
                  </a:lnTo>
                  <a:lnTo>
                    <a:pt x="10877" y="5495"/>
                  </a:lnTo>
                  <a:lnTo>
                    <a:pt x="10877" y="5621"/>
                  </a:lnTo>
                  <a:lnTo>
                    <a:pt x="10774" y="5621"/>
                  </a:lnTo>
                  <a:lnTo>
                    <a:pt x="10774" y="5684"/>
                  </a:lnTo>
                  <a:lnTo>
                    <a:pt x="10620" y="5684"/>
                  </a:lnTo>
                  <a:lnTo>
                    <a:pt x="10516" y="5621"/>
                  </a:lnTo>
                  <a:lnTo>
                    <a:pt x="10362" y="5621"/>
                  </a:lnTo>
                  <a:lnTo>
                    <a:pt x="10362" y="5495"/>
                  </a:lnTo>
                  <a:lnTo>
                    <a:pt x="10259" y="5495"/>
                  </a:lnTo>
                  <a:lnTo>
                    <a:pt x="10259" y="5621"/>
                  </a:lnTo>
                  <a:lnTo>
                    <a:pt x="10156" y="5621"/>
                  </a:lnTo>
                  <a:lnTo>
                    <a:pt x="10156" y="5684"/>
                  </a:lnTo>
                  <a:lnTo>
                    <a:pt x="9898" y="5684"/>
                  </a:lnTo>
                  <a:lnTo>
                    <a:pt x="9898" y="5811"/>
                  </a:lnTo>
                  <a:lnTo>
                    <a:pt x="9795" y="5811"/>
                  </a:lnTo>
                  <a:lnTo>
                    <a:pt x="9795" y="5937"/>
                  </a:lnTo>
                  <a:lnTo>
                    <a:pt x="9692" y="5937"/>
                  </a:lnTo>
                  <a:lnTo>
                    <a:pt x="9692" y="6253"/>
                  </a:lnTo>
                  <a:lnTo>
                    <a:pt x="9640" y="6379"/>
                  </a:lnTo>
                  <a:lnTo>
                    <a:pt x="9640" y="6505"/>
                  </a:lnTo>
                  <a:lnTo>
                    <a:pt x="9331" y="6505"/>
                  </a:lnTo>
                  <a:lnTo>
                    <a:pt x="9279" y="6568"/>
                  </a:lnTo>
                  <a:lnTo>
                    <a:pt x="9279" y="6695"/>
                  </a:lnTo>
                  <a:lnTo>
                    <a:pt x="9331" y="6695"/>
                  </a:lnTo>
                  <a:lnTo>
                    <a:pt x="9331" y="6821"/>
                  </a:lnTo>
                  <a:lnTo>
                    <a:pt x="9434" y="6947"/>
                  </a:lnTo>
                  <a:lnTo>
                    <a:pt x="9537" y="6947"/>
                  </a:lnTo>
                  <a:lnTo>
                    <a:pt x="9537" y="7137"/>
                  </a:lnTo>
                  <a:lnTo>
                    <a:pt x="9434" y="7137"/>
                  </a:lnTo>
                  <a:lnTo>
                    <a:pt x="9434" y="7389"/>
                  </a:lnTo>
                  <a:lnTo>
                    <a:pt x="9331" y="7389"/>
                  </a:lnTo>
                  <a:lnTo>
                    <a:pt x="9331" y="7453"/>
                  </a:lnTo>
                  <a:lnTo>
                    <a:pt x="9279" y="7453"/>
                  </a:lnTo>
                  <a:lnTo>
                    <a:pt x="9279" y="7705"/>
                  </a:lnTo>
                  <a:lnTo>
                    <a:pt x="9073" y="7895"/>
                  </a:lnTo>
                  <a:lnTo>
                    <a:pt x="8970" y="7895"/>
                  </a:lnTo>
                  <a:lnTo>
                    <a:pt x="8970" y="8021"/>
                  </a:lnTo>
                  <a:lnTo>
                    <a:pt x="8918" y="8021"/>
                  </a:lnTo>
                  <a:lnTo>
                    <a:pt x="8815" y="8147"/>
                  </a:lnTo>
                  <a:lnTo>
                    <a:pt x="8609" y="8147"/>
                  </a:lnTo>
                  <a:lnTo>
                    <a:pt x="8609" y="8337"/>
                  </a:lnTo>
                  <a:lnTo>
                    <a:pt x="8712" y="8337"/>
                  </a:lnTo>
                  <a:lnTo>
                    <a:pt x="8712" y="8589"/>
                  </a:lnTo>
                  <a:lnTo>
                    <a:pt x="8609" y="8589"/>
                  </a:lnTo>
                  <a:lnTo>
                    <a:pt x="8558" y="8653"/>
                  </a:lnTo>
                  <a:lnTo>
                    <a:pt x="8248" y="8653"/>
                  </a:lnTo>
                  <a:lnTo>
                    <a:pt x="8197" y="8779"/>
                  </a:lnTo>
                  <a:lnTo>
                    <a:pt x="7887" y="8779"/>
                  </a:lnTo>
                  <a:lnTo>
                    <a:pt x="7887" y="8905"/>
                  </a:lnTo>
                  <a:lnTo>
                    <a:pt x="7990" y="8905"/>
                  </a:lnTo>
                  <a:lnTo>
                    <a:pt x="7990" y="9916"/>
                  </a:lnTo>
                  <a:lnTo>
                    <a:pt x="7887" y="9979"/>
                  </a:lnTo>
                  <a:lnTo>
                    <a:pt x="7887" y="10358"/>
                  </a:lnTo>
                  <a:lnTo>
                    <a:pt x="7836" y="10421"/>
                  </a:lnTo>
                  <a:lnTo>
                    <a:pt x="7836" y="10547"/>
                  </a:lnTo>
                  <a:lnTo>
                    <a:pt x="7526" y="10863"/>
                  </a:lnTo>
                  <a:lnTo>
                    <a:pt x="7526" y="10989"/>
                  </a:lnTo>
                  <a:lnTo>
                    <a:pt x="7475" y="10989"/>
                  </a:lnTo>
                  <a:lnTo>
                    <a:pt x="7475" y="11116"/>
                  </a:lnTo>
                  <a:lnTo>
                    <a:pt x="7372" y="11116"/>
                  </a:lnTo>
                  <a:lnTo>
                    <a:pt x="7372" y="11558"/>
                  </a:lnTo>
                  <a:lnTo>
                    <a:pt x="7475" y="11558"/>
                  </a:lnTo>
                  <a:lnTo>
                    <a:pt x="7475" y="11684"/>
                  </a:lnTo>
                  <a:lnTo>
                    <a:pt x="7630" y="11684"/>
                  </a:lnTo>
                  <a:lnTo>
                    <a:pt x="7630" y="12126"/>
                  </a:lnTo>
                  <a:lnTo>
                    <a:pt x="7526" y="12126"/>
                  </a:lnTo>
                  <a:lnTo>
                    <a:pt x="7526" y="12189"/>
                  </a:lnTo>
                  <a:lnTo>
                    <a:pt x="7475" y="12316"/>
                  </a:lnTo>
                  <a:lnTo>
                    <a:pt x="7372" y="12316"/>
                  </a:lnTo>
                  <a:lnTo>
                    <a:pt x="7372" y="12442"/>
                  </a:lnTo>
                  <a:lnTo>
                    <a:pt x="7269" y="12442"/>
                  </a:lnTo>
                  <a:lnTo>
                    <a:pt x="7269" y="12316"/>
                  </a:lnTo>
                  <a:lnTo>
                    <a:pt x="7011" y="12316"/>
                  </a:lnTo>
                  <a:lnTo>
                    <a:pt x="7011" y="12189"/>
                  </a:lnTo>
                  <a:lnTo>
                    <a:pt x="6908" y="12189"/>
                  </a:lnTo>
                  <a:lnTo>
                    <a:pt x="6805" y="12126"/>
                  </a:lnTo>
                  <a:lnTo>
                    <a:pt x="6753" y="12126"/>
                  </a:lnTo>
                  <a:lnTo>
                    <a:pt x="6753" y="12189"/>
                  </a:lnTo>
                  <a:lnTo>
                    <a:pt x="6547" y="12189"/>
                  </a:lnTo>
                  <a:lnTo>
                    <a:pt x="6547" y="12316"/>
                  </a:lnTo>
                  <a:lnTo>
                    <a:pt x="6444" y="12316"/>
                  </a:lnTo>
                  <a:lnTo>
                    <a:pt x="6444" y="12442"/>
                  </a:lnTo>
                  <a:lnTo>
                    <a:pt x="6392" y="12442"/>
                  </a:lnTo>
                  <a:lnTo>
                    <a:pt x="6289" y="12568"/>
                  </a:lnTo>
                  <a:lnTo>
                    <a:pt x="6186" y="12568"/>
                  </a:lnTo>
                  <a:lnTo>
                    <a:pt x="6186" y="12884"/>
                  </a:lnTo>
                  <a:lnTo>
                    <a:pt x="6083" y="12884"/>
                  </a:lnTo>
                  <a:lnTo>
                    <a:pt x="6083" y="13011"/>
                  </a:lnTo>
                  <a:lnTo>
                    <a:pt x="6032" y="13074"/>
                  </a:lnTo>
                  <a:lnTo>
                    <a:pt x="6032" y="13200"/>
                  </a:lnTo>
                  <a:lnTo>
                    <a:pt x="5928" y="13200"/>
                  </a:lnTo>
                  <a:lnTo>
                    <a:pt x="5928" y="13326"/>
                  </a:lnTo>
                  <a:lnTo>
                    <a:pt x="5825" y="13326"/>
                  </a:lnTo>
                  <a:lnTo>
                    <a:pt x="5825" y="13453"/>
                  </a:lnTo>
                  <a:lnTo>
                    <a:pt x="5722" y="13453"/>
                  </a:lnTo>
                  <a:lnTo>
                    <a:pt x="5722" y="13516"/>
                  </a:lnTo>
                  <a:lnTo>
                    <a:pt x="5825" y="13516"/>
                  </a:lnTo>
                  <a:lnTo>
                    <a:pt x="5825" y="13642"/>
                  </a:lnTo>
                  <a:lnTo>
                    <a:pt x="5928" y="13642"/>
                  </a:lnTo>
                  <a:lnTo>
                    <a:pt x="5928" y="13768"/>
                  </a:lnTo>
                  <a:lnTo>
                    <a:pt x="6032" y="13768"/>
                  </a:lnTo>
                  <a:lnTo>
                    <a:pt x="6032" y="14337"/>
                  </a:lnTo>
                  <a:lnTo>
                    <a:pt x="5928" y="14400"/>
                  </a:lnTo>
                  <a:lnTo>
                    <a:pt x="5928" y="14716"/>
                  </a:lnTo>
                  <a:lnTo>
                    <a:pt x="6032" y="14716"/>
                  </a:lnTo>
                  <a:lnTo>
                    <a:pt x="6032" y="14968"/>
                  </a:lnTo>
                  <a:lnTo>
                    <a:pt x="6083" y="14968"/>
                  </a:lnTo>
                  <a:lnTo>
                    <a:pt x="6083" y="15600"/>
                  </a:lnTo>
                  <a:lnTo>
                    <a:pt x="6032" y="15600"/>
                  </a:lnTo>
                  <a:lnTo>
                    <a:pt x="6032" y="15853"/>
                  </a:lnTo>
                  <a:lnTo>
                    <a:pt x="5928" y="15853"/>
                  </a:lnTo>
                  <a:lnTo>
                    <a:pt x="5928" y="15979"/>
                  </a:lnTo>
                  <a:lnTo>
                    <a:pt x="6032" y="16042"/>
                  </a:lnTo>
                  <a:lnTo>
                    <a:pt x="6186" y="16042"/>
                  </a:lnTo>
                  <a:lnTo>
                    <a:pt x="6186" y="16168"/>
                  </a:lnTo>
                  <a:lnTo>
                    <a:pt x="6289" y="16168"/>
                  </a:lnTo>
                  <a:lnTo>
                    <a:pt x="6289" y="16295"/>
                  </a:lnTo>
                  <a:lnTo>
                    <a:pt x="6392" y="16421"/>
                  </a:lnTo>
                  <a:lnTo>
                    <a:pt x="6392" y="16484"/>
                  </a:lnTo>
                  <a:lnTo>
                    <a:pt x="6547" y="16484"/>
                  </a:lnTo>
                  <a:lnTo>
                    <a:pt x="6547" y="16737"/>
                  </a:lnTo>
                  <a:lnTo>
                    <a:pt x="6444" y="16863"/>
                  </a:lnTo>
                  <a:lnTo>
                    <a:pt x="6444" y="17053"/>
                  </a:lnTo>
                  <a:lnTo>
                    <a:pt x="6032" y="17053"/>
                  </a:lnTo>
                  <a:lnTo>
                    <a:pt x="6032" y="17179"/>
                  </a:lnTo>
                  <a:lnTo>
                    <a:pt x="6083" y="17305"/>
                  </a:lnTo>
                  <a:lnTo>
                    <a:pt x="6083" y="17368"/>
                  </a:lnTo>
                  <a:lnTo>
                    <a:pt x="6392" y="17747"/>
                  </a:lnTo>
                  <a:lnTo>
                    <a:pt x="6392" y="17937"/>
                  </a:lnTo>
                  <a:lnTo>
                    <a:pt x="6289" y="17937"/>
                  </a:lnTo>
                  <a:lnTo>
                    <a:pt x="6289" y="18189"/>
                  </a:lnTo>
                  <a:lnTo>
                    <a:pt x="6186" y="18379"/>
                  </a:lnTo>
                  <a:lnTo>
                    <a:pt x="6186" y="18632"/>
                  </a:lnTo>
                  <a:lnTo>
                    <a:pt x="6083" y="18695"/>
                  </a:lnTo>
                  <a:lnTo>
                    <a:pt x="5671" y="18695"/>
                  </a:lnTo>
                  <a:lnTo>
                    <a:pt x="5671" y="18947"/>
                  </a:lnTo>
                  <a:lnTo>
                    <a:pt x="5722" y="18947"/>
                  </a:lnTo>
                  <a:lnTo>
                    <a:pt x="5722" y="19074"/>
                  </a:lnTo>
                  <a:lnTo>
                    <a:pt x="5568" y="19074"/>
                  </a:lnTo>
                  <a:lnTo>
                    <a:pt x="5568" y="19389"/>
                  </a:lnTo>
                  <a:lnTo>
                    <a:pt x="5671" y="19389"/>
                  </a:lnTo>
                  <a:lnTo>
                    <a:pt x="5671" y="19705"/>
                  </a:lnTo>
                  <a:lnTo>
                    <a:pt x="5722" y="19705"/>
                  </a:lnTo>
                  <a:lnTo>
                    <a:pt x="5671" y="19832"/>
                  </a:lnTo>
                  <a:lnTo>
                    <a:pt x="5671" y="20021"/>
                  </a:lnTo>
                  <a:lnTo>
                    <a:pt x="5568" y="20021"/>
                  </a:lnTo>
                  <a:lnTo>
                    <a:pt x="5568" y="20274"/>
                  </a:lnTo>
                  <a:lnTo>
                    <a:pt x="5464" y="20400"/>
                  </a:lnTo>
                  <a:lnTo>
                    <a:pt x="5464" y="20274"/>
                  </a:lnTo>
                  <a:lnTo>
                    <a:pt x="5413" y="20274"/>
                  </a:lnTo>
                  <a:lnTo>
                    <a:pt x="5413" y="20147"/>
                  </a:lnTo>
                  <a:lnTo>
                    <a:pt x="5310" y="20147"/>
                  </a:lnTo>
                  <a:lnTo>
                    <a:pt x="5310" y="19958"/>
                  </a:lnTo>
                  <a:lnTo>
                    <a:pt x="4949" y="19958"/>
                  </a:lnTo>
                  <a:lnTo>
                    <a:pt x="4846" y="19832"/>
                  </a:lnTo>
                  <a:lnTo>
                    <a:pt x="4846" y="19705"/>
                  </a:lnTo>
                  <a:lnTo>
                    <a:pt x="4743" y="19705"/>
                  </a:lnTo>
                  <a:lnTo>
                    <a:pt x="4743" y="19263"/>
                  </a:lnTo>
                  <a:lnTo>
                    <a:pt x="4691" y="19137"/>
                  </a:lnTo>
                  <a:lnTo>
                    <a:pt x="4691" y="19263"/>
                  </a:lnTo>
                  <a:lnTo>
                    <a:pt x="4485" y="19263"/>
                  </a:lnTo>
                  <a:lnTo>
                    <a:pt x="4485" y="19389"/>
                  </a:lnTo>
                  <a:lnTo>
                    <a:pt x="4588" y="19516"/>
                  </a:lnTo>
                  <a:lnTo>
                    <a:pt x="4588" y="19832"/>
                  </a:lnTo>
                  <a:lnTo>
                    <a:pt x="4485" y="19832"/>
                  </a:lnTo>
                  <a:lnTo>
                    <a:pt x="4485" y="19958"/>
                  </a:lnTo>
                  <a:lnTo>
                    <a:pt x="4382" y="19958"/>
                  </a:lnTo>
                  <a:lnTo>
                    <a:pt x="4382" y="20021"/>
                  </a:lnTo>
                  <a:lnTo>
                    <a:pt x="3866" y="20021"/>
                  </a:lnTo>
                  <a:lnTo>
                    <a:pt x="3866" y="20274"/>
                  </a:lnTo>
                  <a:lnTo>
                    <a:pt x="3660" y="20274"/>
                  </a:lnTo>
                  <a:lnTo>
                    <a:pt x="3660" y="20463"/>
                  </a:lnTo>
                  <a:lnTo>
                    <a:pt x="3609" y="20463"/>
                  </a:lnTo>
                  <a:lnTo>
                    <a:pt x="3609" y="20589"/>
                  </a:lnTo>
                  <a:lnTo>
                    <a:pt x="3505" y="20589"/>
                  </a:lnTo>
                  <a:lnTo>
                    <a:pt x="3505" y="20716"/>
                  </a:lnTo>
                  <a:lnTo>
                    <a:pt x="3299" y="20716"/>
                  </a:lnTo>
                  <a:lnTo>
                    <a:pt x="3299" y="20905"/>
                  </a:lnTo>
                  <a:lnTo>
                    <a:pt x="3145" y="21032"/>
                  </a:lnTo>
                  <a:lnTo>
                    <a:pt x="2887" y="21347"/>
                  </a:lnTo>
                  <a:lnTo>
                    <a:pt x="2784" y="21347"/>
                  </a:lnTo>
                  <a:lnTo>
                    <a:pt x="2578" y="21474"/>
                  </a:lnTo>
                  <a:lnTo>
                    <a:pt x="2320" y="21474"/>
                  </a:lnTo>
                  <a:lnTo>
                    <a:pt x="2217" y="21600"/>
                  </a:lnTo>
                  <a:lnTo>
                    <a:pt x="1598" y="21600"/>
                  </a:lnTo>
                  <a:lnTo>
                    <a:pt x="1495" y="21474"/>
                  </a:lnTo>
                  <a:lnTo>
                    <a:pt x="1340" y="21474"/>
                  </a:lnTo>
                  <a:lnTo>
                    <a:pt x="1443" y="21347"/>
                  </a:lnTo>
                  <a:lnTo>
                    <a:pt x="1495" y="21347"/>
                  </a:lnTo>
                  <a:lnTo>
                    <a:pt x="1495" y="21221"/>
                  </a:lnTo>
                  <a:lnTo>
                    <a:pt x="1237" y="21221"/>
                  </a:lnTo>
                  <a:lnTo>
                    <a:pt x="1134" y="21158"/>
                  </a:lnTo>
                  <a:lnTo>
                    <a:pt x="876" y="21158"/>
                  </a:lnTo>
                  <a:lnTo>
                    <a:pt x="876" y="21032"/>
                  </a:lnTo>
                  <a:lnTo>
                    <a:pt x="773" y="20905"/>
                  </a:lnTo>
                  <a:lnTo>
                    <a:pt x="722" y="20905"/>
                  </a:lnTo>
                  <a:lnTo>
                    <a:pt x="619" y="20779"/>
                  </a:lnTo>
                  <a:lnTo>
                    <a:pt x="619" y="20716"/>
                  </a:lnTo>
                  <a:lnTo>
                    <a:pt x="516" y="20716"/>
                  </a:lnTo>
                  <a:lnTo>
                    <a:pt x="516" y="20274"/>
                  </a:lnTo>
                  <a:lnTo>
                    <a:pt x="876" y="20274"/>
                  </a:lnTo>
                  <a:lnTo>
                    <a:pt x="876" y="20400"/>
                  </a:lnTo>
                  <a:lnTo>
                    <a:pt x="1083" y="20400"/>
                  </a:lnTo>
                  <a:lnTo>
                    <a:pt x="1083" y="20147"/>
                  </a:lnTo>
                  <a:lnTo>
                    <a:pt x="773" y="20147"/>
                  </a:lnTo>
                  <a:lnTo>
                    <a:pt x="773" y="20021"/>
                  </a:lnTo>
                  <a:lnTo>
                    <a:pt x="876" y="19958"/>
                  </a:lnTo>
                  <a:lnTo>
                    <a:pt x="979" y="19958"/>
                  </a:lnTo>
                  <a:lnTo>
                    <a:pt x="979" y="19832"/>
                  </a:lnTo>
                  <a:lnTo>
                    <a:pt x="1083" y="19832"/>
                  </a:lnTo>
                  <a:lnTo>
                    <a:pt x="1083" y="19705"/>
                  </a:lnTo>
                  <a:lnTo>
                    <a:pt x="979" y="19705"/>
                  </a:lnTo>
                  <a:lnTo>
                    <a:pt x="979" y="19579"/>
                  </a:lnTo>
                  <a:lnTo>
                    <a:pt x="876" y="19579"/>
                  </a:lnTo>
                  <a:lnTo>
                    <a:pt x="876" y="19516"/>
                  </a:lnTo>
                  <a:lnTo>
                    <a:pt x="1134" y="19516"/>
                  </a:lnTo>
                  <a:lnTo>
                    <a:pt x="1134" y="19389"/>
                  </a:lnTo>
                  <a:lnTo>
                    <a:pt x="1237" y="19389"/>
                  </a:lnTo>
                  <a:lnTo>
                    <a:pt x="1237" y="19263"/>
                  </a:lnTo>
                  <a:lnTo>
                    <a:pt x="1134" y="19263"/>
                  </a:lnTo>
                  <a:lnTo>
                    <a:pt x="1134" y="19389"/>
                  </a:lnTo>
                  <a:lnTo>
                    <a:pt x="876" y="19389"/>
                  </a:lnTo>
                  <a:lnTo>
                    <a:pt x="876" y="19516"/>
                  </a:lnTo>
                  <a:lnTo>
                    <a:pt x="773" y="19516"/>
                  </a:lnTo>
                  <a:lnTo>
                    <a:pt x="773" y="19389"/>
                  </a:lnTo>
                  <a:lnTo>
                    <a:pt x="722" y="19389"/>
                  </a:lnTo>
                  <a:lnTo>
                    <a:pt x="722" y="19705"/>
                  </a:lnTo>
                  <a:lnTo>
                    <a:pt x="464" y="19705"/>
                  </a:lnTo>
                  <a:lnTo>
                    <a:pt x="464" y="19579"/>
                  </a:lnTo>
                  <a:lnTo>
                    <a:pt x="361" y="19579"/>
                  </a:lnTo>
                  <a:lnTo>
                    <a:pt x="361" y="19516"/>
                  </a:lnTo>
                  <a:lnTo>
                    <a:pt x="258" y="19516"/>
                  </a:lnTo>
                  <a:lnTo>
                    <a:pt x="258" y="19389"/>
                  </a:lnTo>
                  <a:lnTo>
                    <a:pt x="361" y="19389"/>
                  </a:lnTo>
                  <a:lnTo>
                    <a:pt x="258" y="19263"/>
                  </a:lnTo>
                  <a:lnTo>
                    <a:pt x="361" y="19137"/>
                  </a:lnTo>
                  <a:lnTo>
                    <a:pt x="464" y="19137"/>
                  </a:lnTo>
                  <a:lnTo>
                    <a:pt x="464" y="19074"/>
                  </a:lnTo>
                  <a:lnTo>
                    <a:pt x="516" y="19074"/>
                  </a:lnTo>
                  <a:lnTo>
                    <a:pt x="516" y="19137"/>
                  </a:lnTo>
                  <a:lnTo>
                    <a:pt x="773" y="19137"/>
                  </a:lnTo>
                  <a:lnTo>
                    <a:pt x="773" y="19074"/>
                  </a:lnTo>
                  <a:lnTo>
                    <a:pt x="876" y="19074"/>
                  </a:lnTo>
                  <a:lnTo>
                    <a:pt x="876" y="18947"/>
                  </a:lnTo>
                  <a:lnTo>
                    <a:pt x="619" y="18947"/>
                  </a:lnTo>
                  <a:lnTo>
                    <a:pt x="619" y="18821"/>
                  </a:lnTo>
                  <a:lnTo>
                    <a:pt x="722" y="18821"/>
                  </a:lnTo>
                  <a:lnTo>
                    <a:pt x="773" y="18695"/>
                  </a:lnTo>
                  <a:lnTo>
                    <a:pt x="876" y="18695"/>
                  </a:lnTo>
                  <a:lnTo>
                    <a:pt x="876" y="18632"/>
                  </a:lnTo>
                  <a:lnTo>
                    <a:pt x="979" y="18632"/>
                  </a:lnTo>
                  <a:lnTo>
                    <a:pt x="979" y="18253"/>
                  </a:lnTo>
                  <a:lnTo>
                    <a:pt x="773" y="18505"/>
                  </a:lnTo>
                  <a:lnTo>
                    <a:pt x="773" y="18632"/>
                  </a:lnTo>
                  <a:lnTo>
                    <a:pt x="722" y="18632"/>
                  </a:lnTo>
                  <a:lnTo>
                    <a:pt x="722" y="18379"/>
                  </a:lnTo>
                  <a:lnTo>
                    <a:pt x="516" y="18379"/>
                  </a:lnTo>
                  <a:lnTo>
                    <a:pt x="516" y="18253"/>
                  </a:lnTo>
                  <a:lnTo>
                    <a:pt x="464" y="18253"/>
                  </a:lnTo>
                  <a:lnTo>
                    <a:pt x="464" y="18379"/>
                  </a:lnTo>
                  <a:lnTo>
                    <a:pt x="361" y="18379"/>
                  </a:lnTo>
                  <a:lnTo>
                    <a:pt x="361" y="18189"/>
                  </a:lnTo>
                  <a:lnTo>
                    <a:pt x="258" y="18189"/>
                  </a:lnTo>
                  <a:lnTo>
                    <a:pt x="258" y="17811"/>
                  </a:lnTo>
                  <a:lnTo>
                    <a:pt x="361" y="17811"/>
                  </a:lnTo>
                  <a:lnTo>
                    <a:pt x="464" y="17937"/>
                  </a:lnTo>
                  <a:lnTo>
                    <a:pt x="619" y="17937"/>
                  </a:lnTo>
                  <a:lnTo>
                    <a:pt x="619" y="17747"/>
                  </a:lnTo>
                  <a:lnTo>
                    <a:pt x="722" y="17747"/>
                  </a:lnTo>
                  <a:lnTo>
                    <a:pt x="722" y="17495"/>
                  </a:lnTo>
                  <a:lnTo>
                    <a:pt x="619" y="17495"/>
                  </a:lnTo>
                  <a:lnTo>
                    <a:pt x="619" y="17621"/>
                  </a:lnTo>
                  <a:lnTo>
                    <a:pt x="464" y="17621"/>
                  </a:lnTo>
                  <a:lnTo>
                    <a:pt x="464" y="17747"/>
                  </a:lnTo>
                  <a:lnTo>
                    <a:pt x="361" y="17811"/>
                  </a:lnTo>
                  <a:lnTo>
                    <a:pt x="361" y="17747"/>
                  </a:lnTo>
                  <a:lnTo>
                    <a:pt x="258" y="17747"/>
                  </a:lnTo>
                  <a:lnTo>
                    <a:pt x="258" y="17621"/>
                  </a:lnTo>
                  <a:lnTo>
                    <a:pt x="361" y="17621"/>
                  </a:lnTo>
                  <a:lnTo>
                    <a:pt x="361" y="17368"/>
                  </a:lnTo>
                  <a:lnTo>
                    <a:pt x="258" y="17305"/>
                  </a:lnTo>
                  <a:lnTo>
                    <a:pt x="155" y="17368"/>
                  </a:lnTo>
                  <a:lnTo>
                    <a:pt x="103" y="17368"/>
                  </a:lnTo>
                  <a:lnTo>
                    <a:pt x="103" y="17179"/>
                  </a:lnTo>
                  <a:lnTo>
                    <a:pt x="258" y="17179"/>
                  </a:lnTo>
                  <a:lnTo>
                    <a:pt x="155" y="17053"/>
                  </a:lnTo>
                  <a:lnTo>
                    <a:pt x="155" y="16926"/>
                  </a:lnTo>
                  <a:lnTo>
                    <a:pt x="258" y="16926"/>
                  </a:lnTo>
                  <a:lnTo>
                    <a:pt x="258" y="16863"/>
                  </a:lnTo>
                  <a:lnTo>
                    <a:pt x="155" y="16863"/>
                  </a:lnTo>
                  <a:lnTo>
                    <a:pt x="103" y="16737"/>
                  </a:lnTo>
                  <a:lnTo>
                    <a:pt x="103" y="16611"/>
                  </a:lnTo>
                  <a:lnTo>
                    <a:pt x="155" y="16611"/>
                  </a:lnTo>
                  <a:lnTo>
                    <a:pt x="155" y="16421"/>
                  </a:lnTo>
                  <a:lnTo>
                    <a:pt x="361" y="16421"/>
                  </a:lnTo>
                  <a:lnTo>
                    <a:pt x="361" y="16168"/>
                  </a:lnTo>
                  <a:lnTo>
                    <a:pt x="155" y="16168"/>
                  </a:lnTo>
                  <a:lnTo>
                    <a:pt x="103" y="16042"/>
                  </a:lnTo>
                  <a:lnTo>
                    <a:pt x="103" y="15979"/>
                  </a:lnTo>
                  <a:lnTo>
                    <a:pt x="155" y="15979"/>
                  </a:lnTo>
                  <a:lnTo>
                    <a:pt x="155" y="15853"/>
                  </a:lnTo>
                  <a:lnTo>
                    <a:pt x="258" y="15853"/>
                  </a:lnTo>
                  <a:lnTo>
                    <a:pt x="361" y="15726"/>
                  </a:lnTo>
                  <a:lnTo>
                    <a:pt x="258" y="15600"/>
                  </a:lnTo>
                  <a:lnTo>
                    <a:pt x="361" y="15537"/>
                  </a:lnTo>
                  <a:lnTo>
                    <a:pt x="361" y="15411"/>
                  </a:lnTo>
                  <a:lnTo>
                    <a:pt x="464" y="15411"/>
                  </a:lnTo>
                  <a:lnTo>
                    <a:pt x="464" y="15284"/>
                  </a:lnTo>
                  <a:lnTo>
                    <a:pt x="516" y="15284"/>
                  </a:lnTo>
                  <a:lnTo>
                    <a:pt x="516" y="15158"/>
                  </a:lnTo>
                  <a:lnTo>
                    <a:pt x="619" y="15158"/>
                  </a:lnTo>
                  <a:lnTo>
                    <a:pt x="619" y="15284"/>
                  </a:lnTo>
                  <a:lnTo>
                    <a:pt x="773" y="15284"/>
                  </a:lnTo>
                  <a:lnTo>
                    <a:pt x="773" y="15411"/>
                  </a:lnTo>
                  <a:lnTo>
                    <a:pt x="876" y="15411"/>
                  </a:lnTo>
                  <a:lnTo>
                    <a:pt x="979" y="15284"/>
                  </a:lnTo>
                  <a:lnTo>
                    <a:pt x="876" y="15284"/>
                  </a:lnTo>
                  <a:lnTo>
                    <a:pt x="876" y="15158"/>
                  </a:lnTo>
                  <a:lnTo>
                    <a:pt x="979" y="15158"/>
                  </a:lnTo>
                  <a:lnTo>
                    <a:pt x="979" y="15095"/>
                  </a:lnTo>
                  <a:lnTo>
                    <a:pt x="1083" y="15095"/>
                  </a:lnTo>
                  <a:lnTo>
                    <a:pt x="1083" y="14968"/>
                  </a:lnTo>
                  <a:lnTo>
                    <a:pt x="1134" y="14968"/>
                  </a:lnTo>
                  <a:lnTo>
                    <a:pt x="1134" y="15095"/>
                  </a:lnTo>
                  <a:lnTo>
                    <a:pt x="1237" y="15095"/>
                  </a:lnTo>
                  <a:lnTo>
                    <a:pt x="1237" y="14968"/>
                  </a:lnTo>
                  <a:lnTo>
                    <a:pt x="1340" y="14968"/>
                  </a:lnTo>
                  <a:lnTo>
                    <a:pt x="1340" y="14842"/>
                  </a:lnTo>
                  <a:lnTo>
                    <a:pt x="1237" y="14842"/>
                  </a:lnTo>
                  <a:lnTo>
                    <a:pt x="1237" y="14716"/>
                  </a:lnTo>
                  <a:lnTo>
                    <a:pt x="1134" y="14716"/>
                  </a:lnTo>
                  <a:lnTo>
                    <a:pt x="1134" y="14653"/>
                  </a:lnTo>
                  <a:lnTo>
                    <a:pt x="2062" y="14653"/>
                  </a:lnTo>
                  <a:lnTo>
                    <a:pt x="2062" y="14716"/>
                  </a:lnTo>
                  <a:lnTo>
                    <a:pt x="2217" y="14716"/>
                  </a:lnTo>
                  <a:lnTo>
                    <a:pt x="2217" y="14653"/>
                  </a:lnTo>
                  <a:lnTo>
                    <a:pt x="2062" y="14653"/>
                  </a:lnTo>
                  <a:lnTo>
                    <a:pt x="2062" y="14526"/>
                  </a:lnTo>
                  <a:lnTo>
                    <a:pt x="2217" y="14526"/>
                  </a:lnTo>
                  <a:lnTo>
                    <a:pt x="2217" y="14400"/>
                  </a:lnTo>
                  <a:lnTo>
                    <a:pt x="1804" y="14400"/>
                  </a:lnTo>
                  <a:lnTo>
                    <a:pt x="1804" y="14211"/>
                  </a:lnTo>
                  <a:lnTo>
                    <a:pt x="1701" y="14211"/>
                  </a:lnTo>
                  <a:lnTo>
                    <a:pt x="1701" y="14084"/>
                  </a:lnTo>
                  <a:lnTo>
                    <a:pt x="1856" y="14084"/>
                  </a:lnTo>
                  <a:lnTo>
                    <a:pt x="1856" y="13958"/>
                  </a:lnTo>
                  <a:lnTo>
                    <a:pt x="2062" y="13958"/>
                  </a:lnTo>
                  <a:lnTo>
                    <a:pt x="2062" y="14084"/>
                  </a:lnTo>
                  <a:lnTo>
                    <a:pt x="2526" y="14084"/>
                  </a:lnTo>
                  <a:lnTo>
                    <a:pt x="2578" y="14211"/>
                  </a:lnTo>
                  <a:lnTo>
                    <a:pt x="2681" y="14211"/>
                  </a:lnTo>
                  <a:lnTo>
                    <a:pt x="2681" y="14337"/>
                  </a:lnTo>
                  <a:lnTo>
                    <a:pt x="2784" y="14337"/>
                  </a:lnTo>
                  <a:lnTo>
                    <a:pt x="2784" y="14211"/>
                  </a:lnTo>
                  <a:lnTo>
                    <a:pt x="2681" y="14211"/>
                  </a:lnTo>
                  <a:lnTo>
                    <a:pt x="2681" y="14084"/>
                  </a:lnTo>
                  <a:lnTo>
                    <a:pt x="2578" y="14084"/>
                  </a:lnTo>
                  <a:lnTo>
                    <a:pt x="2526" y="13958"/>
                  </a:lnTo>
                  <a:lnTo>
                    <a:pt x="2526" y="13895"/>
                  </a:lnTo>
                  <a:lnTo>
                    <a:pt x="2681" y="13895"/>
                  </a:lnTo>
                  <a:lnTo>
                    <a:pt x="2681" y="13958"/>
                  </a:lnTo>
                  <a:lnTo>
                    <a:pt x="2784" y="13958"/>
                  </a:lnTo>
                  <a:lnTo>
                    <a:pt x="2784" y="14084"/>
                  </a:lnTo>
                  <a:lnTo>
                    <a:pt x="2887" y="14084"/>
                  </a:lnTo>
                  <a:lnTo>
                    <a:pt x="2887" y="14211"/>
                  </a:lnTo>
                  <a:lnTo>
                    <a:pt x="3145" y="14211"/>
                  </a:lnTo>
                  <a:lnTo>
                    <a:pt x="3042" y="14084"/>
                  </a:lnTo>
                  <a:lnTo>
                    <a:pt x="3042" y="13958"/>
                  </a:lnTo>
                  <a:lnTo>
                    <a:pt x="2784" y="13958"/>
                  </a:lnTo>
                  <a:lnTo>
                    <a:pt x="2784" y="13895"/>
                  </a:lnTo>
                  <a:lnTo>
                    <a:pt x="2681" y="13895"/>
                  </a:lnTo>
                  <a:lnTo>
                    <a:pt x="2681" y="13768"/>
                  </a:lnTo>
                  <a:lnTo>
                    <a:pt x="3042" y="13768"/>
                  </a:lnTo>
                  <a:lnTo>
                    <a:pt x="3145" y="13642"/>
                  </a:lnTo>
                  <a:lnTo>
                    <a:pt x="3042" y="13642"/>
                  </a:lnTo>
                  <a:lnTo>
                    <a:pt x="3042" y="13516"/>
                  </a:lnTo>
                  <a:lnTo>
                    <a:pt x="2938" y="13516"/>
                  </a:lnTo>
                  <a:lnTo>
                    <a:pt x="3145" y="13326"/>
                  </a:lnTo>
                  <a:lnTo>
                    <a:pt x="3402" y="13326"/>
                  </a:lnTo>
                  <a:lnTo>
                    <a:pt x="3402" y="13453"/>
                  </a:lnTo>
                  <a:lnTo>
                    <a:pt x="3609" y="13453"/>
                  </a:lnTo>
                  <a:lnTo>
                    <a:pt x="3660" y="13326"/>
                  </a:lnTo>
                  <a:lnTo>
                    <a:pt x="3660" y="13200"/>
                  </a:lnTo>
                  <a:lnTo>
                    <a:pt x="3609" y="13200"/>
                  </a:lnTo>
                  <a:lnTo>
                    <a:pt x="3609" y="13074"/>
                  </a:lnTo>
                  <a:lnTo>
                    <a:pt x="3763" y="13074"/>
                  </a:lnTo>
                  <a:lnTo>
                    <a:pt x="3763" y="13011"/>
                  </a:lnTo>
                  <a:lnTo>
                    <a:pt x="4021" y="13011"/>
                  </a:lnTo>
                  <a:lnTo>
                    <a:pt x="4021" y="13074"/>
                  </a:lnTo>
                  <a:lnTo>
                    <a:pt x="4124" y="13200"/>
                  </a:lnTo>
                  <a:lnTo>
                    <a:pt x="4124" y="13453"/>
                  </a:lnTo>
                  <a:lnTo>
                    <a:pt x="4330" y="13453"/>
                  </a:lnTo>
                  <a:lnTo>
                    <a:pt x="4382" y="13326"/>
                  </a:lnTo>
                  <a:lnTo>
                    <a:pt x="4846" y="13326"/>
                  </a:lnTo>
                  <a:lnTo>
                    <a:pt x="4846" y="13074"/>
                  </a:lnTo>
                  <a:lnTo>
                    <a:pt x="4743" y="13074"/>
                  </a:lnTo>
                  <a:lnTo>
                    <a:pt x="4743" y="13011"/>
                  </a:lnTo>
                  <a:lnTo>
                    <a:pt x="4949" y="13011"/>
                  </a:lnTo>
                  <a:lnTo>
                    <a:pt x="4949" y="12884"/>
                  </a:lnTo>
                  <a:lnTo>
                    <a:pt x="5104" y="12884"/>
                  </a:lnTo>
                  <a:lnTo>
                    <a:pt x="5207" y="12758"/>
                  </a:lnTo>
                  <a:lnTo>
                    <a:pt x="5310" y="12758"/>
                  </a:lnTo>
                  <a:lnTo>
                    <a:pt x="5310" y="12632"/>
                  </a:lnTo>
                  <a:lnTo>
                    <a:pt x="5207" y="12632"/>
                  </a:lnTo>
                  <a:lnTo>
                    <a:pt x="5207" y="12442"/>
                  </a:lnTo>
                  <a:lnTo>
                    <a:pt x="5413" y="12442"/>
                  </a:lnTo>
                  <a:lnTo>
                    <a:pt x="5413" y="12316"/>
                  </a:lnTo>
                  <a:lnTo>
                    <a:pt x="5310" y="12316"/>
                  </a:lnTo>
                  <a:lnTo>
                    <a:pt x="5310" y="12189"/>
                  </a:lnTo>
                  <a:lnTo>
                    <a:pt x="5104" y="12442"/>
                  </a:lnTo>
                  <a:lnTo>
                    <a:pt x="5052" y="12442"/>
                  </a:lnTo>
                  <a:lnTo>
                    <a:pt x="5052" y="12758"/>
                  </a:lnTo>
                  <a:lnTo>
                    <a:pt x="4949" y="12758"/>
                  </a:lnTo>
                  <a:lnTo>
                    <a:pt x="4846" y="12884"/>
                  </a:lnTo>
                  <a:lnTo>
                    <a:pt x="4743" y="12884"/>
                  </a:lnTo>
                  <a:lnTo>
                    <a:pt x="4743" y="13011"/>
                  </a:lnTo>
                  <a:lnTo>
                    <a:pt x="4588" y="13011"/>
                  </a:lnTo>
                  <a:lnTo>
                    <a:pt x="4485" y="13074"/>
                  </a:lnTo>
                  <a:lnTo>
                    <a:pt x="4382" y="13074"/>
                  </a:lnTo>
                  <a:lnTo>
                    <a:pt x="4330" y="13200"/>
                  </a:lnTo>
                  <a:lnTo>
                    <a:pt x="4124" y="13200"/>
                  </a:lnTo>
                  <a:lnTo>
                    <a:pt x="4124" y="13074"/>
                  </a:lnTo>
                  <a:lnTo>
                    <a:pt x="4021" y="13011"/>
                  </a:lnTo>
                  <a:lnTo>
                    <a:pt x="4124" y="12884"/>
                  </a:lnTo>
                  <a:lnTo>
                    <a:pt x="3866" y="12884"/>
                  </a:lnTo>
                  <a:lnTo>
                    <a:pt x="4021" y="12632"/>
                  </a:lnTo>
                  <a:lnTo>
                    <a:pt x="4124" y="12632"/>
                  </a:lnTo>
                  <a:lnTo>
                    <a:pt x="4227" y="12568"/>
                  </a:lnTo>
                  <a:lnTo>
                    <a:pt x="4227" y="12316"/>
                  </a:lnTo>
                  <a:lnTo>
                    <a:pt x="4330" y="12316"/>
                  </a:lnTo>
                  <a:lnTo>
                    <a:pt x="4330" y="12189"/>
                  </a:lnTo>
                  <a:lnTo>
                    <a:pt x="4382" y="12189"/>
                  </a:lnTo>
                  <a:lnTo>
                    <a:pt x="4485" y="12126"/>
                  </a:lnTo>
                  <a:lnTo>
                    <a:pt x="4485" y="11874"/>
                  </a:lnTo>
                  <a:lnTo>
                    <a:pt x="4588" y="11874"/>
                  </a:lnTo>
                  <a:lnTo>
                    <a:pt x="4691" y="11747"/>
                  </a:lnTo>
                  <a:lnTo>
                    <a:pt x="4743" y="11747"/>
                  </a:lnTo>
                  <a:lnTo>
                    <a:pt x="4743" y="11684"/>
                  </a:lnTo>
                  <a:lnTo>
                    <a:pt x="4846" y="11684"/>
                  </a:lnTo>
                  <a:lnTo>
                    <a:pt x="4949" y="11558"/>
                  </a:lnTo>
                  <a:lnTo>
                    <a:pt x="5104" y="11558"/>
                  </a:lnTo>
                  <a:lnTo>
                    <a:pt x="5207" y="11684"/>
                  </a:lnTo>
                  <a:lnTo>
                    <a:pt x="5310" y="11684"/>
                  </a:lnTo>
                  <a:lnTo>
                    <a:pt x="5310" y="11747"/>
                  </a:lnTo>
                  <a:lnTo>
                    <a:pt x="5413" y="11747"/>
                  </a:lnTo>
                  <a:lnTo>
                    <a:pt x="5413" y="11558"/>
                  </a:lnTo>
                  <a:lnTo>
                    <a:pt x="5464" y="11558"/>
                  </a:lnTo>
                  <a:lnTo>
                    <a:pt x="5464" y="11305"/>
                  </a:lnTo>
                  <a:lnTo>
                    <a:pt x="5413" y="11305"/>
                  </a:lnTo>
                  <a:lnTo>
                    <a:pt x="5413" y="11242"/>
                  </a:lnTo>
                  <a:lnTo>
                    <a:pt x="5568" y="11242"/>
                  </a:lnTo>
                  <a:lnTo>
                    <a:pt x="5568" y="10989"/>
                  </a:lnTo>
                  <a:lnTo>
                    <a:pt x="5464" y="10989"/>
                  </a:lnTo>
                  <a:lnTo>
                    <a:pt x="5464" y="10863"/>
                  </a:lnTo>
                  <a:lnTo>
                    <a:pt x="5671" y="10800"/>
                  </a:lnTo>
                  <a:lnTo>
                    <a:pt x="5671" y="10674"/>
                  </a:lnTo>
                  <a:lnTo>
                    <a:pt x="5722" y="10674"/>
                  </a:lnTo>
                  <a:lnTo>
                    <a:pt x="5722" y="10547"/>
                  </a:lnTo>
                  <a:lnTo>
                    <a:pt x="5825" y="10547"/>
                  </a:lnTo>
                  <a:lnTo>
                    <a:pt x="5825" y="10421"/>
                  </a:lnTo>
                  <a:lnTo>
                    <a:pt x="6083" y="10421"/>
                  </a:lnTo>
                  <a:lnTo>
                    <a:pt x="6083" y="10674"/>
                  </a:lnTo>
                  <a:lnTo>
                    <a:pt x="6186" y="10674"/>
                  </a:lnTo>
                  <a:lnTo>
                    <a:pt x="6186" y="10547"/>
                  </a:lnTo>
                  <a:lnTo>
                    <a:pt x="6289" y="10547"/>
                  </a:lnTo>
                  <a:lnTo>
                    <a:pt x="6289" y="10421"/>
                  </a:lnTo>
                  <a:lnTo>
                    <a:pt x="6186" y="10547"/>
                  </a:lnTo>
                  <a:lnTo>
                    <a:pt x="6186" y="10232"/>
                  </a:lnTo>
                  <a:lnTo>
                    <a:pt x="6083" y="10232"/>
                  </a:lnTo>
                  <a:lnTo>
                    <a:pt x="6083" y="10358"/>
                  </a:lnTo>
                  <a:lnTo>
                    <a:pt x="5928" y="10358"/>
                  </a:lnTo>
                  <a:lnTo>
                    <a:pt x="6032" y="10232"/>
                  </a:lnTo>
                  <a:lnTo>
                    <a:pt x="6032" y="9979"/>
                  </a:lnTo>
                  <a:lnTo>
                    <a:pt x="6083" y="9979"/>
                  </a:lnTo>
                  <a:lnTo>
                    <a:pt x="6083" y="9789"/>
                  </a:lnTo>
                  <a:lnTo>
                    <a:pt x="6186" y="9789"/>
                  </a:lnTo>
                  <a:lnTo>
                    <a:pt x="6186" y="9663"/>
                  </a:lnTo>
                  <a:lnTo>
                    <a:pt x="6289" y="9663"/>
                  </a:lnTo>
                  <a:lnTo>
                    <a:pt x="6289" y="9537"/>
                  </a:lnTo>
                  <a:lnTo>
                    <a:pt x="6392" y="9537"/>
                  </a:lnTo>
                  <a:lnTo>
                    <a:pt x="6392" y="9347"/>
                  </a:lnTo>
                  <a:lnTo>
                    <a:pt x="6444" y="9347"/>
                  </a:lnTo>
                  <a:lnTo>
                    <a:pt x="6444" y="9221"/>
                  </a:lnTo>
                  <a:lnTo>
                    <a:pt x="6547" y="9221"/>
                  </a:lnTo>
                  <a:lnTo>
                    <a:pt x="6547" y="9095"/>
                  </a:lnTo>
                  <a:lnTo>
                    <a:pt x="6650" y="9095"/>
                  </a:lnTo>
                  <a:lnTo>
                    <a:pt x="6650" y="9221"/>
                  </a:lnTo>
                  <a:lnTo>
                    <a:pt x="6753" y="9221"/>
                  </a:lnTo>
                  <a:lnTo>
                    <a:pt x="6650" y="9095"/>
                  </a:lnTo>
                  <a:lnTo>
                    <a:pt x="6650" y="9032"/>
                  </a:lnTo>
                  <a:lnTo>
                    <a:pt x="6547" y="9032"/>
                  </a:lnTo>
                  <a:lnTo>
                    <a:pt x="6547" y="8779"/>
                  </a:lnTo>
                  <a:lnTo>
                    <a:pt x="6908" y="8779"/>
                  </a:lnTo>
                  <a:lnTo>
                    <a:pt x="7011" y="8653"/>
                  </a:lnTo>
                  <a:lnTo>
                    <a:pt x="6805" y="8653"/>
                  </a:lnTo>
                  <a:lnTo>
                    <a:pt x="6805" y="8589"/>
                  </a:lnTo>
                  <a:lnTo>
                    <a:pt x="6650" y="8589"/>
                  </a:lnTo>
                  <a:lnTo>
                    <a:pt x="6650" y="8274"/>
                  </a:lnTo>
                  <a:lnTo>
                    <a:pt x="7166" y="8274"/>
                  </a:lnTo>
                  <a:lnTo>
                    <a:pt x="7166" y="8147"/>
                  </a:lnTo>
                  <a:lnTo>
                    <a:pt x="7011" y="8147"/>
                  </a:lnTo>
                  <a:lnTo>
                    <a:pt x="7011" y="8021"/>
                  </a:lnTo>
                  <a:lnTo>
                    <a:pt x="7114" y="7895"/>
                  </a:lnTo>
                  <a:lnTo>
                    <a:pt x="7114" y="7832"/>
                  </a:lnTo>
                  <a:lnTo>
                    <a:pt x="7372" y="7832"/>
                  </a:lnTo>
                  <a:lnTo>
                    <a:pt x="7372" y="7705"/>
                  </a:lnTo>
                  <a:lnTo>
                    <a:pt x="7269" y="7705"/>
                  </a:lnTo>
                  <a:lnTo>
                    <a:pt x="7269" y="7579"/>
                  </a:lnTo>
                  <a:lnTo>
                    <a:pt x="7166" y="7579"/>
                  </a:lnTo>
                  <a:lnTo>
                    <a:pt x="7166" y="7453"/>
                  </a:lnTo>
                  <a:lnTo>
                    <a:pt x="7372" y="7453"/>
                  </a:lnTo>
                  <a:lnTo>
                    <a:pt x="7372" y="7389"/>
                  </a:lnTo>
                  <a:lnTo>
                    <a:pt x="7836" y="7389"/>
                  </a:lnTo>
                  <a:lnTo>
                    <a:pt x="7836" y="7263"/>
                  </a:lnTo>
                  <a:lnTo>
                    <a:pt x="7733" y="7263"/>
                  </a:lnTo>
                  <a:lnTo>
                    <a:pt x="7733" y="7137"/>
                  </a:lnTo>
                  <a:lnTo>
                    <a:pt x="7990" y="7137"/>
                  </a:lnTo>
                  <a:lnTo>
                    <a:pt x="7990" y="7011"/>
                  </a:lnTo>
                  <a:lnTo>
                    <a:pt x="8454" y="7011"/>
                  </a:lnTo>
                  <a:lnTo>
                    <a:pt x="8454" y="7137"/>
                  </a:lnTo>
                  <a:lnTo>
                    <a:pt x="8558" y="7137"/>
                  </a:lnTo>
                  <a:lnTo>
                    <a:pt x="8558" y="6947"/>
                  </a:lnTo>
                  <a:lnTo>
                    <a:pt x="7887" y="6947"/>
                  </a:lnTo>
                  <a:lnTo>
                    <a:pt x="7887" y="6821"/>
                  </a:lnTo>
                  <a:lnTo>
                    <a:pt x="7990" y="6821"/>
                  </a:lnTo>
                  <a:lnTo>
                    <a:pt x="7990" y="6695"/>
                  </a:lnTo>
                  <a:lnTo>
                    <a:pt x="8248" y="6695"/>
                  </a:lnTo>
                  <a:lnTo>
                    <a:pt x="8248" y="6568"/>
                  </a:lnTo>
                  <a:lnTo>
                    <a:pt x="8094" y="6568"/>
                  </a:lnTo>
                  <a:lnTo>
                    <a:pt x="8197" y="6505"/>
                  </a:lnTo>
                  <a:lnTo>
                    <a:pt x="8351" y="6505"/>
                  </a:lnTo>
                  <a:lnTo>
                    <a:pt x="8351" y="6568"/>
                  </a:lnTo>
                  <a:lnTo>
                    <a:pt x="8712" y="6568"/>
                  </a:lnTo>
                  <a:lnTo>
                    <a:pt x="8712" y="6695"/>
                  </a:lnTo>
                  <a:lnTo>
                    <a:pt x="8815" y="6695"/>
                  </a:lnTo>
                  <a:lnTo>
                    <a:pt x="8815" y="6568"/>
                  </a:lnTo>
                  <a:lnTo>
                    <a:pt x="8970" y="6568"/>
                  </a:lnTo>
                  <a:lnTo>
                    <a:pt x="8970" y="6505"/>
                  </a:lnTo>
                  <a:lnTo>
                    <a:pt x="8712" y="6505"/>
                  </a:lnTo>
                  <a:lnTo>
                    <a:pt x="8712" y="6379"/>
                  </a:lnTo>
                  <a:lnTo>
                    <a:pt x="8558" y="6379"/>
                  </a:lnTo>
                  <a:lnTo>
                    <a:pt x="8558" y="6253"/>
                  </a:lnTo>
                  <a:lnTo>
                    <a:pt x="8609" y="6253"/>
                  </a:lnTo>
                  <a:lnTo>
                    <a:pt x="8712" y="6126"/>
                  </a:lnTo>
                  <a:lnTo>
                    <a:pt x="8815" y="6126"/>
                  </a:lnTo>
                  <a:lnTo>
                    <a:pt x="8815" y="6063"/>
                  </a:lnTo>
                  <a:lnTo>
                    <a:pt x="8712" y="6063"/>
                  </a:lnTo>
                  <a:lnTo>
                    <a:pt x="8712" y="5937"/>
                  </a:lnTo>
                  <a:lnTo>
                    <a:pt x="8609" y="5937"/>
                  </a:lnTo>
                  <a:lnTo>
                    <a:pt x="8609" y="6063"/>
                  </a:lnTo>
                  <a:lnTo>
                    <a:pt x="8454" y="6063"/>
                  </a:lnTo>
                  <a:lnTo>
                    <a:pt x="8454" y="6126"/>
                  </a:lnTo>
                  <a:lnTo>
                    <a:pt x="8248" y="6126"/>
                  </a:lnTo>
                  <a:lnTo>
                    <a:pt x="8248" y="6253"/>
                  </a:lnTo>
                  <a:lnTo>
                    <a:pt x="8197" y="6253"/>
                  </a:lnTo>
                  <a:lnTo>
                    <a:pt x="8197" y="5937"/>
                  </a:lnTo>
                  <a:lnTo>
                    <a:pt x="8248" y="5937"/>
                  </a:lnTo>
                  <a:lnTo>
                    <a:pt x="8351" y="5811"/>
                  </a:lnTo>
                  <a:lnTo>
                    <a:pt x="8454" y="5811"/>
                  </a:lnTo>
                  <a:lnTo>
                    <a:pt x="8454" y="5937"/>
                  </a:lnTo>
                  <a:lnTo>
                    <a:pt x="8558" y="5937"/>
                  </a:lnTo>
                  <a:lnTo>
                    <a:pt x="8609" y="5811"/>
                  </a:lnTo>
                  <a:lnTo>
                    <a:pt x="8918" y="5811"/>
                  </a:lnTo>
                  <a:lnTo>
                    <a:pt x="8918" y="5684"/>
                  </a:lnTo>
                  <a:lnTo>
                    <a:pt x="8970" y="5684"/>
                  </a:lnTo>
                  <a:lnTo>
                    <a:pt x="8970" y="5621"/>
                  </a:lnTo>
                  <a:lnTo>
                    <a:pt x="8815" y="5621"/>
                  </a:lnTo>
                  <a:lnTo>
                    <a:pt x="8970" y="5368"/>
                  </a:lnTo>
                  <a:lnTo>
                    <a:pt x="9073" y="5368"/>
                  </a:lnTo>
                  <a:lnTo>
                    <a:pt x="9073" y="5242"/>
                  </a:lnTo>
                  <a:lnTo>
                    <a:pt x="9176" y="5242"/>
                  </a:lnTo>
                  <a:lnTo>
                    <a:pt x="9176" y="5368"/>
                  </a:lnTo>
                  <a:lnTo>
                    <a:pt x="9279" y="5368"/>
                  </a:lnTo>
                  <a:lnTo>
                    <a:pt x="9279" y="5621"/>
                  </a:lnTo>
                  <a:lnTo>
                    <a:pt x="9331" y="5621"/>
                  </a:lnTo>
                  <a:lnTo>
                    <a:pt x="9331" y="5811"/>
                  </a:lnTo>
                  <a:lnTo>
                    <a:pt x="9537" y="5811"/>
                  </a:lnTo>
                  <a:lnTo>
                    <a:pt x="9537" y="5621"/>
                  </a:lnTo>
                  <a:lnTo>
                    <a:pt x="9640" y="5621"/>
                  </a:lnTo>
                  <a:lnTo>
                    <a:pt x="9640" y="5495"/>
                  </a:lnTo>
                  <a:lnTo>
                    <a:pt x="9537" y="5495"/>
                  </a:lnTo>
                  <a:lnTo>
                    <a:pt x="9640" y="5368"/>
                  </a:lnTo>
                  <a:lnTo>
                    <a:pt x="9692" y="5368"/>
                  </a:lnTo>
                  <a:lnTo>
                    <a:pt x="9692" y="5242"/>
                  </a:lnTo>
                  <a:lnTo>
                    <a:pt x="9795" y="5179"/>
                  </a:lnTo>
                  <a:lnTo>
                    <a:pt x="9898" y="5179"/>
                  </a:lnTo>
                  <a:lnTo>
                    <a:pt x="9898" y="5053"/>
                  </a:lnTo>
                  <a:lnTo>
                    <a:pt x="10053" y="5053"/>
                  </a:lnTo>
                  <a:lnTo>
                    <a:pt x="10053" y="5179"/>
                  </a:lnTo>
                  <a:lnTo>
                    <a:pt x="10156" y="5179"/>
                  </a:lnTo>
                  <a:lnTo>
                    <a:pt x="10156" y="5242"/>
                  </a:lnTo>
                  <a:lnTo>
                    <a:pt x="10259" y="5242"/>
                  </a:lnTo>
                  <a:lnTo>
                    <a:pt x="10362" y="5179"/>
                  </a:lnTo>
                  <a:lnTo>
                    <a:pt x="10413" y="5179"/>
                  </a:lnTo>
                  <a:lnTo>
                    <a:pt x="10413" y="5053"/>
                  </a:lnTo>
                  <a:lnTo>
                    <a:pt x="10620" y="5053"/>
                  </a:lnTo>
                  <a:lnTo>
                    <a:pt x="10620" y="4926"/>
                  </a:lnTo>
                  <a:lnTo>
                    <a:pt x="10516" y="4926"/>
                  </a:lnTo>
                  <a:lnTo>
                    <a:pt x="10413" y="4800"/>
                  </a:lnTo>
                  <a:lnTo>
                    <a:pt x="10259" y="4800"/>
                  </a:lnTo>
                  <a:lnTo>
                    <a:pt x="10156" y="4926"/>
                  </a:lnTo>
                  <a:lnTo>
                    <a:pt x="9640" y="4926"/>
                  </a:lnTo>
                  <a:lnTo>
                    <a:pt x="9640" y="4737"/>
                  </a:lnTo>
                  <a:lnTo>
                    <a:pt x="9692" y="4737"/>
                  </a:lnTo>
                  <a:lnTo>
                    <a:pt x="9795" y="4611"/>
                  </a:lnTo>
                  <a:lnTo>
                    <a:pt x="9898" y="4611"/>
                  </a:lnTo>
                  <a:lnTo>
                    <a:pt x="9898" y="4484"/>
                  </a:lnTo>
                  <a:lnTo>
                    <a:pt x="10053" y="4484"/>
                  </a:lnTo>
                  <a:lnTo>
                    <a:pt x="10156" y="4358"/>
                  </a:lnTo>
                  <a:lnTo>
                    <a:pt x="10259" y="4358"/>
                  </a:lnTo>
                  <a:lnTo>
                    <a:pt x="10259" y="4484"/>
                  </a:lnTo>
                  <a:lnTo>
                    <a:pt x="10413" y="4484"/>
                  </a:lnTo>
                  <a:lnTo>
                    <a:pt x="10413" y="4358"/>
                  </a:lnTo>
                  <a:lnTo>
                    <a:pt x="10516" y="4358"/>
                  </a:lnTo>
                  <a:lnTo>
                    <a:pt x="10516" y="4168"/>
                  </a:lnTo>
                  <a:lnTo>
                    <a:pt x="10620" y="4168"/>
                  </a:lnTo>
                  <a:lnTo>
                    <a:pt x="10620" y="4042"/>
                  </a:lnTo>
                  <a:lnTo>
                    <a:pt x="10516" y="3916"/>
                  </a:lnTo>
                  <a:lnTo>
                    <a:pt x="10516" y="3726"/>
                  </a:lnTo>
                  <a:lnTo>
                    <a:pt x="10362" y="3726"/>
                  </a:lnTo>
                  <a:lnTo>
                    <a:pt x="10362" y="3853"/>
                  </a:lnTo>
                  <a:lnTo>
                    <a:pt x="10156" y="3853"/>
                  </a:lnTo>
                  <a:lnTo>
                    <a:pt x="10156" y="3916"/>
                  </a:lnTo>
                  <a:lnTo>
                    <a:pt x="10053" y="3916"/>
                  </a:lnTo>
                  <a:lnTo>
                    <a:pt x="10053" y="3853"/>
                  </a:lnTo>
                  <a:lnTo>
                    <a:pt x="9898" y="3853"/>
                  </a:lnTo>
                  <a:lnTo>
                    <a:pt x="9898" y="3726"/>
                  </a:lnTo>
                  <a:lnTo>
                    <a:pt x="10001" y="3600"/>
                  </a:lnTo>
                  <a:lnTo>
                    <a:pt x="10001" y="3411"/>
                  </a:lnTo>
                  <a:lnTo>
                    <a:pt x="9898" y="3411"/>
                  </a:lnTo>
                  <a:lnTo>
                    <a:pt x="9898" y="3284"/>
                  </a:lnTo>
                  <a:lnTo>
                    <a:pt x="10001" y="3284"/>
                  </a:lnTo>
                  <a:lnTo>
                    <a:pt x="10053" y="3158"/>
                  </a:lnTo>
                  <a:lnTo>
                    <a:pt x="10156" y="3158"/>
                  </a:lnTo>
                  <a:lnTo>
                    <a:pt x="10156" y="3284"/>
                  </a:lnTo>
                  <a:lnTo>
                    <a:pt x="10259" y="3284"/>
                  </a:lnTo>
                  <a:lnTo>
                    <a:pt x="10259" y="3158"/>
                  </a:lnTo>
                  <a:lnTo>
                    <a:pt x="10156" y="3158"/>
                  </a:lnTo>
                  <a:lnTo>
                    <a:pt x="10156" y="3032"/>
                  </a:lnTo>
                  <a:lnTo>
                    <a:pt x="10516" y="3032"/>
                  </a:lnTo>
                  <a:lnTo>
                    <a:pt x="10413" y="2968"/>
                  </a:lnTo>
                  <a:lnTo>
                    <a:pt x="10516" y="2968"/>
                  </a:lnTo>
                  <a:lnTo>
                    <a:pt x="10516" y="2842"/>
                  </a:lnTo>
                  <a:lnTo>
                    <a:pt x="10620" y="2842"/>
                  </a:lnTo>
                  <a:lnTo>
                    <a:pt x="10620" y="2968"/>
                  </a:lnTo>
                  <a:lnTo>
                    <a:pt x="10774" y="2968"/>
                  </a:lnTo>
                  <a:lnTo>
                    <a:pt x="10774" y="3032"/>
                  </a:lnTo>
                  <a:lnTo>
                    <a:pt x="10877" y="3032"/>
                  </a:lnTo>
                  <a:lnTo>
                    <a:pt x="10877" y="3284"/>
                  </a:lnTo>
                  <a:lnTo>
                    <a:pt x="10980" y="3158"/>
                  </a:lnTo>
                  <a:lnTo>
                    <a:pt x="10980" y="3032"/>
                  </a:lnTo>
                  <a:lnTo>
                    <a:pt x="11135" y="3032"/>
                  </a:lnTo>
                  <a:lnTo>
                    <a:pt x="11135" y="3411"/>
                  </a:lnTo>
                  <a:lnTo>
                    <a:pt x="11496" y="3411"/>
                  </a:lnTo>
                  <a:lnTo>
                    <a:pt x="11496" y="3284"/>
                  </a:lnTo>
                  <a:lnTo>
                    <a:pt x="11393" y="3284"/>
                  </a:lnTo>
                  <a:lnTo>
                    <a:pt x="11341" y="3158"/>
                  </a:lnTo>
                  <a:lnTo>
                    <a:pt x="11341" y="3032"/>
                  </a:lnTo>
                  <a:lnTo>
                    <a:pt x="11599" y="3032"/>
                  </a:lnTo>
                  <a:lnTo>
                    <a:pt x="11599" y="3158"/>
                  </a:lnTo>
                  <a:lnTo>
                    <a:pt x="11702" y="3158"/>
                  </a:lnTo>
                  <a:lnTo>
                    <a:pt x="11702" y="3032"/>
                  </a:lnTo>
                  <a:lnTo>
                    <a:pt x="11754" y="3032"/>
                  </a:lnTo>
                  <a:lnTo>
                    <a:pt x="11754" y="2968"/>
                  </a:lnTo>
                  <a:lnTo>
                    <a:pt x="11702" y="2968"/>
                  </a:lnTo>
                  <a:lnTo>
                    <a:pt x="11702" y="2842"/>
                  </a:lnTo>
                  <a:lnTo>
                    <a:pt x="11599" y="2842"/>
                  </a:lnTo>
                  <a:lnTo>
                    <a:pt x="11599" y="2716"/>
                  </a:lnTo>
                  <a:lnTo>
                    <a:pt x="11702" y="2716"/>
                  </a:lnTo>
                  <a:lnTo>
                    <a:pt x="11702" y="2653"/>
                  </a:lnTo>
                  <a:lnTo>
                    <a:pt x="11754" y="2653"/>
                  </a:lnTo>
                  <a:lnTo>
                    <a:pt x="11857" y="2526"/>
                  </a:lnTo>
                  <a:lnTo>
                    <a:pt x="12218" y="2526"/>
                  </a:lnTo>
                  <a:lnTo>
                    <a:pt x="12218" y="3032"/>
                  </a:lnTo>
                  <a:lnTo>
                    <a:pt x="12115" y="3032"/>
                  </a:lnTo>
                  <a:lnTo>
                    <a:pt x="12115" y="3158"/>
                  </a:lnTo>
                  <a:lnTo>
                    <a:pt x="12218" y="3158"/>
                  </a:lnTo>
                  <a:lnTo>
                    <a:pt x="12218" y="3032"/>
                  </a:lnTo>
                  <a:lnTo>
                    <a:pt x="12321" y="3032"/>
                  </a:lnTo>
                  <a:lnTo>
                    <a:pt x="12321" y="2968"/>
                  </a:lnTo>
                  <a:lnTo>
                    <a:pt x="12475" y="2968"/>
                  </a:lnTo>
                  <a:lnTo>
                    <a:pt x="12475" y="2842"/>
                  </a:lnTo>
                  <a:lnTo>
                    <a:pt x="12321" y="2842"/>
                  </a:lnTo>
                  <a:lnTo>
                    <a:pt x="12321" y="2653"/>
                  </a:lnTo>
                  <a:lnTo>
                    <a:pt x="12424" y="2526"/>
                  </a:lnTo>
                  <a:lnTo>
                    <a:pt x="12424" y="2400"/>
                  </a:lnTo>
                  <a:lnTo>
                    <a:pt x="12475" y="2400"/>
                  </a:lnTo>
                  <a:lnTo>
                    <a:pt x="12475" y="2274"/>
                  </a:lnTo>
                  <a:lnTo>
                    <a:pt x="12579" y="2274"/>
                  </a:lnTo>
                  <a:lnTo>
                    <a:pt x="12682" y="2211"/>
                  </a:lnTo>
                  <a:lnTo>
                    <a:pt x="12785" y="2211"/>
                  </a:lnTo>
                  <a:lnTo>
                    <a:pt x="12785" y="2274"/>
                  </a:lnTo>
                  <a:lnTo>
                    <a:pt x="12836" y="2274"/>
                  </a:lnTo>
                  <a:lnTo>
                    <a:pt x="12836" y="2526"/>
                  </a:lnTo>
                  <a:lnTo>
                    <a:pt x="12785" y="2526"/>
                  </a:lnTo>
                  <a:lnTo>
                    <a:pt x="12785" y="2842"/>
                  </a:lnTo>
                  <a:lnTo>
                    <a:pt x="12682" y="2968"/>
                  </a:lnTo>
                  <a:lnTo>
                    <a:pt x="12682" y="3158"/>
                  </a:lnTo>
                  <a:lnTo>
                    <a:pt x="12579" y="3284"/>
                  </a:lnTo>
                  <a:lnTo>
                    <a:pt x="12682" y="3284"/>
                  </a:lnTo>
                  <a:lnTo>
                    <a:pt x="12682" y="3158"/>
                  </a:lnTo>
                  <a:lnTo>
                    <a:pt x="12785" y="3158"/>
                  </a:lnTo>
                  <a:lnTo>
                    <a:pt x="12785" y="2968"/>
                  </a:lnTo>
                  <a:lnTo>
                    <a:pt x="12836" y="2968"/>
                  </a:lnTo>
                  <a:lnTo>
                    <a:pt x="12836" y="2842"/>
                  </a:lnTo>
                  <a:lnTo>
                    <a:pt x="12939" y="2842"/>
                  </a:lnTo>
                  <a:lnTo>
                    <a:pt x="12836" y="2716"/>
                  </a:lnTo>
                  <a:lnTo>
                    <a:pt x="12836" y="2526"/>
                  </a:lnTo>
                  <a:lnTo>
                    <a:pt x="12939" y="2526"/>
                  </a:lnTo>
                  <a:lnTo>
                    <a:pt x="12939" y="2400"/>
                  </a:lnTo>
                  <a:lnTo>
                    <a:pt x="13146" y="2400"/>
                  </a:lnTo>
                  <a:lnTo>
                    <a:pt x="13197" y="2274"/>
                  </a:lnTo>
                  <a:lnTo>
                    <a:pt x="13300" y="2274"/>
                  </a:lnTo>
                  <a:lnTo>
                    <a:pt x="13300" y="2526"/>
                  </a:lnTo>
                  <a:lnTo>
                    <a:pt x="13403" y="2526"/>
                  </a:lnTo>
                  <a:lnTo>
                    <a:pt x="13506" y="2400"/>
                  </a:lnTo>
                  <a:lnTo>
                    <a:pt x="13506" y="2274"/>
                  </a:lnTo>
                  <a:lnTo>
                    <a:pt x="13764" y="2274"/>
                  </a:lnTo>
                  <a:lnTo>
                    <a:pt x="13764" y="2400"/>
                  </a:lnTo>
                  <a:lnTo>
                    <a:pt x="13919" y="2400"/>
                  </a:lnTo>
                  <a:lnTo>
                    <a:pt x="14022" y="2526"/>
                  </a:lnTo>
                  <a:lnTo>
                    <a:pt x="14125" y="2526"/>
                  </a:lnTo>
                  <a:lnTo>
                    <a:pt x="14125" y="2400"/>
                  </a:lnTo>
                  <a:lnTo>
                    <a:pt x="14022" y="2400"/>
                  </a:lnTo>
                  <a:lnTo>
                    <a:pt x="14022" y="2274"/>
                  </a:lnTo>
                  <a:lnTo>
                    <a:pt x="14125" y="2274"/>
                  </a:lnTo>
                  <a:lnTo>
                    <a:pt x="14125" y="2084"/>
                  </a:lnTo>
                  <a:lnTo>
                    <a:pt x="14228" y="2084"/>
                  </a:lnTo>
                  <a:lnTo>
                    <a:pt x="14228" y="1958"/>
                  </a:lnTo>
                  <a:lnTo>
                    <a:pt x="14022" y="1958"/>
                  </a:lnTo>
                  <a:lnTo>
                    <a:pt x="14022" y="2084"/>
                  </a:lnTo>
                  <a:lnTo>
                    <a:pt x="13867" y="2084"/>
                  </a:lnTo>
                  <a:lnTo>
                    <a:pt x="13867" y="1958"/>
                  </a:lnTo>
                  <a:lnTo>
                    <a:pt x="13661" y="1958"/>
                  </a:lnTo>
                  <a:lnTo>
                    <a:pt x="13661" y="1832"/>
                  </a:lnTo>
                  <a:lnTo>
                    <a:pt x="13558" y="1832"/>
                  </a:lnTo>
                  <a:lnTo>
                    <a:pt x="13506" y="1768"/>
                  </a:lnTo>
                  <a:lnTo>
                    <a:pt x="13764" y="1768"/>
                  </a:lnTo>
                  <a:lnTo>
                    <a:pt x="13867" y="1832"/>
                  </a:lnTo>
                  <a:lnTo>
                    <a:pt x="14280" y="1832"/>
                  </a:lnTo>
                  <a:lnTo>
                    <a:pt x="14280" y="1958"/>
                  </a:lnTo>
                  <a:lnTo>
                    <a:pt x="14486" y="1958"/>
                  </a:lnTo>
                  <a:lnTo>
                    <a:pt x="14486" y="1832"/>
                  </a:lnTo>
                  <a:lnTo>
                    <a:pt x="14383" y="1832"/>
                  </a:lnTo>
                  <a:lnTo>
                    <a:pt x="14383" y="1642"/>
                  </a:lnTo>
                  <a:lnTo>
                    <a:pt x="14486" y="1642"/>
                  </a:lnTo>
                  <a:lnTo>
                    <a:pt x="14486" y="1768"/>
                  </a:lnTo>
                  <a:lnTo>
                    <a:pt x="14589" y="1768"/>
                  </a:lnTo>
                  <a:lnTo>
                    <a:pt x="14589" y="1642"/>
                  </a:lnTo>
                  <a:lnTo>
                    <a:pt x="14486" y="1642"/>
                  </a:lnTo>
                  <a:lnTo>
                    <a:pt x="14486" y="1516"/>
                  </a:lnTo>
                  <a:lnTo>
                    <a:pt x="14847" y="1516"/>
                  </a:lnTo>
                  <a:lnTo>
                    <a:pt x="14847" y="1768"/>
                  </a:lnTo>
                  <a:lnTo>
                    <a:pt x="14950" y="1768"/>
                  </a:lnTo>
                  <a:lnTo>
                    <a:pt x="14950" y="1832"/>
                  </a:lnTo>
                  <a:lnTo>
                    <a:pt x="14847" y="1832"/>
                  </a:lnTo>
                  <a:lnTo>
                    <a:pt x="14847" y="1958"/>
                  </a:lnTo>
                  <a:lnTo>
                    <a:pt x="14950" y="1958"/>
                  </a:lnTo>
                  <a:lnTo>
                    <a:pt x="14950" y="2084"/>
                  </a:lnTo>
                  <a:lnTo>
                    <a:pt x="15001" y="2084"/>
                  </a:lnTo>
                  <a:lnTo>
                    <a:pt x="15001" y="2274"/>
                  </a:lnTo>
                  <a:lnTo>
                    <a:pt x="15105" y="2274"/>
                  </a:lnTo>
                  <a:lnTo>
                    <a:pt x="15208" y="2211"/>
                  </a:lnTo>
                  <a:lnTo>
                    <a:pt x="15362" y="2211"/>
                  </a:lnTo>
                  <a:lnTo>
                    <a:pt x="15362" y="2084"/>
                  </a:lnTo>
                  <a:lnTo>
                    <a:pt x="15105" y="2084"/>
                  </a:lnTo>
                  <a:lnTo>
                    <a:pt x="15105" y="1958"/>
                  </a:lnTo>
                  <a:lnTo>
                    <a:pt x="15208" y="1958"/>
                  </a:lnTo>
                  <a:lnTo>
                    <a:pt x="15208" y="1832"/>
                  </a:lnTo>
                  <a:lnTo>
                    <a:pt x="15105" y="1768"/>
                  </a:lnTo>
                  <a:lnTo>
                    <a:pt x="15208" y="1642"/>
                  </a:lnTo>
                  <a:lnTo>
                    <a:pt x="15311" y="1642"/>
                  </a:lnTo>
                  <a:lnTo>
                    <a:pt x="15311" y="1516"/>
                  </a:lnTo>
                  <a:lnTo>
                    <a:pt x="15362" y="1389"/>
                  </a:lnTo>
                  <a:lnTo>
                    <a:pt x="15568" y="1389"/>
                  </a:lnTo>
                  <a:lnTo>
                    <a:pt x="15568" y="1326"/>
                  </a:lnTo>
                  <a:lnTo>
                    <a:pt x="15620" y="1326"/>
                  </a:lnTo>
                  <a:lnTo>
                    <a:pt x="15723" y="1200"/>
                  </a:lnTo>
                  <a:lnTo>
                    <a:pt x="15929" y="1200"/>
                  </a:lnTo>
                  <a:lnTo>
                    <a:pt x="15929" y="1074"/>
                  </a:lnTo>
                  <a:lnTo>
                    <a:pt x="15981" y="1074"/>
                  </a:lnTo>
                  <a:lnTo>
                    <a:pt x="15981" y="947"/>
                  </a:lnTo>
                  <a:lnTo>
                    <a:pt x="16084" y="947"/>
                  </a:lnTo>
                  <a:lnTo>
                    <a:pt x="16084" y="884"/>
                  </a:lnTo>
                  <a:lnTo>
                    <a:pt x="16187" y="884"/>
                  </a:lnTo>
                  <a:lnTo>
                    <a:pt x="16084" y="758"/>
                  </a:lnTo>
                  <a:lnTo>
                    <a:pt x="15981" y="758"/>
                  </a:lnTo>
                  <a:lnTo>
                    <a:pt x="15981" y="505"/>
                  </a:lnTo>
                  <a:lnTo>
                    <a:pt x="16084" y="505"/>
                  </a:lnTo>
                  <a:lnTo>
                    <a:pt x="16084" y="632"/>
                  </a:lnTo>
                  <a:lnTo>
                    <a:pt x="16187" y="632"/>
                  </a:lnTo>
                  <a:lnTo>
                    <a:pt x="16187" y="316"/>
                  </a:lnTo>
                  <a:lnTo>
                    <a:pt x="16445" y="316"/>
                  </a:lnTo>
                  <a:lnTo>
                    <a:pt x="16445" y="442"/>
                  </a:lnTo>
                  <a:lnTo>
                    <a:pt x="16548" y="442"/>
                  </a:lnTo>
                  <a:lnTo>
                    <a:pt x="16548" y="316"/>
                  </a:lnTo>
                  <a:lnTo>
                    <a:pt x="16651" y="316"/>
                  </a:lnTo>
                  <a:lnTo>
                    <a:pt x="16651" y="442"/>
                  </a:lnTo>
                  <a:lnTo>
                    <a:pt x="16909" y="442"/>
                  </a:lnTo>
                  <a:lnTo>
                    <a:pt x="16909" y="505"/>
                  </a:lnTo>
                  <a:lnTo>
                    <a:pt x="17012" y="505"/>
                  </a:lnTo>
                  <a:lnTo>
                    <a:pt x="17012" y="442"/>
                  </a:lnTo>
                  <a:lnTo>
                    <a:pt x="16909" y="316"/>
                  </a:lnTo>
                  <a:lnTo>
                    <a:pt x="16909" y="189"/>
                  </a:lnTo>
                  <a:lnTo>
                    <a:pt x="17063" y="189"/>
                  </a:lnTo>
                  <a:lnTo>
                    <a:pt x="17063" y="0"/>
                  </a:lnTo>
                  <a:close/>
                  <a:moveTo>
                    <a:pt x="17063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86" name="Freeform 38"/>
            <p:cNvSpPr>
              <a:spLocks/>
            </p:cNvSpPr>
            <p:nvPr/>
          </p:nvSpPr>
          <p:spPr bwMode="auto">
            <a:xfrm>
              <a:off x="6662264" y="3930735"/>
              <a:ext cx="72590" cy="30219"/>
            </a:xfrm>
            <a:custGeom>
              <a:avLst/>
              <a:gdLst/>
              <a:ahLst/>
              <a:cxnLst>
                <a:cxn ang="0">
                  <a:pos x="1543" y="0"/>
                </a:cxn>
                <a:cxn ang="0">
                  <a:pos x="4629" y="0"/>
                </a:cxn>
                <a:cxn ang="0">
                  <a:pos x="4629" y="7200"/>
                </a:cxn>
                <a:cxn ang="0">
                  <a:pos x="7714" y="7200"/>
                </a:cxn>
                <a:cxn ang="0">
                  <a:pos x="7714" y="0"/>
                </a:cxn>
                <a:cxn ang="0">
                  <a:pos x="10800" y="0"/>
                </a:cxn>
                <a:cxn ang="0">
                  <a:pos x="12343" y="7200"/>
                </a:cxn>
                <a:cxn ang="0">
                  <a:pos x="21600" y="7200"/>
                </a:cxn>
                <a:cxn ang="0">
                  <a:pos x="21600" y="14400"/>
                </a:cxn>
                <a:cxn ang="0">
                  <a:pos x="18514" y="14400"/>
                </a:cxn>
                <a:cxn ang="0">
                  <a:pos x="15429" y="21600"/>
                </a:cxn>
                <a:cxn ang="0">
                  <a:pos x="12343" y="21600"/>
                </a:cxn>
                <a:cxn ang="0">
                  <a:pos x="12343" y="14400"/>
                </a:cxn>
                <a:cxn ang="0">
                  <a:pos x="0" y="14400"/>
                </a:cxn>
                <a:cxn ang="0">
                  <a:pos x="0" y="7200"/>
                </a:cxn>
                <a:cxn ang="0">
                  <a:pos x="1543" y="7200"/>
                </a:cxn>
                <a:cxn ang="0">
                  <a:pos x="1543" y="0"/>
                </a:cxn>
                <a:cxn ang="0">
                  <a:pos x="1543" y="0"/>
                </a:cxn>
              </a:cxnLst>
              <a:rect l="0" t="0" r="r" b="b"/>
              <a:pathLst>
                <a:path w="21600" h="21600">
                  <a:moveTo>
                    <a:pt x="1543" y="0"/>
                  </a:moveTo>
                  <a:lnTo>
                    <a:pt x="4629" y="0"/>
                  </a:lnTo>
                  <a:lnTo>
                    <a:pt x="4629" y="7200"/>
                  </a:lnTo>
                  <a:lnTo>
                    <a:pt x="7714" y="7200"/>
                  </a:lnTo>
                  <a:lnTo>
                    <a:pt x="7714" y="0"/>
                  </a:lnTo>
                  <a:lnTo>
                    <a:pt x="10800" y="0"/>
                  </a:lnTo>
                  <a:lnTo>
                    <a:pt x="12343" y="7200"/>
                  </a:lnTo>
                  <a:lnTo>
                    <a:pt x="21600" y="7200"/>
                  </a:lnTo>
                  <a:lnTo>
                    <a:pt x="21600" y="14400"/>
                  </a:lnTo>
                  <a:lnTo>
                    <a:pt x="18514" y="14400"/>
                  </a:lnTo>
                  <a:lnTo>
                    <a:pt x="15429" y="21600"/>
                  </a:lnTo>
                  <a:lnTo>
                    <a:pt x="12343" y="21600"/>
                  </a:lnTo>
                  <a:lnTo>
                    <a:pt x="12343" y="14400"/>
                  </a:lnTo>
                  <a:lnTo>
                    <a:pt x="0" y="14400"/>
                  </a:lnTo>
                  <a:lnTo>
                    <a:pt x="0" y="7200"/>
                  </a:lnTo>
                  <a:lnTo>
                    <a:pt x="1543" y="7200"/>
                  </a:lnTo>
                  <a:lnTo>
                    <a:pt x="1543" y="0"/>
                  </a:lnTo>
                  <a:close/>
                  <a:moveTo>
                    <a:pt x="1543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87" name="AutoShape 39"/>
            <p:cNvSpPr>
              <a:spLocks/>
            </p:cNvSpPr>
            <p:nvPr/>
          </p:nvSpPr>
          <p:spPr bwMode="auto">
            <a:xfrm>
              <a:off x="6667329" y="3715167"/>
              <a:ext cx="315678" cy="280037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3187" y="14400"/>
                  </a:moveTo>
                  <a:lnTo>
                    <a:pt x="3895" y="14400"/>
                  </a:lnTo>
                  <a:lnTo>
                    <a:pt x="3895" y="15158"/>
                  </a:lnTo>
                  <a:lnTo>
                    <a:pt x="3187" y="15158"/>
                  </a:lnTo>
                  <a:lnTo>
                    <a:pt x="3187" y="14400"/>
                  </a:lnTo>
                  <a:close/>
                  <a:moveTo>
                    <a:pt x="2125" y="13642"/>
                  </a:moveTo>
                  <a:lnTo>
                    <a:pt x="3187" y="13642"/>
                  </a:lnTo>
                  <a:lnTo>
                    <a:pt x="3187" y="14400"/>
                  </a:lnTo>
                  <a:lnTo>
                    <a:pt x="2125" y="14400"/>
                  </a:lnTo>
                  <a:lnTo>
                    <a:pt x="2125" y="13642"/>
                  </a:lnTo>
                  <a:close/>
                  <a:moveTo>
                    <a:pt x="10623" y="9095"/>
                  </a:moveTo>
                  <a:lnTo>
                    <a:pt x="10623" y="9853"/>
                  </a:lnTo>
                  <a:lnTo>
                    <a:pt x="12393" y="9853"/>
                  </a:lnTo>
                  <a:lnTo>
                    <a:pt x="12393" y="9095"/>
                  </a:lnTo>
                  <a:lnTo>
                    <a:pt x="11331" y="9095"/>
                  </a:lnTo>
                  <a:lnTo>
                    <a:pt x="11331" y="9853"/>
                  </a:lnTo>
                  <a:lnTo>
                    <a:pt x="10623" y="9095"/>
                  </a:lnTo>
                  <a:close/>
                  <a:moveTo>
                    <a:pt x="16289" y="0"/>
                  </a:moveTo>
                  <a:lnTo>
                    <a:pt x="19121" y="0"/>
                  </a:lnTo>
                  <a:lnTo>
                    <a:pt x="19121" y="379"/>
                  </a:lnTo>
                  <a:lnTo>
                    <a:pt x="20538" y="379"/>
                  </a:lnTo>
                  <a:lnTo>
                    <a:pt x="20538" y="1137"/>
                  </a:lnTo>
                  <a:lnTo>
                    <a:pt x="21246" y="1137"/>
                  </a:lnTo>
                  <a:lnTo>
                    <a:pt x="21246" y="1895"/>
                  </a:lnTo>
                  <a:lnTo>
                    <a:pt x="21600" y="1895"/>
                  </a:lnTo>
                  <a:lnTo>
                    <a:pt x="21246" y="2653"/>
                  </a:lnTo>
                  <a:lnTo>
                    <a:pt x="21600" y="3032"/>
                  </a:lnTo>
                  <a:lnTo>
                    <a:pt x="21600" y="3789"/>
                  </a:lnTo>
                  <a:lnTo>
                    <a:pt x="21246" y="3789"/>
                  </a:lnTo>
                  <a:lnTo>
                    <a:pt x="21246" y="5305"/>
                  </a:lnTo>
                  <a:lnTo>
                    <a:pt x="20538" y="5305"/>
                  </a:lnTo>
                  <a:lnTo>
                    <a:pt x="20538" y="6442"/>
                  </a:lnTo>
                  <a:lnTo>
                    <a:pt x="18767" y="6442"/>
                  </a:lnTo>
                  <a:lnTo>
                    <a:pt x="18767" y="7200"/>
                  </a:lnTo>
                  <a:lnTo>
                    <a:pt x="19121" y="7200"/>
                  </a:lnTo>
                  <a:lnTo>
                    <a:pt x="18767" y="7958"/>
                  </a:lnTo>
                  <a:lnTo>
                    <a:pt x="18767" y="8337"/>
                  </a:lnTo>
                  <a:lnTo>
                    <a:pt x="20538" y="8337"/>
                  </a:lnTo>
                  <a:lnTo>
                    <a:pt x="20538" y="9853"/>
                  </a:lnTo>
                  <a:lnTo>
                    <a:pt x="19830" y="9853"/>
                  </a:lnTo>
                  <a:lnTo>
                    <a:pt x="19830" y="10989"/>
                  </a:lnTo>
                  <a:lnTo>
                    <a:pt x="18767" y="10989"/>
                  </a:lnTo>
                  <a:lnTo>
                    <a:pt x="18767" y="11747"/>
                  </a:lnTo>
                  <a:lnTo>
                    <a:pt x="19121" y="11747"/>
                  </a:lnTo>
                  <a:lnTo>
                    <a:pt x="19121" y="12505"/>
                  </a:lnTo>
                  <a:lnTo>
                    <a:pt x="18767" y="12505"/>
                  </a:lnTo>
                  <a:lnTo>
                    <a:pt x="18767" y="13263"/>
                  </a:lnTo>
                  <a:lnTo>
                    <a:pt x="18059" y="12505"/>
                  </a:lnTo>
                  <a:lnTo>
                    <a:pt x="17351" y="13263"/>
                  </a:lnTo>
                  <a:lnTo>
                    <a:pt x="14164" y="13263"/>
                  </a:lnTo>
                  <a:lnTo>
                    <a:pt x="14164" y="13642"/>
                  </a:lnTo>
                  <a:lnTo>
                    <a:pt x="14872" y="13642"/>
                  </a:lnTo>
                  <a:lnTo>
                    <a:pt x="14872" y="15158"/>
                  </a:lnTo>
                  <a:lnTo>
                    <a:pt x="15580" y="15158"/>
                  </a:lnTo>
                  <a:lnTo>
                    <a:pt x="15580" y="15916"/>
                  </a:lnTo>
                  <a:lnTo>
                    <a:pt x="16289" y="15916"/>
                  </a:lnTo>
                  <a:lnTo>
                    <a:pt x="16289" y="17053"/>
                  </a:lnTo>
                  <a:lnTo>
                    <a:pt x="15580" y="17053"/>
                  </a:lnTo>
                  <a:lnTo>
                    <a:pt x="15580" y="17811"/>
                  </a:lnTo>
                  <a:lnTo>
                    <a:pt x="14872" y="17811"/>
                  </a:lnTo>
                  <a:lnTo>
                    <a:pt x="14872" y="18568"/>
                  </a:lnTo>
                  <a:lnTo>
                    <a:pt x="15580" y="18568"/>
                  </a:lnTo>
                  <a:lnTo>
                    <a:pt x="15580" y="18947"/>
                  </a:lnTo>
                  <a:lnTo>
                    <a:pt x="14872" y="18947"/>
                  </a:lnTo>
                  <a:lnTo>
                    <a:pt x="14872" y="19705"/>
                  </a:lnTo>
                  <a:lnTo>
                    <a:pt x="14164" y="18947"/>
                  </a:lnTo>
                  <a:lnTo>
                    <a:pt x="14164" y="20463"/>
                  </a:lnTo>
                  <a:lnTo>
                    <a:pt x="14872" y="20463"/>
                  </a:lnTo>
                  <a:lnTo>
                    <a:pt x="14872" y="21600"/>
                  </a:lnTo>
                  <a:lnTo>
                    <a:pt x="13102" y="21600"/>
                  </a:lnTo>
                  <a:lnTo>
                    <a:pt x="13102" y="20463"/>
                  </a:lnTo>
                  <a:lnTo>
                    <a:pt x="13810" y="20463"/>
                  </a:lnTo>
                  <a:lnTo>
                    <a:pt x="13810" y="18568"/>
                  </a:lnTo>
                  <a:lnTo>
                    <a:pt x="12393" y="18568"/>
                  </a:lnTo>
                  <a:lnTo>
                    <a:pt x="12393" y="17811"/>
                  </a:lnTo>
                  <a:lnTo>
                    <a:pt x="10623" y="17811"/>
                  </a:lnTo>
                  <a:lnTo>
                    <a:pt x="10623" y="17053"/>
                  </a:lnTo>
                  <a:lnTo>
                    <a:pt x="9915" y="17053"/>
                  </a:lnTo>
                  <a:lnTo>
                    <a:pt x="9915" y="16295"/>
                  </a:lnTo>
                  <a:lnTo>
                    <a:pt x="8144" y="16295"/>
                  </a:lnTo>
                  <a:lnTo>
                    <a:pt x="8144" y="15916"/>
                  </a:lnTo>
                  <a:lnTo>
                    <a:pt x="7436" y="15916"/>
                  </a:lnTo>
                  <a:lnTo>
                    <a:pt x="7436" y="16295"/>
                  </a:lnTo>
                  <a:lnTo>
                    <a:pt x="7082" y="16295"/>
                  </a:lnTo>
                  <a:lnTo>
                    <a:pt x="7082" y="15916"/>
                  </a:lnTo>
                  <a:lnTo>
                    <a:pt x="6374" y="15916"/>
                  </a:lnTo>
                  <a:lnTo>
                    <a:pt x="5666" y="16295"/>
                  </a:lnTo>
                  <a:lnTo>
                    <a:pt x="5666" y="17053"/>
                  </a:lnTo>
                  <a:lnTo>
                    <a:pt x="4603" y="17053"/>
                  </a:lnTo>
                  <a:lnTo>
                    <a:pt x="3895" y="16295"/>
                  </a:lnTo>
                  <a:lnTo>
                    <a:pt x="708" y="16295"/>
                  </a:lnTo>
                  <a:lnTo>
                    <a:pt x="708" y="15916"/>
                  </a:lnTo>
                  <a:lnTo>
                    <a:pt x="0" y="15916"/>
                  </a:lnTo>
                  <a:lnTo>
                    <a:pt x="708" y="15158"/>
                  </a:lnTo>
                  <a:lnTo>
                    <a:pt x="3187" y="15158"/>
                  </a:lnTo>
                  <a:lnTo>
                    <a:pt x="3187" y="15916"/>
                  </a:lnTo>
                  <a:lnTo>
                    <a:pt x="4603" y="15916"/>
                  </a:lnTo>
                  <a:lnTo>
                    <a:pt x="4603" y="16295"/>
                  </a:lnTo>
                  <a:lnTo>
                    <a:pt x="4957" y="16295"/>
                  </a:lnTo>
                  <a:lnTo>
                    <a:pt x="4957" y="15916"/>
                  </a:lnTo>
                  <a:lnTo>
                    <a:pt x="4603" y="15916"/>
                  </a:lnTo>
                  <a:lnTo>
                    <a:pt x="4603" y="15158"/>
                  </a:lnTo>
                  <a:lnTo>
                    <a:pt x="4957" y="15158"/>
                  </a:lnTo>
                  <a:lnTo>
                    <a:pt x="4957" y="14400"/>
                  </a:lnTo>
                  <a:lnTo>
                    <a:pt x="5666" y="14400"/>
                  </a:lnTo>
                  <a:lnTo>
                    <a:pt x="5666" y="13642"/>
                  </a:lnTo>
                  <a:lnTo>
                    <a:pt x="4603" y="13642"/>
                  </a:lnTo>
                  <a:lnTo>
                    <a:pt x="4603" y="13263"/>
                  </a:lnTo>
                  <a:lnTo>
                    <a:pt x="3895" y="13263"/>
                  </a:lnTo>
                  <a:lnTo>
                    <a:pt x="3895" y="11747"/>
                  </a:lnTo>
                  <a:lnTo>
                    <a:pt x="4603" y="11747"/>
                  </a:lnTo>
                  <a:lnTo>
                    <a:pt x="4603" y="10989"/>
                  </a:lnTo>
                  <a:lnTo>
                    <a:pt x="4957" y="10989"/>
                  </a:lnTo>
                  <a:lnTo>
                    <a:pt x="4957" y="10611"/>
                  </a:lnTo>
                  <a:lnTo>
                    <a:pt x="5666" y="10611"/>
                  </a:lnTo>
                  <a:lnTo>
                    <a:pt x="5666" y="9853"/>
                  </a:lnTo>
                  <a:lnTo>
                    <a:pt x="6374" y="8337"/>
                  </a:lnTo>
                  <a:lnTo>
                    <a:pt x="7082" y="7958"/>
                  </a:lnTo>
                  <a:lnTo>
                    <a:pt x="7082" y="5305"/>
                  </a:lnTo>
                  <a:lnTo>
                    <a:pt x="7436" y="5305"/>
                  </a:lnTo>
                  <a:lnTo>
                    <a:pt x="7436" y="4547"/>
                  </a:lnTo>
                  <a:lnTo>
                    <a:pt x="8852" y="4547"/>
                  </a:lnTo>
                  <a:lnTo>
                    <a:pt x="9561" y="3789"/>
                  </a:lnTo>
                  <a:lnTo>
                    <a:pt x="9561" y="4547"/>
                  </a:lnTo>
                  <a:lnTo>
                    <a:pt x="9915" y="4547"/>
                  </a:lnTo>
                  <a:lnTo>
                    <a:pt x="9915" y="5684"/>
                  </a:lnTo>
                  <a:lnTo>
                    <a:pt x="10623" y="5684"/>
                  </a:lnTo>
                  <a:lnTo>
                    <a:pt x="9561" y="7200"/>
                  </a:lnTo>
                  <a:lnTo>
                    <a:pt x="9915" y="7200"/>
                  </a:lnTo>
                  <a:lnTo>
                    <a:pt x="9915" y="8337"/>
                  </a:lnTo>
                  <a:lnTo>
                    <a:pt x="9561" y="8337"/>
                  </a:lnTo>
                  <a:lnTo>
                    <a:pt x="9561" y="9095"/>
                  </a:lnTo>
                  <a:lnTo>
                    <a:pt x="9915" y="9095"/>
                  </a:lnTo>
                  <a:lnTo>
                    <a:pt x="9915" y="8337"/>
                  </a:lnTo>
                  <a:lnTo>
                    <a:pt x="10623" y="8337"/>
                  </a:lnTo>
                  <a:lnTo>
                    <a:pt x="10623" y="7958"/>
                  </a:lnTo>
                  <a:lnTo>
                    <a:pt x="12039" y="7958"/>
                  </a:lnTo>
                  <a:lnTo>
                    <a:pt x="12039" y="7200"/>
                  </a:lnTo>
                  <a:lnTo>
                    <a:pt x="13810" y="7200"/>
                  </a:lnTo>
                  <a:lnTo>
                    <a:pt x="13810" y="6442"/>
                  </a:lnTo>
                  <a:lnTo>
                    <a:pt x="12393" y="6442"/>
                  </a:lnTo>
                  <a:lnTo>
                    <a:pt x="12393" y="5305"/>
                  </a:lnTo>
                  <a:lnTo>
                    <a:pt x="12039" y="5305"/>
                  </a:lnTo>
                  <a:lnTo>
                    <a:pt x="12039" y="4547"/>
                  </a:lnTo>
                  <a:lnTo>
                    <a:pt x="11331" y="3789"/>
                  </a:lnTo>
                  <a:lnTo>
                    <a:pt x="9915" y="3789"/>
                  </a:lnTo>
                  <a:lnTo>
                    <a:pt x="10623" y="3032"/>
                  </a:lnTo>
                  <a:lnTo>
                    <a:pt x="10623" y="2653"/>
                  </a:lnTo>
                  <a:lnTo>
                    <a:pt x="11331" y="2653"/>
                  </a:lnTo>
                  <a:lnTo>
                    <a:pt x="12039" y="1895"/>
                  </a:lnTo>
                  <a:lnTo>
                    <a:pt x="12039" y="1137"/>
                  </a:lnTo>
                  <a:lnTo>
                    <a:pt x="13102" y="1137"/>
                  </a:lnTo>
                  <a:lnTo>
                    <a:pt x="13102" y="379"/>
                  </a:lnTo>
                  <a:lnTo>
                    <a:pt x="16289" y="379"/>
                  </a:lnTo>
                  <a:lnTo>
                    <a:pt x="16289" y="0"/>
                  </a:lnTo>
                  <a:close/>
                  <a:moveTo>
                    <a:pt x="16289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88" name="AutoShape 40"/>
            <p:cNvSpPr>
              <a:spLocks/>
            </p:cNvSpPr>
            <p:nvPr/>
          </p:nvSpPr>
          <p:spPr bwMode="auto">
            <a:xfrm>
              <a:off x="7918225" y="4716447"/>
              <a:ext cx="156996" cy="163186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0080" y="20291"/>
                  </a:moveTo>
                  <a:lnTo>
                    <a:pt x="11520" y="21600"/>
                  </a:lnTo>
                  <a:lnTo>
                    <a:pt x="10080" y="21600"/>
                  </a:lnTo>
                  <a:lnTo>
                    <a:pt x="10080" y="20291"/>
                  </a:lnTo>
                  <a:close/>
                  <a:moveTo>
                    <a:pt x="6480" y="0"/>
                  </a:moveTo>
                  <a:lnTo>
                    <a:pt x="8640" y="0"/>
                  </a:lnTo>
                  <a:lnTo>
                    <a:pt x="10080" y="1309"/>
                  </a:lnTo>
                  <a:lnTo>
                    <a:pt x="11520" y="1309"/>
                  </a:lnTo>
                  <a:lnTo>
                    <a:pt x="11520" y="1964"/>
                  </a:lnTo>
                  <a:lnTo>
                    <a:pt x="12960" y="1964"/>
                  </a:lnTo>
                  <a:lnTo>
                    <a:pt x="12960" y="3273"/>
                  </a:lnTo>
                  <a:lnTo>
                    <a:pt x="13680" y="3273"/>
                  </a:lnTo>
                  <a:lnTo>
                    <a:pt x="13680" y="4582"/>
                  </a:lnTo>
                  <a:lnTo>
                    <a:pt x="15120" y="4582"/>
                  </a:lnTo>
                  <a:lnTo>
                    <a:pt x="15120" y="5891"/>
                  </a:lnTo>
                  <a:lnTo>
                    <a:pt x="18000" y="5891"/>
                  </a:lnTo>
                  <a:lnTo>
                    <a:pt x="18000" y="6545"/>
                  </a:lnTo>
                  <a:lnTo>
                    <a:pt x="20160" y="6545"/>
                  </a:lnTo>
                  <a:lnTo>
                    <a:pt x="20160" y="7855"/>
                  </a:lnTo>
                  <a:lnTo>
                    <a:pt x="21600" y="7855"/>
                  </a:lnTo>
                  <a:lnTo>
                    <a:pt x="21600" y="9164"/>
                  </a:lnTo>
                  <a:lnTo>
                    <a:pt x="20160" y="9164"/>
                  </a:lnTo>
                  <a:lnTo>
                    <a:pt x="20160" y="10473"/>
                  </a:lnTo>
                  <a:lnTo>
                    <a:pt x="18720" y="10473"/>
                  </a:lnTo>
                  <a:lnTo>
                    <a:pt x="18720" y="9164"/>
                  </a:lnTo>
                  <a:lnTo>
                    <a:pt x="18000" y="9164"/>
                  </a:lnTo>
                  <a:lnTo>
                    <a:pt x="18000" y="13745"/>
                  </a:lnTo>
                  <a:lnTo>
                    <a:pt x="15120" y="13745"/>
                  </a:lnTo>
                  <a:lnTo>
                    <a:pt x="15120" y="11127"/>
                  </a:lnTo>
                  <a:lnTo>
                    <a:pt x="13680" y="11127"/>
                  </a:lnTo>
                  <a:lnTo>
                    <a:pt x="13680" y="13745"/>
                  </a:lnTo>
                  <a:lnTo>
                    <a:pt x="12960" y="13745"/>
                  </a:lnTo>
                  <a:lnTo>
                    <a:pt x="12960" y="15055"/>
                  </a:lnTo>
                  <a:lnTo>
                    <a:pt x="11520" y="15055"/>
                  </a:lnTo>
                  <a:lnTo>
                    <a:pt x="11520" y="15709"/>
                  </a:lnTo>
                  <a:lnTo>
                    <a:pt x="10080" y="17018"/>
                  </a:lnTo>
                  <a:lnTo>
                    <a:pt x="10080" y="18327"/>
                  </a:lnTo>
                  <a:lnTo>
                    <a:pt x="11520" y="18327"/>
                  </a:lnTo>
                  <a:lnTo>
                    <a:pt x="11520" y="20291"/>
                  </a:lnTo>
                  <a:lnTo>
                    <a:pt x="7920" y="20291"/>
                  </a:lnTo>
                  <a:lnTo>
                    <a:pt x="7920" y="18327"/>
                  </a:lnTo>
                  <a:lnTo>
                    <a:pt x="6480" y="18327"/>
                  </a:lnTo>
                  <a:lnTo>
                    <a:pt x="5040" y="17018"/>
                  </a:lnTo>
                  <a:lnTo>
                    <a:pt x="3600" y="17018"/>
                  </a:lnTo>
                  <a:lnTo>
                    <a:pt x="3600" y="15709"/>
                  </a:lnTo>
                  <a:lnTo>
                    <a:pt x="2880" y="15709"/>
                  </a:lnTo>
                  <a:lnTo>
                    <a:pt x="2880" y="15055"/>
                  </a:lnTo>
                  <a:lnTo>
                    <a:pt x="3600" y="15055"/>
                  </a:lnTo>
                  <a:lnTo>
                    <a:pt x="3600" y="13745"/>
                  </a:lnTo>
                  <a:lnTo>
                    <a:pt x="1440" y="13745"/>
                  </a:lnTo>
                  <a:lnTo>
                    <a:pt x="1440" y="11127"/>
                  </a:lnTo>
                  <a:lnTo>
                    <a:pt x="2880" y="11127"/>
                  </a:lnTo>
                  <a:lnTo>
                    <a:pt x="2880" y="10473"/>
                  </a:lnTo>
                  <a:lnTo>
                    <a:pt x="1440" y="10473"/>
                  </a:lnTo>
                  <a:lnTo>
                    <a:pt x="1440" y="7855"/>
                  </a:lnTo>
                  <a:lnTo>
                    <a:pt x="0" y="7855"/>
                  </a:lnTo>
                  <a:lnTo>
                    <a:pt x="0" y="5891"/>
                  </a:lnTo>
                  <a:lnTo>
                    <a:pt x="2880" y="5891"/>
                  </a:lnTo>
                  <a:lnTo>
                    <a:pt x="2880" y="3273"/>
                  </a:lnTo>
                  <a:lnTo>
                    <a:pt x="3600" y="3273"/>
                  </a:lnTo>
                  <a:lnTo>
                    <a:pt x="3600" y="1964"/>
                  </a:lnTo>
                  <a:lnTo>
                    <a:pt x="6480" y="1964"/>
                  </a:lnTo>
                  <a:lnTo>
                    <a:pt x="6480" y="3273"/>
                  </a:lnTo>
                  <a:lnTo>
                    <a:pt x="7920" y="3273"/>
                  </a:lnTo>
                  <a:lnTo>
                    <a:pt x="7920" y="1309"/>
                  </a:lnTo>
                  <a:lnTo>
                    <a:pt x="6480" y="1309"/>
                  </a:lnTo>
                  <a:lnTo>
                    <a:pt x="6480" y="0"/>
                  </a:lnTo>
                  <a:close/>
                  <a:moveTo>
                    <a:pt x="6480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89" name="AutoShape 41"/>
            <p:cNvSpPr>
              <a:spLocks/>
            </p:cNvSpPr>
            <p:nvPr/>
          </p:nvSpPr>
          <p:spPr bwMode="auto">
            <a:xfrm>
              <a:off x="8600226" y="4234946"/>
              <a:ext cx="292045" cy="302197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0" y="708"/>
                  </a:moveTo>
                  <a:lnTo>
                    <a:pt x="771" y="708"/>
                  </a:lnTo>
                  <a:lnTo>
                    <a:pt x="771" y="1416"/>
                  </a:lnTo>
                  <a:lnTo>
                    <a:pt x="0" y="1416"/>
                  </a:lnTo>
                  <a:lnTo>
                    <a:pt x="0" y="708"/>
                  </a:lnTo>
                  <a:close/>
                  <a:moveTo>
                    <a:pt x="3471" y="0"/>
                  </a:moveTo>
                  <a:lnTo>
                    <a:pt x="4243" y="0"/>
                  </a:lnTo>
                  <a:lnTo>
                    <a:pt x="4243" y="708"/>
                  </a:lnTo>
                  <a:lnTo>
                    <a:pt x="4629" y="708"/>
                  </a:lnTo>
                  <a:lnTo>
                    <a:pt x="4629" y="0"/>
                  </a:lnTo>
                  <a:lnTo>
                    <a:pt x="6943" y="0"/>
                  </a:lnTo>
                  <a:lnTo>
                    <a:pt x="6943" y="708"/>
                  </a:lnTo>
                  <a:lnTo>
                    <a:pt x="8871" y="708"/>
                  </a:lnTo>
                  <a:lnTo>
                    <a:pt x="8871" y="1416"/>
                  </a:lnTo>
                  <a:lnTo>
                    <a:pt x="10029" y="1416"/>
                  </a:lnTo>
                  <a:lnTo>
                    <a:pt x="10029" y="1770"/>
                  </a:lnTo>
                  <a:lnTo>
                    <a:pt x="10800" y="1770"/>
                  </a:lnTo>
                  <a:lnTo>
                    <a:pt x="10800" y="2479"/>
                  </a:lnTo>
                  <a:lnTo>
                    <a:pt x="11571" y="2479"/>
                  </a:lnTo>
                  <a:lnTo>
                    <a:pt x="11571" y="1770"/>
                  </a:lnTo>
                  <a:lnTo>
                    <a:pt x="12343" y="1770"/>
                  </a:lnTo>
                  <a:lnTo>
                    <a:pt x="12343" y="2479"/>
                  </a:lnTo>
                  <a:lnTo>
                    <a:pt x="13500" y="2479"/>
                  </a:lnTo>
                  <a:lnTo>
                    <a:pt x="13500" y="3187"/>
                  </a:lnTo>
                  <a:lnTo>
                    <a:pt x="14271" y="3187"/>
                  </a:lnTo>
                  <a:lnTo>
                    <a:pt x="14271" y="3895"/>
                  </a:lnTo>
                  <a:lnTo>
                    <a:pt x="15043" y="3895"/>
                  </a:lnTo>
                  <a:lnTo>
                    <a:pt x="15043" y="3187"/>
                  </a:lnTo>
                  <a:lnTo>
                    <a:pt x="15429" y="3187"/>
                  </a:lnTo>
                  <a:lnTo>
                    <a:pt x="16200" y="3895"/>
                  </a:lnTo>
                  <a:lnTo>
                    <a:pt x="16200" y="6374"/>
                  </a:lnTo>
                  <a:lnTo>
                    <a:pt x="15429" y="6374"/>
                  </a:lnTo>
                  <a:lnTo>
                    <a:pt x="15429" y="7436"/>
                  </a:lnTo>
                  <a:lnTo>
                    <a:pt x="16971" y="7436"/>
                  </a:lnTo>
                  <a:lnTo>
                    <a:pt x="16971" y="8144"/>
                  </a:lnTo>
                  <a:lnTo>
                    <a:pt x="18129" y="8144"/>
                  </a:lnTo>
                  <a:lnTo>
                    <a:pt x="18129" y="9915"/>
                  </a:lnTo>
                  <a:lnTo>
                    <a:pt x="18900" y="9915"/>
                  </a:lnTo>
                  <a:lnTo>
                    <a:pt x="18900" y="11331"/>
                  </a:lnTo>
                  <a:lnTo>
                    <a:pt x="20057" y="11331"/>
                  </a:lnTo>
                  <a:lnTo>
                    <a:pt x="20057" y="11685"/>
                  </a:lnTo>
                  <a:lnTo>
                    <a:pt x="20829" y="11685"/>
                  </a:lnTo>
                  <a:lnTo>
                    <a:pt x="20829" y="14164"/>
                  </a:lnTo>
                  <a:lnTo>
                    <a:pt x="21600" y="14164"/>
                  </a:lnTo>
                  <a:lnTo>
                    <a:pt x="21600" y="14872"/>
                  </a:lnTo>
                  <a:lnTo>
                    <a:pt x="20057" y="14872"/>
                  </a:lnTo>
                  <a:lnTo>
                    <a:pt x="20057" y="14164"/>
                  </a:lnTo>
                  <a:lnTo>
                    <a:pt x="19671" y="14872"/>
                  </a:lnTo>
                  <a:lnTo>
                    <a:pt x="18129" y="14872"/>
                  </a:lnTo>
                  <a:lnTo>
                    <a:pt x="18129" y="14164"/>
                  </a:lnTo>
                  <a:lnTo>
                    <a:pt x="16971" y="14164"/>
                  </a:lnTo>
                  <a:lnTo>
                    <a:pt x="16971" y="14872"/>
                  </a:lnTo>
                  <a:lnTo>
                    <a:pt x="16200" y="14872"/>
                  </a:lnTo>
                  <a:lnTo>
                    <a:pt x="16200" y="13810"/>
                  </a:lnTo>
                  <a:lnTo>
                    <a:pt x="15429" y="13810"/>
                  </a:lnTo>
                  <a:lnTo>
                    <a:pt x="15043" y="14164"/>
                  </a:lnTo>
                  <a:lnTo>
                    <a:pt x="14271" y="14164"/>
                  </a:lnTo>
                  <a:lnTo>
                    <a:pt x="14271" y="14872"/>
                  </a:lnTo>
                  <a:lnTo>
                    <a:pt x="15043" y="14872"/>
                  </a:lnTo>
                  <a:lnTo>
                    <a:pt x="15043" y="15580"/>
                  </a:lnTo>
                  <a:lnTo>
                    <a:pt x="14271" y="15580"/>
                  </a:lnTo>
                  <a:lnTo>
                    <a:pt x="14271" y="16289"/>
                  </a:lnTo>
                  <a:lnTo>
                    <a:pt x="15043" y="16289"/>
                  </a:lnTo>
                  <a:lnTo>
                    <a:pt x="15043" y="16643"/>
                  </a:lnTo>
                  <a:lnTo>
                    <a:pt x="14271" y="16643"/>
                  </a:lnTo>
                  <a:lnTo>
                    <a:pt x="14271" y="18059"/>
                  </a:lnTo>
                  <a:lnTo>
                    <a:pt x="13500" y="18059"/>
                  </a:lnTo>
                  <a:lnTo>
                    <a:pt x="13500" y="18767"/>
                  </a:lnTo>
                  <a:lnTo>
                    <a:pt x="12729" y="18767"/>
                  </a:lnTo>
                  <a:lnTo>
                    <a:pt x="12729" y="19121"/>
                  </a:lnTo>
                  <a:lnTo>
                    <a:pt x="12343" y="19121"/>
                  </a:lnTo>
                  <a:lnTo>
                    <a:pt x="12343" y="19830"/>
                  </a:lnTo>
                  <a:lnTo>
                    <a:pt x="11571" y="19830"/>
                  </a:lnTo>
                  <a:lnTo>
                    <a:pt x="11571" y="20538"/>
                  </a:lnTo>
                  <a:lnTo>
                    <a:pt x="10800" y="20538"/>
                  </a:lnTo>
                  <a:lnTo>
                    <a:pt x="10029" y="20892"/>
                  </a:lnTo>
                  <a:lnTo>
                    <a:pt x="10029" y="21600"/>
                  </a:lnTo>
                  <a:lnTo>
                    <a:pt x="9643" y="21600"/>
                  </a:lnTo>
                  <a:lnTo>
                    <a:pt x="9643" y="18059"/>
                  </a:lnTo>
                  <a:lnTo>
                    <a:pt x="8871" y="18059"/>
                  </a:lnTo>
                  <a:lnTo>
                    <a:pt x="8871" y="17351"/>
                  </a:lnTo>
                  <a:lnTo>
                    <a:pt x="9643" y="17351"/>
                  </a:lnTo>
                  <a:lnTo>
                    <a:pt x="9643" y="15580"/>
                  </a:lnTo>
                  <a:lnTo>
                    <a:pt x="10029" y="15580"/>
                  </a:lnTo>
                  <a:lnTo>
                    <a:pt x="10029" y="12393"/>
                  </a:lnTo>
                  <a:lnTo>
                    <a:pt x="9643" y="12393"/>
                  </a:lnTo>
                  <a:lnTo>
                    <a:pt x="9643" y="11331"/>
                  </a:lnTo>
                  <a:lnTo>
                    <a:pt x="8871" y="10623"/>
                  </a:lnTo>
                  <a:lnTo>
                    <a:pt x="8871" y="9915"/>
                  </a:lnTo>
                  <a:lnTo>
                    <a:pt x="8100" y="9915"/>
                  </a:lnTo>
                  <a:lnTo>
                    <a:pt x="8100" y="9207"/>
                  </a:lnTo>
                  <a:lnTo>
                    <a:pt x="7329" y="9207"/>
                  </a:lnTo>
                  <a:lnTo>
                    <a:pt x="7329" y="8852"/>
                  </a:lnTo>
                  <a:lnTo>
                    <a:pt x="6943" y="8852"/>
                  </a:lnTo>
                  <a:lnTo>
                    <a:pt x="6943" y="8144"/>
                  </a:lnTo>
                  <a:lnTo>
                    <a:pt x="6171" y="8144"/>
                  </a:lnTo>
                  <a:lnTo>
                    <a:pt x="6171" y="7436"/>
                  </a:lnTo>
                  <a:lnTo>
                    <a:pt x="5400" y="7436"/>
                  </a:lnTo>
                  <a:lnTo>
                    <a:pt x="5400" y="6728"/>
                  </a:lnTo>
                  <a:lnTo>
                    <a:pt x="4629" y="6728"/>
                  </a:lnTo>
                  <a:lnTo>
                    <a:pt x="4629" y="5666"/>
                  </a:lnTo>
                  <a:lnTo>
                    <a:pt x="4243" y="5666"/>
                  </a:lnTo>
                  <a:lnTo>
                    <a:pt x="4243" y="3895"/>
                  </a:lnTo>
                  <a:lnTo>
                    <a:pt x="3471" y="3895"/>
                  </a:lnTo>
                  <a:lnTo>
                    <a:pt x="3471" y="2479"/>
                  </a:lnTo>
                  <a:lnTo>
                    <a:pt x="2700" y="2479"/>
                  </a:lnTo>
                  <a:lnTo>
                    <a:pt x="2700" y="1770"/>
                  </a:lnTo>
                  <a:lnTo>
                    <a:pt x="1543" y="1770"/>
                  </a:lnTo>
                  <a:lnTo>
                    <a:pt x="1543" y="1416"/>
                  </a:lnTo>
                  <a:lnTo>
                    <a:pt x="771" y="1416"/>
                  </a:lnTo>
                  <a:lnTo>
                    <a:pt x="1543" y="708"/>
                  </a:lnTo>
                  <a:lnTo>
                    <a:pt x="3471" y="708"/>
                  </a:lnTo>
                  <a:lnTo>
                    <a:pt x="3471" y="0"/>
                  </a:lnTo>
                  <a:close/>
                  <a:moveTo>
                    <a:pt x="3471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90" name="Freeform 42"/>
            <p:cNvSpPr>
              <a:spLocks/>
            </p:cNvSpPr>
            <p:nvPr/>
          </p:nvSpPr>
          <p:spPr bwMode="auto">
            <a:xfrm>
              <a:off x="8090414" y="4835311"/>
              <a:ext cx="212703" cy="136996"/>
            </a:xfrm>
            <a:custGeom>
              <a:avLst/>
              <a:gdLst/>
              <a:ahLst/>
              <a:cxnLst>
                <a:cxn ang="0">
                  <a:pos x="10537" y="0"/>
                </a:cxn>
                <a:cxn ang="0">
                  <a:pos x="15805" y="0"/>
                </a:cxn>
                <a:cxn ang="0">
                  <a:pos x="15805" y="1543"/>
                </a:cxn>
                <a:cxn ang="0">
                  <a:pos x="16859" y="1543"/>
                </a:cxn>
                <a:cxn ang="0">
                  <a:pos x="16859" y="3086"/>
                </a:cxn>
                <a:cxn ang="0">
                  <a:pos x="17912" y="3086"/>
                </a:cxn>
                <a:cxn ang="0">
                  <a:pos x="18439" y="4629"/>
                </a:cxn>
                <a:cxn ang="0">
                  <a:pos x="20546" y="4629"/>
                </a:cxn>
                <a:cxn ang="0">
                  <a:pos x="20546" y="8486"/>
                </a:cxn>
                <a:cxn ang="0">
                  <a:pos x="21600" y="8486"/>
                </a:cxn>
                <a:cxn ang="0">
                  <a:pos x="21600" y="10029"/>
                </a:cxn>
                <a:cxn ang="0">
                  <a:pos x="20546" y="10029"/>
                </a:cxn>
                <a:cxn ang="0">
                  <a:pos x="20546" y="12343"/>
                </a:cxn>
                <a:cxn ang="0">
                  <a:pos x="21600" y="12343"/>
                </a:cxn>
                <a:cxn ang="0">
                  <a:pos x="21600" y="13886"/>
                </a:cxn>
                <a:cxn ang="0">
                  <a:pos x="19493" y="13886"/>
                </a:cxn>
                <a:cxn ang="0">
                  <a:pos x="19493" y="16200"/>
                </a:cxn>
                <a:cxn ang="0">
                  <a:pos x="17912" y="16200"/>
                </a:cxn>
                <a:cxn ang="0">
                  <a:pos x="17912" y="17743"/>
                </a:cxn>
                <a:cxn ang="0">
                  <a:pos x="16859" y="16200"/>
                </a:cxn>
                <a:cxn ang="0">
                  <a:pos x="13171" y="16200"/>
                </a:cxn>
                <a:cxn ang="0">
                  <a:pos x="12117" y="17743"/>
                </a:cxn>
                <a:cxn ang="0">
                  <a:pos x="12117" y="19286"/>
                </a:cxn>
                <a:cxn ang="0">
                  <a:pos x="11063" y="19286"/>
                </a:cxn>
                <a:cxn ang="0">
                  <a:pos x="11063" y="20829"/>
                </a:cxn>
                <a:cxn ang="0">
                  <a:pos x="9483" y="20829"/>
                </a:cxn>
                <a:cxn ang="0">
                  <a:pos x="9483" y="21600"/>
                </a:cxn>
                <a:cxn ang="0">
                  <a:pos x="8429" y="21600"/>
                </a:cxn>
                <a:cxn ang="0">
                  <a:pos x="8429" y="20829"/>
                </a:cxn>
                <a:cxn ang="0">
                  <a:pos x="7376" y="20829"/>
                </a:cxn>
                <a:cxn ang="0">
                  <a:pos x="7376" y="21600"/>
                </a:cxn>
                <a:cxn ang="0">
                  <a:pos x="3688" y="21600"/>
                </a:cxn>
                <a:cxn ang="0">
                  <a:pos x="3688" y="20829"/>
                </a:cxn>
                <a:cxn ang="0">
                  <a:pos x="2107" y="20829"/>
                </a:cxn>
                <a:cxn ang="0">
                  <a:pos x="2107" y="19286"/>
                </a:cxn>
                <a:cxn ang="0">
                  <a:pos x="1054" y="19286"/>
                </a:cxn>
                <a:cxn ang="0">
                  <a:pos x="1054" y="17743"/>
                </a:cxn>
                <a:cxn ang="0">
                  <a:pos x="0" y="17743"/>
                </a:cxn>
                <a:cxn ang="0">
                  <a:pos x="0" y="13886"/>
                </a:cxn>
                <a:cxn ang="0">
                  <a:pos x="1054" y="13886"/>
                </a:cxn>
                <a:cxn ang="0">
                  <a:pos x="1054" y="12343"/>
                </a:cxn>
                <a:cxn ang="0">
                  <a:pos x="0" y="12343"/>
                </a:cxn>
                <a:cxn ang="0">
                  <a:pos x="0" y="10800"/>
                </a:cxn>
                <a:cxn ang="0">
                  <a:pos x="1054" y="10800"/>
                </a:cxn>
                <a:cxn ang="0">
                  <a:pos x="1054" y="10029"/>
                </a:cxn>
                <a:cxn ang="0">
                  <a:pos x="0" y="10029"/>
                </a:cxn>
                <a:cxn ang="0">
                  <a:pos x="0" y="8486"/>
                </a:cxn>
                <a:cxn ang="0">
                  <a:pos x="1054" y="8486"/>
                </a:cxn>
                <a:cxn ang="0">
                  <a:pos x="1054" y="6943"/>
                </a:cxn>
                <a:cxn ang="0">
                  <a:pos x="2107" y="6943"/>
                </a:cxn>
                <a:cxn ang="0">
                  <a:pos x="2107" y="4629"/>
                </a:cxn>
                <a:cxn ang="0">
                  <a:pos x="3161" y="4629"/>
                </a:cxn>
                <a:cxn ang="0">
                  <a:pos x="3161" y="3086"/>
                </a:cxn>
                <a:cxn ang="0">
                  <a:pos x="3688" y="3086"/>
                </a:cxn>
                <a:cxn ang="0">
                  <a:pos x="3688" y="1543"/>
                </a:cxn>
                <a:cxn ang="0">
                  <a:pos x="5795" y="1543"/>
                </a:cxn>
                <a:cxn ang="0">
                  <a:pos x="5795" y="3086"/>
                </a:cxn>
                <a:cxn ang="0">
                  <a:pos x="6849" y="3086"/>
                </a:cxn>
                <a:cxn ang="0">
                  <a:pos x="6849" y="1543"/>
                </a:cxn>
                <a:cxn ang="0">
                  <a:pos x="10537" y="1543"/>
                </a:cxn>
                <a:cxn ang="0">
                  <a:pos x="10537" y="0"/>
                </a:cxn>
                <a:cxn ang="0">
                  <a:pos x="10537" y="0"/>
                </a:cxn>
              </a:cxnLst>
              <a:rect l="0" t="0" r="r" b="b"/>
              <a:pathLst>
                <a:path w="21600" h="21600">
                  <a:moveTo>
                    <a:pt x="10537" y="0"/>
                  </a:moveTo>
                  <a:lnTo>
                    <a:pt x="15805" y="0"/>
                  </a:lnTo>
                  <a:lnTo>
                    <a:pt x="15805" y="1543"/>
                  </a:lnTo>
                  <a:lnTo>
                    <a:pt x="16859" y="1543"/>
                  </a:lnTo>
                  <a:lnTo>
                    <a:pt x="16859" y="3086"/>
                  </a:lnTo>
                  <a:lnTo>
                    <a:pt x="17912" y="3086"/>
                  </a:lnTo>
                  <a:lnTo>
                    <a:pt x="18439" y="4629"/>
                  </a:lnTo>
                  <a:lnTo>
                    <a:pt x="20546" y="4629"/>
                  </a:lnTo>
                  <a:lnTo>
                    <a:pt x="20546" y="8486"/>
                  </a:lnTo>
                  <a:lnTo>
                    <a:pt x="21600" y="8486"/>
                  </a:lnTo>
                  <a:lnTo>
                    <a:pt x="21600" y="10029"/>
                  </a:lnTo>
                  <a:lnTo>
                    <a:pt x="20546" y="10029"/>
                  </a:lnTo>
                  <a:lnTo>
                    <a:pt x="20546" y="12343"/>
                  </a:lnTo>
                  <a:lnTo>
                    <a:pt x="21600" y="12343"/>
                  </a:lnTo>
                  <a:lnTo>
                    <a:pt x="21600" y="13886"/>
                  </a:lnTo>
                  <a:lnTo>
                    <a:pt x="19493" y="13886"/>
                  </a:lnTo>
                  <a:lnTo>
                    <a:pt x="19493" y="16200"/>
                  </a:lnTo>
                  <a:lnTo>
                    <a:pt x="17912" y="16200"/>
                  </a:lnTo>
                  <a:lnTo>
                    <a:pt x="17912" y="17743"/>
                  </a:lnTo>
                  <a:lnTo>
                    <a:pt x="16859" y="16200"/>
                  </a:lnTo>
                  <a:lnTo>
                    <a:pt x="13171" y="16200"/>
                  </a:lnTo>
                  <a:lnTo>
                    <a:pt x="12117" y="17743"/>
                  </a:lnTo>
                  <a:lnTo>
                    <a:pt x="12117" y="19286"/>
                  </a:lnTo>
                  <a:lnTo>
                    <a:pt x="11063" y="19286"/>
                  </a:lnTo>
                  <a:lnTo>
                    <a:pt x="11063" y="20829"/>
                  </a:lnTo>
                  <a:lnTo>
                    <a:pt x="9483" y="20829"/>
                  </a:lnTo>
                  <a:lnTo>
                    <a:pt x="9483" y="21600"/>
                  </a:lnTo>
                  <a:lnTo>
                    <a:pt x="8429" y="21600"/>
                  </a:lnTo>
                  <a:lnTo>
                    <a:pt x="8429" y="20829"/>
                  </a:lnTo>
                  <a:lnTo>
                    <a:pt x="7376" y="20829"/>
                  </a:lnTo>
                  <a:lnTo>
                    <a:pt x="7376" y="21600"/>
                  </a:lnTo>
                  <a:lnTo>
                    <a:pt x="3688" y="21600"/>
                  </a:lnTo>
                  <a:lnTo>
                    <a:pt x="3688" y="20829"/>
                  </a:lnTo>
                  <a:lnTo>
                    <a:pt x="2107" y="20829"/>
                  </a:lnTo>
                  <a:lnTo>
                    <a:pt x="2107" y="19286"/>
                  </a:lnTo>
                  <a:lnTo>
                    <a:pt x="1054" y="19286"/>
                  </a:lnTo>
                  <a:lnTo>
                    <a:pt x="1054" y="17743"/>
                  </a:lnTo>
                  <a:lnTo>
                    <a:pt x="0" y="17743"/>
                  </a:lnTo>
                  <a:lnTo>
                    <a:pt x="0" y="13886"/>
                  </a:lnTo>
                  <a:lnTo>
                    <a:pt x="1054" y="13886"/>
                  </a:lnTo>
                  <a:lnTo>
                    <a:pt x="1054" y="12343"/>
                  </a:lnTo>
                  <a:lnTo>
                    <a:pt x="0" y="12343"/>
                  </a:lnTo>
                  <a:lnTo>
                    <a:pt x="0" y="10800"/>
                  </a:lnTo>
                  <a:lnTo>
                    <a:pt x="1054" y="10800"/>
                  </a:lnTo>
                  <a:lnTo>
                    <a:pt x="1054" y="10029"/>
                  </a:lnTo>
                  <a:lnTo>
                    <a:pt x="0" y="10029"/>
                  </a:lnTo>
                  <a:lnTo>
                    <a:pt x="0" y="8486"/>
                  </a:lnTo>
                  <a:lnTo>
                    <a:pt x="1054" y="8486"/>
                  </a:lnTo>
                  <a:lnTo>
                    <a:pt x="1054" y="6943"/>
                  </a:lnTo>
                  <a:lnTo>
                    <a:pt x="2107" y="6943"/>
                  </a:lnTo>
                  <a:lnTo>
                    <a:pt x="2107" y="4629"/>
                  </a:lnTo>
                  <a:lnTo>
                    <a:pt x="3161" y="4629"/>
                  </a:lnTo>
                  <a:lnTo>
                    <a:pt x="3161" y="3086"/>
                  </a:lnTo>
                  <a:lnTo>
                    <a:pt x="3688" y="3086"/>
                  </a:lnTo>
                  <a:lnTo>
                    <a:pt x="3688" y="1543"/>
                  </a:lnTo>
                  <a:lnTo>
                    <a:pt x="5795" y="1543"/>
                  </a:lnTo>
                  <a:lnTo>
                    <a:pt x="5795" y="3086"/>
                  </a:lnTo>
                  <a:lnTo>
                    <a:pt x="6849" y="3086"/>
                  </a:lnTo>
                  <a:lnTo>
                    <a:pt x="6849" y="1543"/>
                  </a:lnTo>
                  <a:lnTo>
                    <a:pt x="10537" y="1543"/>
                  </a:lnTo>
                  <a:lnTo>
                    <a:pt x="10537" y="0"/>
                  </a:lnTo>
                  <a:close/>
                  <a:moveTo>
                    <a:pt x="10537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91" name="Freeform 43"/>
            <p:cNvSpPr>
              <a:spLocks/>
            </p:cNvSpPr>
            <p:nvPr/>
          </p:nvSpPr>
          <p:spPr bwMode="auto">
            <a:xfrm>
              <a:off x="6869903" y="4053628"/>
              <a:ext cx="52331" cy="68498"/>
            </a:xfrm>
            <a:custGeom>
              <a:avLst/>
              <a:gdLst/>
              <a:ahLst/>
              <a:cxnLst>
                <a:cxn ang="0">
                  <a:pos x="6480" y="0"/>
                </a:cxn>
                <a:cxn ang="0">
                  <a:pos x="6480" y="3086"/>
                </a:cxn>
                <a:cxn ang="0">
                  <a:pos x="10800" y="3086"/>
                </a:cxn>
                <a:cxn ang="0">
                  <a:pos x="10800" y="9257"/>
                </a:cxn>
                <a:cxn ang="0">
                  <a:pos x="15120" y="9257"/>
                </a:cxn>
                <a:cxn ang="0">
                  <a:pos x="15120" y="10800"/>
                </a:cxn>
                <a:cxn ang="0">
                  <a:pos x="17280" y="10800"/>
                </a:cxn>
                <a:cxn ang="0">
                  <a:pos x="17280" y="13886"/>
                </a:cxn>
                <a:cxn ang="0">
                  <a:pos x="21600" y="13886"/>
                </a:cxn>
                <a:cxn ang="0">
                  <a:pos x="21600" y="20057"/>
                </a:cxn>
                <a:cxn ang="0">
                  <a:pos x="17280" y="20057"/>
                </a:cxn>
                <a:cxn ang="0">
                  <a:pos x="17280" y="21600"/>
                </a:cxn>
                <a:cxn ang="0">
                  <a:pos x="2160" y="21600"/>
                </a:cxn>
                <a:cxn ang="0">
                  <a:pos x="2160" y="13886"/>
                </a:cxn>
                <a:cxn ang="0">
                  <a:pos x="0" y="13886"/>
                </a:cxn>
                <a:cxn ang="0">
                  <a:pos x="0" y="9257"/>
                </a:cxn>
                <a:cxn ang="0">
                  <a:pos x="2160" y="6171"/>
                </a:cxn>
                <a:cxn ang="0">
                  <a:pos x="2160" y="3086"/>
                </a:cxn>
                <a:cxn ang="0">
                  <a:pos x="6480" y="0"/>
                </a:cxn>
                <a:cxn ang="0">
                  <a:pos x="6480" y="0"/>
                </a:cxn>
              </a:cxnLst>
              <a:rect l="0" t="0" r="r" b="b"/>
              <a:pathLst>
                <a:path w="21600" h="21600">
                  <a:moveTo>
                    <a:pt x="6480" y="0"/>
                  </a:moveTo>
                  <a:lnTo>
                    <a:pt x="6480" y="3086"/>
                  </a:lnTo>
                  <a:lnTo>
                    <a:pt x="10800" y="3086"/>
                  </a:lnTo>
                  <a:lnTo>
                    <a:pt x="10800" y="9257"/>
                  </a:lnTo>
                  <a:lnTo>
                    <a:pt x="15120" y="9257"/>
                  </a:lnTo>
                  <a:lnTo>
                    <a:pt x="15120" y="10800"/>
                  </a:lnTo>
                  <a:lnTo>
                    <a:pt x="17280" y="10800"/>
                  </a:lnTo>
                  <a:lnTo>
                    <a:pt x="17280" y="13886"/>
                  </a:lnTo>
                  <a:lnTo>
                    <a:pt x="21600" y="13886"/>
                  </a:lnTo>
                  <a:lnTo>
                    <a:pt x="21600" y="20057"/>
                  </a:lnTo>
                  <a:lnTo>
                    <a:pt x="17280" y="20057"/>
                  </a:lnTo>
                  <a:lnTo>
                    <a:pt x="17280" y="21600"/>
                  </a:lnTo>
                  <a:lnTo>
                    <a:pt x="2160" y="21600"/>
                  </a:lnTo>
                  <a:lnTo>
                    <a:pt x="2160" y="13886"/>
                  </a:lnTo>
                  <a:lnTo>
                    <a:pt x="0" y="13886"/>
                  </a:lnTo>
                  <a:lnTo>
                    <a:pt x="0" y="9257"/>
                  </a:lnTo>
                  <a:lnTo>
                    <a:pt x="2160" y="6171"/>
                  </a:lnTo>
                  <a:lnTo>
                    <a:pt x="2160" y="3086"/>
                  </a:lnTo>
                  <a:lnTo>
                    <a:pt x="6480" y="0"/>
                  </a:lnTo>
                  <a:close/>
                  <a:moveTo>
                    <a:pt x="648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92" name="AutoShape 44"/>
            <p:cNvSpPr>
              <a:spLocks/>
            </p:cNvSpPr>
            <p:nvPr/>
          </p:nvSpPr>
          <p:spPr bwMode="auto">
            <a:xfrm>
              <a:off x="8127552" y="3386780"/>
              <a:ext cx="482802" cy="282051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465" y="8566"/>
                  </a:moveTo>
                  <a:lnTo>
                    <a:pt x="465" y="9310"/>
                  </a:lnTo>
                  <a:lnTo>
                    <a:pt x="0" y="10055"/>
                  </a:lnTo>
                  <a:lnTo>
                    <a:pt x="465" y="8566"/>
                  </a:lnTo>
                  <a:close/>
                  <a:moveTo>
                    <a:pt x="4181" y="0"/>
                  </a:moveTo>
                  <a:lnTo>
                    <a:pt x="5342" y="0"/>
                  </a:lnTo>
                  <a:lnTo>
                    <a:pt x="5806" y="745"/>
                  </a:lnTo>
                  <a:lnTo>
                    <a:pt x="6968" y="745"/>
                  </a:lnTo>
                  <a:lnTo>
                    <a:pt x="6968" y="0"/>
                  </a:lnTo>
                  <a:lnTo>
                    <a:pt x="7432" y="0"/>
                  </a:lnTo>
                  <a:lnTo>
                    <a:pt x="7432" y="745"/>
                  </a:lnTo>
                  <a:lnTo>
                    <a:pt x="7897" y="745"/>
                  </a:lnTo>
                  <a:lnTo>
                    <a:pt x="7897" y="1490"/>
                  </a:lnTo>
                  <a:lnTo>
                    <a:pt x="8129" y="1490"/>
                  </a:lnTo>
                  <a:lnTo>
                    <a:pt x="8129" y="745"/>
                  </a:lnTo>
                  <a:lnTo>
                    <a:pt x="11381" y="745"/>
                  </a:lnTo>
                  <a:lnTo>
                    <a:pt x="11381" y="1490"/>
                  </a:lnTo>
                  <a:lnTo>
                    <a:pt x="13006" y="1490"/>
                  </a:lnTo>
                  <a:lnTo>
                    <a:pt x="13006" y="2234"/>
                  </a:lnTo>
                  <a:lnTo>
                    <a:pt x="13471" y="2234"/>
                  </a:lnTo>
                  <a:lnTo>
                    <a:pt x="13471" y="745"/>
                  </a:lnTo>
                  <a:lnTo>
                    <a:pt x="14168" y="745"/>
                  </a:lnTo>
                  <a:lnTo>
                    <a:pt x="14168" y="0"/>
                  </a:lnTo>
                  <a:lnTo>
                    <a:pt x="15097" y="0"/>
                  </a:lnTo>
                  <a:lnTo>
                    <a:pt x="15097" y="1490"/>
                  </a:lnTo>
                  <a:lnTo>
                    <a:pt x="15561" y="1490"/>
                  </a:lnTo>
                  <a:lnTo>
                    <a:pt x="15561" y="2234"/>
                  </a:lnTo>
                  <a:lnTo>
                    <a:pt x="17419" y="2234"/>
                  </a:lnTo>
                  <a:lnTo>
                    <a:pt x="17419" y="2607"/>
                  </a:lnTo>
                  <a:lnTo>
                    <a:pt x="17884" y="3352"/>
                  </a:lnTo>
                  <a:lnTo>
                    <a:pt x="18348" y="3352"/>
                  </a:lnTo>
                  <a:lnTo>
                    <a:pt x="18348" y="4097"/>
                  </a:lnTo>
                  <a:lnTo>
                    <a:pt x="18813" y="4097"/>
                  </a:lnTo>
                  <a:lnTo>
                    <a:pt x="19045" y="4841"/>
                  </a:lnTo>
                  <a:lnTo>
                    <a:pt x="19510" y="4841"/>
                  </a:lnTo>
                  <a:lnTo>
                    <a:pt x="19510" y="5214"/>
                  </a:lnTo>
                  <a:lnTo>
                    <a:pt x="19974" y="5214"/>
                  </a:lnTo>
                  <a:lnTo>
                    <a:pt x="20439" y="5959"/>
                  </a:lnTo>
                  <a:lnTo>
                    <a:pt x="20439" y="6703"/>
                  </a:lnTo>
                  <a:lnTo>
                    <a:pt x="21135" y="6703"/>
                  </a:lnTo>
                  <a:lnTo>
                    <a:pt x="21135" y="7821"/>
                  </a:lnTo>
                  <a:lnTo>
                    <a:pt x="20671" y="7821"/>
                  </a:lnTo>
                  <a:lnTo>
                    <a:pt x="20671" y="10055"/>
                  </a:lnTo>
                  <a:lnTo>
                    <a:pt x="21600" y="10055"/>
                  </a:lnTo>
                  <a:lnTo>
                    <a:pt x="21600" y="10428"/>
                  </a:lnTo>
                  <a:lnTo>
                    <a:pt x="20671" y="10428"/>
                  </a:lnTo>
                  <a:lnTo>
                    <a:pt x="20671" y="11172"/>
                  </a:lnTo>
                  <a:lnTo>
                    <a:pt x="20439" y="11172"/>
                  </a:lnTo>
                  <a:lnTo>
                    <a:pt x="20439" y="11917"/>
                  </a:lnTo>
                  <a:lnTo>
                    <a:pt x="19510" y="11917"/>
                  </a:lnTo>
                  <a:lnTo>
                    <a:pt x="19510" y="12662"/>
                  </a:lnTo>
                  <a:lnTo>
                    <a:pt x="18813" y="12662"/>
                  </a:lnTo>
                  <a:lnTo>
                    <a:pt x="18348" y="13034"/>
                  </a:lnTo>
                  <a:lnTo>
                    <a:pt x="17884" y="13034"/>
                  </a:lnTo>
                  <a:lnTo>
                    <a:pt x="17884" y="15641"/>
                  </a:lnTo>
                  <a:lnTo>
                    <a:pt x="17419" y="15641"/>
                  </a:lnTo>
                  <a:lnTo>
                    <a:pt x="17419" y="17503"/>
                  </a:lnTo>
                  <a:lnTo>
                    <a:pt x="17187" y="17503"/>
                  </a:lnTo>
                  <a:lnTo>
                    <a:pt x="17419" y="18248"/>
                  </a:lnTo>
                  <a:lnTo>
                    <a:pt x="17884" y="18248"/>
                  </a:lnTo>
                  <a:lnTo>
                    <a:pt x="17884" y="18993"/>
                  </a:lnTo>
                  <a:lnTo>
                    <a:pt x="17419" y="18993"/>
                  </a:lnTo>
                  <a:lnTo>
                    <a:pt x="17419" y="19738"/>
                  </a:lnTo>
                  <a:lnTo>
                    <a:pt x="17187" y="18993"/>
                  </a:lnTo>
                  <a:lnTo>
                    <a:pt x="17187" y="18248"/>
                  </a:lnTo>
                  <a:lnTo>
                    <a:pt x="16258" y="18248"/>
                  </a:lnTo>
                  <a:lnTo>
                    <a:pt x="15794" y="18993"/>
                  </a:lnTo>
                  <a:lnTo>
                    <a:pt x="14632" y="18993"/>
                  </a:lnTo>
                  <a:lnTo>
                    <a:pt x="14632" y="20110"/>
                  </a:lnTo>
                  <a:lnTo>
                    <a:pt x="14168" y="20855"/>
                  </a:lnTo>
                  <a:lnTo>
                    <a:pt x="13471" y="20855"/>
                  </a:lnTo>
                  <a:lnTo>
                    <a:pt x="13006" y="21600"/>
                  </a:lnTo>
                  <a:lnTo>
                    <a:pt x="12542" y="21600"/>
                  </a:lnTo>
                  <a:lnTo>
                    <a:pt x="12310" y="20855"/>
                  </a:lnTo>
                  <a:lnTo>
                    <a:pt x="10219" y="20855"/>
                  </a:lnTo>
                  <a:lnTo>
                    <a:pt x="9523" y="20110"/>
                  </a:lnTo>
                  <a:lnTo>
                    <a:pt x="9523" y="19738"/>
                  </a:lnTo>
                  <a:lnTo>
                    <a:pt x="9058" y="18993"/>
                  </a:lnTo>
                  <a:lnTo>
                    <a:pt x="9058" y="18248"/>
                  </a:lnTo>
                  <a:lnTo>
                    <a:pt x="7897" y="18248"/>
                  </a:lnTo>
                  <a:lnTo>
                    <a:pt x="7897" y="17503"/>
                  </a:lnTo>
                  <a:lnTo>
                    <a:pt x="7432" y="17131"/>
                  </a:lnTo>
                  <a:lnTo>
                    <a:pt x="6968" y="17131"/>
                  </a:lnTo>
                  <a:lnTo>
                    <a:pt x="6968" y="14524"/>
                  </a:lnTo>
                  <a:lnTo>
                    <a:pt x="7432" y="14524"/>
                  </a:lnTo>
                  <a:lnTo>
                    <a:pt x="7432" y="13779"/>
                  </a:lnTo>
                  <a:lnTo>
                    <a:pt x="6968" y="13779"/>
                  </a:lnTo>
                  <a:lnTo>
                    <a:pt x="6968" y="13034"/>
                  </a:lnTo>
                  <a:lnTo>
                    <a:pt x="6503" y="12662"/>
                  </a:lnTo>
                  <a:lnTo>
                    <a:pt x="6503" y="11917"/>
                  </a:lnTo>
                  <a:lnTo>
                    <a:pt x="5342" y="11917"/>
                  </a:lnTo>
                  <a:lnTo>
                    <a:pt x="4877" y="11172"/>
                  </a:lnTo>
                  <a:lnTo>
                    <a:pt x="4645" y="11172"/>
                  </a:lnTo>
                  <a:lnTo>
                    <a:pt x="4645" y="11917"/>
                  </a:lnTo>
                  <a:lnTo>
                    <a:pt x="3716" y="11917"/>
                  </a:lnTo>
                  <a:lnTo>
                    <a:pt x="3252" y="11172"/>
                  </a:lnTo>
                  <a:lnTo>
                    <a:pt x="2555" y="11172"/>
                  </a:lnTo>
                  <a:lnTo>
                    <a:pt x="2555" y="10428"/>
                  </a:lnTo>
                  <a:lnTo>
                    <a:pt x="1626" y="10428"/>
                  </a:lnTo>
                  <a:lnTo>
                    <a:pt x="1626" y="10055"/>
                  </a:lnTo>
                  <a:lnTo>
                    <a:pt x="1394" y="10055"/>
                  </a:lnTo>
                  <a:lnTo>
                    <a:pt x="1394" y="8566"/>
                  </a:lnTo>
                  <a:lnTo>
                    <a:pt x="929" y="7821"/>
                  </a:lnTo>
                  <a:lnTo>
                    <a:pt x="929" y="8566"/>
                  </a:lnTo>
                  <a:lnTo>
                    <a:pt x="465" y="8566"/>
                  </a:lnTo>
                  <a:lnTo>
                    <a:pt x="465" y="3352"/>
                  </a:lnTo>
                  <a:lnTo>
                    <a:pt x="929" y="3352"/>
                  </a:lnTo>
                  <a:lnTo>
                    <a:pt x="929" y="2607"/>
                  </a:lnTo>
                  <a:lnTo>
                    <a:pt x="1394" y="2607"/>
                  </a:lnTo>
                  <a:lnTo>
                    <a:pt x="1394" y="2234"/>
                  </a:lnTo>
                  <a:lnTo>
                    <a:pt x="1626" y="2234"/>
                  </a:lnTo>
                  <a:lnTo>
                    <a:pt x="2090" y="1490"/>
                  </a:lnTo>
                  <a:lnTo>
                    <a:pt x="2555" y="1490"/>
                  </a:lnTo>
                  <a:lnTo>
                    <a:pt x="3019" y="745"/>
                  </a:lnTo>
                  <a:lnTo>
                    <a:pt x="3716" y="745"/>
                  </a:lnTo>
                  <a:lnTo>
                    <a:pt x="4181" y="0"/>
                  </a:lnTo>
                  <a:close/>
                  <a:moveTo>
                    <a:pt x="4181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93" name="Freeform 45"/>
            <p:cNvSpPr>
              <a:spLocks/>
            </p:cNvSpPr>
            <p:nvPr/>
          </p:nvSpPr>
          <p:spPr bwMode="auto">
            <a:xfrm>
              <a:off x="8137681" y="3209491"/>
              <a:ext cx="590842" cy="263918"/>
            </a:xfrm>
            <a:custGeom>
              <a:avLst/>
              <a:gdLst/>
              <a:ahLst/>
              <a:cxnLst>
                <a:cxn ang="0">
                  <a:pos x="14211" y="1200"/>
                </a:cxn>
                <a:cxn ang="0">
                  <a:pos x="15537" y="2800"/>
                </a:cxn>
                <a:cxn ang="0">
                  <a:pos x="16295" y="4000"/>
                </a:cxn>
                <a:cxn ang="0">
                  <a:pos x="16863" y="4800"/>
                </a:cxn>
                <a:cxn ang="0">
                  <a:pos x="17621" y="3200"/>
                </a:cxn>
                <a:cxn ang="0">
                  <a:pos x="18947" y="4000"/>
                </a:cxn>
                <a:cxn ang="0">
                  <a:pos x="19137" y="5600"/>
                </a:cxn>
                <a:cxn ang="0">
                  <a:pos x="20274" y="6800"/>
                </a:cxn>
                <a:cxn ang="0">
                  <a:pos x="20274" y="7600"/>
                </a:cxn>
                <a:cxn ang="0">
                  <a:pos x="20842" y="11200"/>
                </a:cxn>
                <a:cxn ang="0">
                  <a:pos x="21221" y="12400"/>
                </a:cxn>
                <a:cxn ang="0">
                  <a:pos x="21221" y="13200"/>
                </a:cxn>
                <a:cxn ang="0">
                  <a:pos x="21600" y="17200"/>
                </a:cxn>
                <a:cxn ang="0">
                  <a:pos x="20463" y="18000"/>
                </a:cxn>
                <a:cxn ang="0">
                  <a:pos x="19895" y="19600"/>
                </a:cxn>
                <a:cxn ang="0">
                  <a:pos x="17811" y="20800"/>
                </a:cxn>
                <a:cxn ang="0">
                  <a:pos x="16295" y="21600"/>
                </a:cxn>
                <a:cxn ang="0">
                  <a:pos x="15537" y="20000"/>
                </a:cxn>
                <a:cxn ang="0">
                  <a:pos x="14589" y="18800"/>
                </a:cxn>
                <a:cxn ang="0">
                  <a:pos x="13832" y="17200"/>
                </a:cxn>
                <a:cxn ang="0">
                  <a:pos x="12316" y="16000"/>
                </a:cxn>
                <a:cxn ang="0">
                  <a:pos x="11558" y="14400"/>
                </a:cxn>
                <a:cxn ang="0">
                  <a:pos x="11179" y="15200"/>
                </a:cxn>
                <a:cxn ang="0">
                  <a:pos x="8905" y="16000"/>
                </a:cxn>
                <a:cxn ang="0">
                  <a:pos x="5684" y="14400"/>
                </a:cxn>
                <a:cxn ang="0">
                  <a:pos x="4737" y="15200"/>
                </a:cxn>
                <a:cxn ang="0">
                  <a:pos x="4358" y="15200"/>
                </a:cxn>
                <a:cxn ang="0">
                  <a:pos x="2653" y="15200"/>
                </a:cxn>
                <a:cxn ang="0">
                  <a:pos x="947" y="16000"/>
                </a:cxn>
                <a:cxn ang="0">
                  <a:pos x="758" y="17200"/>
                </a:cxn>
                <a:cxn ang="0">
                  <a:pos x="0" y="11600"/>
                </a:cxn>
                <a:cxn ang="0">
                  <a:pos x="947" y="6000"/>
                </a:cxn>
                <a:cxn ang="0">
                  <a:pos x="1705" y="5600"/>
                </a:cxn>
                <a:cxn ang="0">
                  <a:pos x="2274" y="4000"/>
                </a:cxn>
                <a:cxn ang="0">
                  <a:pos x="3979" y="2800"/>
                </a:cxn>
                <a:cxn ang="0">
                  <a:pos x="4926" y="4000"/>
                </a:cxn>
                <a:cxn ang="0">
                  <a:pos x="5684" y="5600"/>
                </a:cxn>
                <a:cxn ang="0">
                  <a:pos x="6632" y="8400"/>
                </a:cxn>
                <a:cxn ang="0">
                  <a:pos x="7389" y="8800"/>
                </a:cxn>
                <a:cxn ang="0">
                  <a:pos x="8905" y="8800"/>
                </a:cxn>
                <a:cxn ang="0">
                  <a:pos x="9663" y="8400"/>
                </a:cxn>
                <a:cxn ang="0">
                  <a:pos x="9853" y="6800"/>
                </a:cxn>
                <a:cxn ang="0">
                  <a:pos x="9853" y="4800"/>
                </a:cxn>
                <a:cxn ang="0">
                  <a:pos x="10611" y="400"/>
                </a:cxn>
                <a:cxn ang="0">
                  <a:pos x="11558" y="0"/>
                </a:cxn>
              </a:cxnLst>
              <a:rect l="0" t="0" r="r" b="b"/>
              <a:pathLst>
                <a:path w="21600" h="21600">
                  <a:moveTo>
                    <a:pt x="11558" y="0"/>
                  </a:moveTo>
                  <a:lnTo>
                    <a:pt x="13642" y="0"/>
                  </a:lnTo>
                  <a:lnTo>
                    <a:pt x="14211" y="1200"/>
                  </a:lnTo>
                  <a:lnTo>
                    <a:pt x="15158" y="1200"/>
                  </a:lnTo>
                  <a:lnTo>
                    <a:pt x="15158" y="2000"/>
                  </a:lnTo>
                  <a:lnTo>
                    <a:pt x="15537" y="2800"/>
                  </a:lnTo>
                  <a:lnTo>
                    <a:pt x="15537" y="3200"/>
                  </a:lnTo>
                  <a:lnTo>
                    <a:pt x="15916" y="3200"/>
                  </a:lnTo>
                  <a:lnTo>
                    <a:pt x="16295" y="4000"/>
                  </a:lnTo>
                  <a:lnTo>
                    <a:pt x="16484" y="4000"/>
                  </a:lnTo>
                  <a:lnTo>
                    <a:pt x="16484" y="4800"/>
                  </a:lnTo>
                  <a:lnTo>
                    <a:pt x="16863" y="4800"/>
                  </a:lnTo>
                  <a:lnTo>
                    <a:pt x="17242" y="4000"/>
                  </a:lnTo>
                  <a:lnTo>
                    <a:pt x="17621" y="4000"/>
                  </a:lnTo>
                  <a:lnTo>
                    <a:pt x="17621" y="3200"/>
                  </a:lnTo>
                  <a:lnTo>
                    <a:pt x="17811" y="3200"/>
                  </a:lnTo>
                  <a:lnTo>
                    <a:pt x="17811" y="4000"/>
                  </a:lnTo>
                  <a:lnTo>
                    <a:pt x="18947" y="4000"/>
                  </a:lnTo>
                  <a:lnTo>
                    <a:pt x="18947" y="4800"/>
                  </a:lnTo>
                  <a:lnTo>
                    <a:pt x="19137" y="4800"/>
                  </a:lnTo>
                  <a:lnTo>
                    <a:pt x="19137" y="5600"/>
                  </a:lnTo>
                  <a:lnTo>
                    <a:pt x="19895" y="5600"/>
                  </a:lnTo>
                  <a:lnTo>
                    <a:pt x="19895" y="6000"/>
                  </a:lnTo>
                  <a:lnTo>
                    <a:pt x="20274" y="6800"/>
                  </a:lnTo>
                  <a:lnTo>
                    <a:pt x="20463" y="6800"/>
                  </a:lnTo>
                  <a:lnTo>
                    <a:pt x="20463" y="7600"/>
                  </a:lnTo>
                  <a:lnTo>
                    <a:pt x="20274" y="7600"/>
                  </a:lnTo>
                  <a:lnTo>
                    <a:pt x="20274" y="10400"/>
                  </a:lnTo>
                  <a:lnTo>
                    <a:pt x="19895" y="11200"/>
                  </a:lnTo>
                  <a:lnTo>
                    <a:pt x="20842" y="11200"/>
                  </a:lnTo>
                  <a:lnTo>
                    <a:pt x="20842" y="11600"/>
                  </a:lnTo>
                  <a:lnTo>
                    <a:pt x="21221" y="11600"/>
                  </a:lnTo>
                  <a:lnTo>
                    <a:pt x="21221" y="12400"/>
                  </a:lnTo>
                  <a:lnTo>
                    <a:pt x="20842" y="12400"/>
                  </a:lnTo>
                  <a:lnTo>
                    <a:pt x="20842" y="13200"/>
                  </a:lnTo>
                  <a:lnTo>
                    <a:pt x="21221" y="13200"/>
                  </a:lnTo>
                  <a:lnTo>
                    <a:pt x="21221" y="14000"/>
                  </a:lnTo>
                  <a:lnTo>
                    <a:pt x="21600" y="14000"/>
                  </a:lnTo>
                  <a:lnTo>
                    <a:pt x="21600" y="17200"/>
                  </a:lnTo>
                  <a:lnTo>
                    <a:pt x="20842" y="17200"/>
                  </a:lnTo>
                  <a:lnTo>
                    <a:pt x="20842" y="18000"/>
                  </a:lnTo>
                  <a:lnTo>
                    <a:pt x="20463" y="18000"/>
                  </a:lnTo>
                  <a:lnTo>
                    <a:pt x="20463" y="18800"/>
                  </a:lnTo>
                  <a:lnTo>
                    <a:pt x="20274" y="18800"/>
                  </a:lnTo>
                  <a:lnTo>
                    <a:pt x="19895" y="19600"/>
                  </a:lnTo>
                  <a:lnTo>
                    <a:pt x="19895" y="20000"/>
                  </a:lnTo>
                  <a:lnTo>
                    <a:pt x="17811" y="20000"/>
                  </a:lnTo>
                  <a:lnTo>
                    <a:pt x="17811" y="20800"/>
                  </a:lnTo>
                  <a:lnTo>
                    <a:pt x="17242" y="20800"/>
                  </a:lnTo>
                  <a:lnTo>
                    <a:pt x="17242" y="21600"/>
                  </a:lnTo>
                  <a:lnTo>
                    <a:pt x="16295" y="21600"/>
                  </a:lnTo>
                  <a:lnTo>
                    <a:pt x="16295" y="20800"/>
                  </a:lnTo>
                  <a:lnTo>
                    <a:pt x="15916" y="20000"/>
                  </a:lnTo>
                  <a:lnTo>
                    <a:pt x="15537" y="20000"/>
                  </a:lnTo>
                  <a:lnTo>
                    <a:pt x="15537" y="19600"/>
                  </a:lnTo>
                  <a:lnTo>
                    <a:pt x="15158" y="18800"/>
                  </a:lnTo>
                  <a:lnTo>
                    <a:pt x="14589" y="18800"/>
                  </a:lnTo>
                  <a:lnTo>
                    <a:pt x="14589" y="18000"/>
                  </a:lnTo>
                  <a:lnTo>
                    <a:pt x="14211" y="18000"/>
                  </a:lnTo>
                  <a:lnTo>
                    <a:pt x="13832" y="17200"/>
                  </a:lnTo>
                  <a:lnTo>
                    <a:pt x="13832" y="16800"/>
                  </a:lnTo>
                  <a:lnTo>
                    <a:pt x="12316" y="16800"/>
                  </a:lnTo>
                  <a:lnTo>
                    <a:pt x="12316" y="16000"/>
                  </a:lnTo>
                  <a:lnTo>
                    <a:pt x="11937" y="16000"/>
                  </a:lnTo>
                  <a:lnTo>
                    <a:pt x="11937" y="14400"/>
                  </a:lnTo>
                  <a:lnTo>
                    <a:pt x="11558" y="14400"/>
                  </a:lnTo>
                  <a:lnTo>
                    <a:pt x="11558" y="14000"/>
                  </a:lnTo>
                  <a:lnTo>
                    <a:pt x="11179" y="14000"/>
                  </a:lnTo>
                  <a:lnTo>
                    <a:pt x="11179" y="15200"/>
                  </a:lnTo>
                  <a:lnTo>
                    <a:pt x="10611" y="15200"/>
                  </a:lnTo>
                  <a:lnTo>
                    <a:pt x="10611" y="16000"/>
                  </a:lnTo>
                  <a:lnTo>
                    <a:pt x="8905" y="16000"/>
                  </a:lnTo>
                  <a:lnTo>
                    <a:pt x="8905" y="15200"/>
                  </a:lnTo>
                  <a:lnTo>
                    <a:pt x="5684" y="15200"/>
                  </a:lnTo>
                  <a:lnTo>
                    <a:pt x="5684" y="14400"/>
                  </a:lnTo>
                  <a:lnTo>
                    <a:pt x="5305" y="14400"/>
                  </a:lnTo>
                  <a:lnTo>
                    <a:pt x="5305" y="15200"/>
                  </a:lnTo>
                  <a:lnTo>
                    <a:pt x="4737" y="15200"/>
                  </a:lnTo>
                  <a:lnTo>
                    <a:pt x="4737" y="14400"/>
                  </a:lnTo>
                  <a:lnTo>
                    <a:pt x="4358" y="14400"/>
                  </a:lnTo>
                  <a:lnTo>
                    <a:pt x="4358" y="15200"/>
                  </a:lnTo>
                  <a:lnTo>
                    <a:pt x="3979" y="14400"/>
                  </a:lnTo>
                  <a:lnTo>
                    <a:pt x="2653" y="14400"/>
                  </a:lnTo>
                  <a:lnTo>
                    <a:pt x="2653" y="15200"/>
                  </a:lnTo>
                  <a:lnTo>
                    <a:pt x="2084" y="15200"/>
                  </a:lnTo>
                  <a:lnTo>
                    <a:pt x="1705" y="16000"/>
                  </a:lnTo>
                  <a:lnTo>
                    <a:pt x="947" y="16000"/>
                  </a:lnTo>
                  <a:lnTo>
                    <a:pt x="947" y="16800"/>
                  </a:lnTo>
                  <a:lnTo>
                    <a:pt x="758" y="16800"/>
                  </a:lnTo>
                  <a:lnTo>
                    <a:pt x="758" y="17200"/>
                  </a:lnTo>
                  <a:lnTo>
                    <a:pt x="379" y="17200"/>
                  </a:lnTo>
                  <a:lnTo>
                    <a:pt x="0" y="18000"/>
                  </a:lnTo>
                  <a:lnTo>
                    <a:pt x="0" y="11600"/>
                  </a:lnTo>
                  <a:lnTo>
                    <a:pt x="379" y="10400"/>
                  </a:lnTo>
                  <a:lnTo>
                    <a:pt x="947" y="8800"/>
                  </a:lnTo>
                  <a:lnTo>
                    <a:pt x="947" y="6000"/>
                  </a:lnTo>
                  <a:lnTo>
                    <a:pt x="1326" y="6000"/>
                  </a:lnTo>
                  <a:lnTo>
                    <a:pt x="1326" y="5600"/>
                  </a:lnTo>
                  <a:lnTo>
                    <a:pt x="1705" y="5600"/>
                  </a:lnTo>
                  <a:lnTo>
                    <a:pt x="1705" y="4800"/>
                  </a:lnTo>
                  <a:lnTo>
                    <a:pt x="2084" y="4000"/>
                  </a:lnTo>
                  <a:lnTo>
                    <a:pt x="2274" y="4000"/>
                  </a:lnTo>
                  <a:lnTo>
                    <a:pt x="2274" y="3200"/>
                  </a:lnTo>
                  <a:lnTo>
                    <a:pt x="3600" y="3200"/>
                  </a:lnTo>
                  <a:lnTo>
                    <a:pt x="3979" y="2800"/>
                  </a:lnTo>
                  <a:lnTo>
                    <a:pt x="4737" y="2800"/>
                  </a:lnTo>
                  <a:lnTo>
                    <a:pt x="4926" y="3200"/>
                  </a:lnTo>
                  <a:lnTo>
                    <a:pt x="4926" y="4000"/>
                  </a:lnTo>
                  <a:lnTo>
                    <a:pt x="5305" y="4000"/>
                  </a:lnTo>
                  <a:lnTo>
                    <a:pt x="5684" y="4800"/>
                  </a:lnTo>
                  <a:lnTo>
                    <a:pt x="5684" y="5600"/>
                  </a:lnTo>
                  <a:lnTo>
                    <a:pt x="6063" y="5600"/>
                  </a:lnTo>
                  <a:lnTo>
                    <a:pt x="6632" y="6800"/>
                  </a:lnTo>
                  <a:lnTo>
                    <a:pt x="6632" y="8400"/>
                  </a:lnTo>
                  <a:lnTo>
                    <a:pt x="7011" y="8400"/>
                  </a:lnTo>
                  <a:lnTo>
                    <a:pt x="7011" y="8800"/>
                  </a:lnTo>
                  <a:lnTo>
                    <a:pt x="7389" y="8800"/>
                  </a:lnTo>
                  <a:lnTo>
                    <a:pt x="7579" y="9600"/>
                  </a:lnTo>
                  <a:lnTo>
                    <a:pt x="8337" y="9600"/>
                  </a:lnTo>
                  <a:lnTo>
                    <a:pt x="8905" y="8800"/>
                  </a:lnTo>
                  <a:lnTo>
                    <a:pt x="9284" y="8800"/>
                  </a:lnTo>
                  <a:lnTo>
                    <a:pt x="9284" y="8400"/>
                  </a:lnTo>
                  <a:lnTo>
                    <a:pt x="9663" y="8400"/>
                  </a:lnTo>
                  <a:lnTo>
                    <a:pt x="9663" y="7600"/>
                  </a:lnTo>
                  <a:lnTo>
                    <a:pt x="9853" y="7600"/>
                  </a:lnTo>
                  <a:lnTo>
                    <a:pt x="9853" y="6800"/>
                  </a:lnTo>
                  <a:lnTo>
                    <a:pt x="10232" y="6000"/>
                  </a:lnTo>
                  <a:lnTo>
                    <a:pt x="10232" y="5600"/>
                  </a:lnTo>
                  <a:lnTo>
                    <a:pt x="9853" y="4800"/>
                  </a:lnTo>
                  <a:lnTo>
                    <a:pt x="9853" y="1200"/>
                  </a:lnTo>
                  <a:lnTo>
                    <a:pt x="10232" y="1200"/>
                  </a:lnTo>
                  <a:lnTo>
                    <a:pt x="10611" y="400"/>
                  </a:lnTo>
                  <a:lnTo>
                    <a:pt x="11558" y="400"/>
                  </a:lnTo>
                  <a:lnTo>
                    <a:pt x="11558" y="0"/>
                  </a:lnTo>
                  <a:close/>
                  <a:moveTo>
                    <a:pt x="11558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94" name="AutoShape 46"/>
            <p:cNvSpPr>
              <a:spLocks/>
            </p:cNvSpPr>
            <p:nvPr/>
          </p:nvSpPr>
          <p:spPr bwMode="auto">
            <a:xfrm>
              <a:off x="8049899" y="4742637"/>
              <a:ext cx="145178" cy="136996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0" y="6943"/>
                  </a:moveTo>
                  <a:lnTo>
                    <a:pt x="771" y="6943"/>
                  </a:lnTo>
                  <a:lnTo>
                    <a:pt x="771" y="8486"/>
                  </a:lnTo>
                  <a:lnTo>
                    <a:pt x="0" y="8486"/>
                  </a:lnTo>
                  <a:lnTo>
                    <a:pt x="0" y="6943"/>
                  </a:lnTo>
                  <a:close/>
                  <a:moveTo>
                    <a:pt x="9257" y="0"/>
                  </a:moveTo>
                  <a:lnTo>
                    <a:pt x="10800" y="0"/>
                  </a:lnTo>
                  <a:lnTo>
                    <a:pt x="10800" y="3086"/>
                  </a:lnTo>
                  <a:lnTo>
                    <a:pt x="13114" y="3086"/>
                  </a:lnTo>
                  <a:lnTo>
                    <a:pt x="13114" y="3857"/>
                  </a:lnTo>
                  <a:lnTo>
                    <a:pt x="14657" y="3857"/>
                  </a:lnTo>
                  <a:lnTo>
                    <a:pt x="14657" y="5400"/>
                  </a:lnTo>
                  <a:lnTo>
                    <a:pt x="16200" y="5400"/>
                  </a:lnTo>
                  <a:lnTo>
                    <a:pt x="16200" y="6943"/>
                  </a:lnTo>
                  <a:lnTo>
                    <a:pt x="16971" y="6943"/>
                  </a:lnTo>
                  <a:lnTo>
                    <a:pt x="16971" y="8486"/>
                  </a:lnTo>
                  <a:lnTo>
                    <a:pt x="20057" y="8486"/>
                  </a:lnTo>
                  <a:lnTo>
                    <a:pt x="20057" y="9257"/>
                  </a:lnTo>
                  <a:lnTo>
                    <a:pt x="21600" y="9257"/>
                  </a:lnTo>
                  <a:lnTo>
                    <a:pt x="21600" y="10800"/>
                  </a:lnTo>
                  <a:lnTo>
                    <a:pt x="20057" y="10800"/>
                  </a:lnTo>
                  <a:lnTo>
                    <a:pt x="20057" y="13886"/>
                  </a:lnTo>
                  <a:lnTo>
                    <a:pt x="18514" y="13886"/>
                  </a:lnTo>
                  <a:lnTo>
                    <a:pt x="18514" y="14657"/>
                  </a:lnTo>
                  <a:lnTo>
                    <a:pt x="16971" y="14657"/>
                  </a:lnTo>
                  <a:lnTo>
                    <a:pt x="16971" y="16200"/>
                  </a:lnTo>
                  <a:lnTo>
                    <a:pt x="16200" y="16200"/>
                  </a:lnTo>
                  <a:lnTo>
                    <a:pt x="16200" y="17743"/>
                  </a:lnTo>
                  <a:lnTo>
                    <a:pt x="14657" y="17743"/>
                  </a:lnTo>
                  <a:lnTo>
                    <a:pt x="14657" y="16200"/>
                  </a:lnTo>
                  <a:lnTo>
                    <a:pt x="11571" y="16200"/>
                  </a:lnTo>
                  <a:lnTo>
                    <a:pt x="11571" y="17743"/>
                  </a:lnTo>
                  <a:lnTo>
                    <a:pt x="10800" y="17743"/>
                  </a:lnTo>
                  <a:lnTo>
                    <a:pt x="9257" y="19286"/>
                  </a:lnTo>
                  <a:lnTo>
                    <a:pt x="9257" y="21600"/>
                  </a:lnTo>
                  <a:lnTo>
                    <a:pt x="7714" y="21600"/>
                  </a:lnTo>
                  <a:lnTo>
                    <a:pt x="7714" y="17743"/>
                  </a:lnTo>
                  <a:lnTo>
                    <a:pt x="6171" y="16200"/>
                  </a:lnTo>
                  <a:lnTo>
                    <a:pt x="6171" y="14657"/>
                  </a:lnTo>
                  <a:lnTo>
                    <a:pt x="5400" y="14657"/>
                  </a:lnTo>
                  <a:lnTo>
                    <a:pt x="3857" y="13886"/>
                  </a:lnTo>
                  <a:lnTo>
                    <a:pt x="2314" y="13886"/>
                  </a:lnTo>
                  <a:lnTo>
                    <a:pt x="2314" y="12343"/>
                  </a:lnTo>
                  <a:lnTo>
                    <a:pt x="771" y="12343"/>
                  </a:lnTo>
                  <a:lnTo>
                    <a:pt x="771" y="10800"/>
                  </a:lnTo>
                  <a:lnTo>
                    <a:pt x="0" y="9257"/>
                  </a:lnTo>
                  <a:lnTo>
                    <a:pt x="771" y="9257"/>
                  </a:lnTo>
                  <a:lnTo>
                    <a:pt x="771" y="8486"/>
                  </a:lnTo>
                  <a:lnTo>
                    <a:pt x="2314" y="8486"/>
                  </a:lnTo>
                  <a:lnTo>
                    <a:pt x="2314" y="6943"/>
                  </a:lnTo>
                  <a:lnTo>
                    <a:pt x="5400" y="6943"/>
                  </a:lnTo>
                  <a:lnTo>
                    <a:pt x="6171" y="5400"/>
                  </a:lnTo>
                  <a:lnTo>
                    <a:pt x="5400" y="5400"/>
                  </a:lnTo>
                  <a:lnTo>
                    <a:pt x="5400" y="3857"/>
                  </a:lnTo>
                  <a:lnTo>
                    <a:pt x="7714" y="3857"/>
                  </a:lnTo>
                  <a:lnTo>
                    <a:pt x="7714" y="1543"/>
                  </a:lnTo>
                  <a:lnTo>
                    <a:pt x="9257" y="1543"/>
                  </a:lnTo>
                  <a:lnTo>
                    <a:pt x="9257" y="0"/>
                  </a:lnTo>
                  <a:close/>
                  <a:moveTo>
                    <a:pt x="9257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95" name="Freeform 47"/>
            <p:cNvSpPr>
              <a:spLocks/>
            </p:cNvSpPr>
            <p:nvPr/>
          </p:nvSpPr>
          <p:spPr bwMode="auto">
            <a:xfrm>
              <a:off x="7057284" y="4938059"/>
              <a:ext cx="145178" cy="217582"/>
            </a:xfrm>
            <a:custGeom>
              <a:avLst/>
              <a:gdLst/>
              <a:ahLst/>
              <a:cxnLst>
                <a:cxn ang="0">
                  <a:pos x="13886" y="0"/>
                </a:cxn>
                <a:cxn ang="0">
                  <a:pos x="16200" y="0"/>
                </a:cxn>
                <a:cxn ang="0">
                  <a:pos x="16200" y="982"/>
                </a:cxn>
                <a:cxn ang="0">
                  <a:pos x="17743" y="982"/>
                </a:cxn>
                <a:cxn ang="0">
                  <a:pos x="17743" y="2945"/>
                </a:cxn>
                <a:cxn ang="0">
                  <a:pos x="19286" y="2945"/>
                </a:cxn>
                <a:cxn ang="0">
                  <a:pos x="20829" y="3436"/>
                </a:cxn>
                <a:cxn ang="0">
                  <a:pos x="20829" y="5400"/>
                </a:cxn>
                <a:cxn ang="0">
                  <a:pos x="21600" y="5400"/>
                </a:cxn>
                <a:cxn ang="0">
                  <a:pos x="21600" y="8836"/>
                </a:cxn>
                <a:cxn ang="0">
                  <a:pos x="20829" y="8836"/>
                </a:cxn>
                <a:cxn ang="0">
                  <a:pos x="20829" y="13745"/>
                </a:cxn>
                <a:cxn ang="0">
                  <a:pos x="19286" y="13745"/>
                </a:cxn>
                <a:cxn ang="0">
                  <a:pos x="19286" y="17182"/>
                </a:cxn>
                <a:cxn ang="0">
                  <a:pos x="17743" y="17182"/>
                </a:cxn>
                <a:cxn ang="0">
                  <a:pos x="17743" y="19636"/>
                </a:cxn>
                <a:cxn ang="0">
                  <a:pos x="16200" y="19145"/>
                </a:cxn>
                <a:cxn ang="0">
                  <a:pos x="10800" y="19145"/>
                </a:cxn>
                <a:cxn ang="0">
                  <a:pos x="10800" y="20618"/>
                </a:cxn>
                <a:cxn ang="0">
                  <a:pos x="10029" y="21600"/>
                </a:cxn>
                <a:cxn ang="0">
                  <a:pos x="6943" y="21600"/>
                </a:cxn>
                <a:cxn ang="0">
                  <a:pos x="6943" y="20618"/>
                </a:cxn>
                <a:cxn ang="0">
                  <a:pos x="5400" y="20618"/>
                </a:cxn>
                <a:cxn ang="0">
                  <a:pos x="5400" y="19636"/>
                </a:cxn>
                <a:cxn ang="0">
                  <a:pos x="4629" y="19636"/>
                </a:cxn>
                <a:cxn ang="0">
                  <a:pos x="4629" y="15709"/>
                </a:cxn>
                <a:cxn ang="0">
                  <a:pos x="5400" y="13745"/>
                </a:cxn>
                <a:cxn ang="0">
                  <a:pos x="5400" y="12764"/>
                </a:cxn>
                <a:cxn ang="0">
                  <a:pos x="4629" y="12764"/>
                </a:cxn>
                <a:cxn ang="0">
                  <a:pos x="4629" y="6873"/>
                </a:cxn>
                <a:cxn ang="0">
                  <a:pos x="3086" y="5891"/>
                </a:cxn>
                <a:cxn ang="0">
                  <a:pos x="0" y="5891"/>
                </a:cxn>
                <a:cxn ang="0">
                  <a:pos x="0" y="5400"/>
                </a:cxn>
                <a:cxn ang="0">
                  <a:pos x="1543" y="4418"/>
                </a:cxn>
                <a:cxn ang="0">
                  <a:pos x="1543" y="2945"/>
                </a:cxn>
                <a:cxn ang="0">
                  <a:pos x="3086" y="2945"/>
                </a:cxn>
                <a:cxn ang="0">
                  <a:pos x="3086" y="3436"/>
                </a:cxn>
                <a:cxn ang="0">
                  <a:pos x="6943" y="3436"/>
                </a:cxn>
                <a:cxn ang="0">
                  <a:pos x="10800" y="982"/>
                </a:cxn>
                <a:cxn ang="0">
                  <a:pos x="13886" y="0"/>
                </a:cxn>
                <a:cxn ang="0">
                  <a:pos x="13886" y="0"/>
                </a:cxn>
              </a:cxnLst>
              <a:rect l="0" t="0" r="r" b="b"/>
              <a:pathLst>
                <a:path w="21600" h="21600">
                  <a:moveTo>
                    <a:pt x="13886" y="0"/>
                  </a:moveTo>
                  <a:lnTo>
                    <a:pt x="16200" y="0"/>
                  </a:lnTo>
                  <a:lnTo>
                    <a:pt x="16200" y="982"/>
                  </a:lnTo>
                  <a:lnTo>
                    <a:pt x="17743" y="982"/>
                  </a:lnTo>
                  <a:lnTo>
                    <a:pt x="17743" y="2945"/>
                  </a:lnTo>
                  <a:lnTo>
                    <a:pt x="19286" y="2945"/>
                  </a:lnTo>
                  <a:lnTo>
                    <a:pt x="20829" y="3436"/>
                  </a:lnTo>
                  <a:lnTo>
                    <a:pt x="20829" y="5400"/>
                  </a:lnTo>
                  <a:lnTo>
                    <a:pt x="21600" y="5400"/>
                  </a:lnTo>
                  <a:lnTo>
                    <a:pt x="21600" y="8836"/>
                  </a:lnTo>
                  <a:lnTo>
                    <a:pt x="20829" y="8836"/>
                  </a:lnTo>
                  <a:lnTo>
                    <a:pt x="20829" y="13745"/>
                  </a:lnTo>
                  <a:lnTo>
                    <a:pt x="19286" y="13745"/>
                  </a:lnTo>
                  <a:lnTo>
                    <a:pt x="19286" y="17182"/>
                  </a:lnTo>
                  <a:lnTo>
                    <a:pt x="17743" y="17182"/>
                  </a:lnTo>
                  <a:lnTo>
                    <a:pt x="17743" y="19636"/>
                  </a:lnTo>
                  <a:lnTo>
                    <a:pt x="16200" y="19145"/>
                  </a:lnTo>
                  <a:lnTo>
                    <a:pt x="10800" y="19145"/>
                  </a:lnTo>
                  <a:lnTo>
                    <a:pt x="10800" y="20618"/>
                  </a:lnTo>
                  <a:lnTo>
                    <a:pt x="10029" y="21600"/>
                  </a:lnTo>
                  <a:lnTo>
                    <a:pt x="6943" y="21600"/>
                  </a:lnTo>
                  <a:lnTo>
                    <a:pt x="6943" y="20618"/>
                  </a:lnTo>
                  <a:lnTo>
                    <a:pt x="5400" y="20618"/>
                  </a:lnTo>
                  <a:lnTo>
                    <a:pt x="5400" y="19636"/>
                  </a:lnTo>
                  <a:lnTo>
                    <a:pt x="4629" y="19636"/>
                  </a:lnTo>
                  <a:lnTo>
                    <a:pt x="4629" y="15709"/>
                  </a:lnTo>
                  <a:lnTo>
                    <a:pt x="5400" y="13745"/>
                  </a:lnTo>
                  <a:lnTo>
                    <a:pt x="5400" y="12764"/>
                  </a:lnTo>
                  <a:lnTo>
                    <a:pt x="4629" y="12764"/>
                  </a:lnTo>
                  <a:lnTo>
                    <a:pt x="4629" y="6873"/>
                  </a:lnTo>
                  <a:lnTo>
                    <a:pt x="3086" y="5891"/>
                  </a:lnTo>
                  <a:lnTo>
                    <a:pt x="0" y="5891"/>
                  </a:lnTo>
                  <a:lnTo>
                    <a:pt x="0" y="5400"/>
                  </a:lnTo>
                  <a:lnTo>
                    <a:pt x="1543" y="4418"/>
                  </a:lnTo>
                  <a:lnTo>
                    <a:pt x="1543" y="2945"/>
                  </a:lnTo>
                  <a:lnTo>
                    <a:pt x="3086" y="2945"/>
                  </a:lnTo>
                  <a:lnTo>
                    <a:pt x="3086" y="3436"/>
                  </a:lnTo>
                  <a:lnTo>
                    <a:pt x="6943" y="3436"/>
                  </a:lnTo>
                  <a:lnTo>
                    <a:pt x="10800" y="982"/>
                  </a:lnTo>
                  <a:lnTo>
                    <a:pt x="13886" y="0"/>
                  </a:lnTo>
                  <a:close/>
                  <a:moveTo>
                    <a:pt x="13886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96" name="Freeform 48"/>
            <p:cNvSpPr>
              <a:spLocks/>
            </p:cNvSpPr>
            <p:nvPr/>
          </p:nvSpPr>
          <p:spPr bwMode="auto">
            <a:xfrm>
              <a:off x="7420230" y="5214065"/>
              <a:ext cx="265034" cy="147070"/>
            </a:xfrm>
            <a:custGeom>
              <a:avLst/>
              <a:gdLst/>
              <a:ahLst/>
              <a:cxnLst>
                <a:cxn ang="0">
                  <a:pos x="5929" y="0"/>
                </a:cxn>
                <a:cxn ang="0">
                  <a:pos x="8047" y="1440"/>
                </a:cxn>
                <a:cxn ang="0">
                  <a:pos x="11859" y="2880"/>
                </a:cxn>
                <a:cxn ang="0">
                  <a:pos x="13553" y="3600"/>
                </a:cxn>
                <a:cxn ang="0">
                  <a:pos x="14824" y="2880"/>
                </a:cxn>
                <a:cxn ang="0">
                  <a:pos x="15671" y="1440"/>
                </a:cxn>
                <a:cxn ang="0">
                  <a:pos x="16941" y="2880"/>
                </a:cxn>
                <a:cxn ang="0">
                  <a:pos x="19906" y="1440"/>
                </a:cxn>
                <a:cxn ang="0">
                  <a:pos x="21600" y="0"/>
                </a:cxn>
                <a:cxn ang="0">
                  <a:pos x="20753" y="2880"/>
                </a:cxn>
                <a:cxn ang="0">
                  <a:pos x="19482" y="6480"/>
                </a:cxn>
                <a:cxn ang="0">
                  <a:pos x="18635" y="10080"/>
                </a:cxn>
                <a:cxn ang="0">
                  <a:pos x="17788" y="12960"/>
                </a:cxn>
                <a:cxn ang="0">
                  <a:pos x="18635" y="13680"/>
                </a:cxn>
                <a:cxn ang="0">
                  <a:pos x="19482" y="16560"/>
                </a:cxn>
                <a:cxn ang="0">
                  <a:pos x="18635" y="21600"/>
                </a:cxn>
                <a:cxn ang="0">
                  <a:pos x="16941" y="20160"/>
                </a:cxn>
                <a:cxn ang="0">
                  <a:pos x="13976" y="18720"/>
                </a:cxn>
                <a:cxn ang="0">
                  <a:pos x="13553" y="18000"/>
                </a:cxn>
                <a:cxn ang="0">
                  <a:pos x="9741" y="15120"/>
                </a:cxn>
                <a:cxn ang="0">
                  <a:pos x="8047" y="13680"/>
                </a:cxn>
                <a:cxn ang="0">
                  <a:pos x="7624" y="12960"/>
                </a:cxn>
                <a:cxn ang="0">
                  <a:pos x="5082" y="11520"/>
                </a:cxn>
                <a:cxn ang="0">
                  <a:pos x="3812" y="10080"/>
                </a:cxn>
                <a:cxn ang="0">
                  <a:pos x="2118" y="8640"/>
                </a:cxn>
                <a:cxn ang="0">
                  <a:pos x="1694" y="8640"/>
                </a:cxn>
                <a:cxn ang="0">
                  <a:pos x="847" y="6480"/>
                </a:cxn>
                <a:cxn ang="0">
                  <a:pos x="0" y="5040"/>
                </a:cxn>
                <a:cxn ang="0">
                  <a:pos x="1694" y="1440"/>
                </a:cxn>
                <a:cxn ang="0">
                  <a:pos x="2965" y="2880"/>
                </a:cxn>
                <a:cxn ang="0">
                  <a:pos x="4659" y="1440"/>
                </a:cxn>
                <a:cxn ang="0">
                  <a:pos x="5082" y="0"/>
                </a:cxn>
              </a:cxnLst>
              <a:rect l="0" t="0" r="r" b="b"/>
              <a:pathLst>
                <a:path w="21600" h="21600">
                  <a:moveTo>
                    <a:pt x="5082" y="0"/>
                  </a:moveTo>
                  <a:lnTo>
                    <a:pt x="5929" y="0"/>
                  </a:lnTo>
                  <a:lnTo>
                    <a:pt x="6776" y="1440"/>
                  </a:lnTo>
                  <a:lnTo>
                    <a:pt x="8047" y="1440"/>
                  </a:lnTo>
                  <a:lnTo>
                    <a:pt x="8894" y="2880"/>
                  </a:lnTo>
                  <a:lnTo>
                    <a:pt x="11859" y="2880"/>
                  </a:lnTo>
                  <a:lnTo>
                    <a:pt x="11859" y="3600"/>
                  </a:lnTo>
                  <a:lnTo>
                    <a:pt x="13553" y="3600"/>
                  </a:lnTo>
                  <a:lnTo>
                    <a:pt x="13553" y="2880"/>
                  </a:lnTo>
                  <a:lnTo>
                    <a:pt x="14824" y="2880"/>
                  </a:lnTo>
                  <a:lnTo>
                    <a:pt x="14824" y="1440"/>
                  </a:lnTo>
                  <a:lnTo>
                    <a:pt x="15671" y="1440"/>
                  </a:lnTo>
                  <a:lnTo>
                    <a:pt x="16518" y="2880"/>
                  </a:lnTo>
                  <a:lnTo>
                    <a:pt x="16941" y="2880"/>
                  </a:lnTo>
                  <a:lnTo>
                    <a:pt x="16941" y="1440"/>
                  </a:lnTo>
                  <a:lnTo>
                    <a:pt x="19906" y="1440"/>
                  </a:lnTo>
                  <a:lnTo>
                    <a:pt x="19906" y="0"/>
                  </a:lnTo>
                  <a:lnTo>
                    <a:pt x="21600" y="0"/>
                  </a:lnTo>
                  <a:lnTo>
                    <a:pt x="20753" y="1440"/>
                  </a:lnTo>
                  <a:lnTo>
                    <a:pt x="20753" y="2880"/>
                  </a:lnTo>
                  <a:lnTo>
                    <a:pt x="19482" y="5040"/>
                  </a:lnTo>
                  <a:lnTo>
                    <a:pt x="19482" y="6480"/>
                  </a:lnTo>
                  <a:lnTo>
                    <a:pt x="18635" y="7920"/>
                  </a:lnTo>
                  <a:lnTo>
                    <a:pt x="18635" y="10080"/>
                  </a:lnTo>
                  <a:lnTo>
                    <a:pt x="17788" y="10080"/>
                  </a:lnTo>
                  <a:lnTo>
                    <a:pt x="17788" y="12960"/>
                  </a:lnTo>
                  <a:lnTo>
                    <a:pt x="18635" y="12960"/>
                  </a:lnTo>
                  <a:lnTo>
                    <a:pt x="18635" y="13680"/>
                  </a:lnTo>
                  <a:lnTo>
                    <a:pt x="19482" y="15120"/>
                  </a:lnTo>
                  <a:lnTo>
                    <a:pt x="19482" y="16560"/>
                  </a:lnTo>
                  <a:lnTo>
                    <a:pt x="18635" y="16560"/>
                  </a:lnTo>
                  <a:lnTo>
                    <a:pt x="18635" y="21600"/>
                  </a:lnTo>
                  <a:lnTo>
                    <a:pt x="17788" y="21600"/>
                  </a:lnTo>
                  <a:lnTo>
                    <a:pt x="16941" y="20160"/>
                  </a:lnTo>
                  <a:lnTo>
                    <a:pt x="13976" y="20160"/>
                  </a:lnTo>
                  <a:lnTo>
                    <a:pt x="13976" y="18720"/>
                  </a:lnTo>
                  <a:lnTo>
                    <a:pt x="13553" y="18720"/>
                  </a:lnTo>
                  <a:lnTo>
                    <a:pt x="13553" y="18000"/>
                  </a:lnTo>
                  <a:lnTo>
                    <a:pt x="11859" y="15120"/>
                  </a:lnTo>
                  <a:lnTo>
                    <a:pt x="9741" y="15120"/>
                  </a:lnTo>
                  <a:lnTo>
                    <a:pt x="9741" y="13680"/>
                  </a:lnTo>
                  <a:lnTo>
                    <a:pt x="8047" y="13680"/>
                  </a:lnTo>
                  <a:lnTo>
                    <a:pt x="8047" y="12960"/>
                  </a:lnTo>
                  <a:lnTo>
                    <a:pt x="7624" y="12960"/>
                  </a:lnTo>
                  <a:lnTo>
                    <a:pt x="6776" y="11520"/>
                  </a:lnTo>
                  <a:lnTo>
                    <a:pt x="5082" y="11520"/>
                  </a:lnTo>
                  <a:lnTo>
                    <a:pt x="5082" y="10080"/>
                  </a:lnTo>
                  <a:lnTo>
                    <a:pt x="3812" y="10080"/>
                  </a:lnTo>
                  <a:lnTo>
                    <a:pt x="3812" y="8640"/>
                  </a:lnTo>
                  <a:lnTo>
                    <a:pt x="2118" y="8640"/>
                  </a:lnTo>
                  <a:lnTo>
                    <a:pt x="1694" y="10080"/>
                  </a:lnTo>
                  <a:lnTo>
                    <a:pt x="1694" y="8640"/>
                  </a:lnTo>
                  <a:lnTo>
                    <a:pt x="847" y="8640"/>
                  </a:lnTo>
                  <a:lnTo>
                    <a:pt x="847" y="6480"/>
                  </a:lnTo>
                  <a:lnTo>
                    <a:pt x="0" y="6480"/>
                  </a:lnTo>
                  <a:lnTo>
                    <a:pt x="0" y="5040"/>
                  </a:lnTo>
                  <a:lnTo>
                    <a:pt x="1694" y="2880"/>
                  </a:lnTo>
                  <a:lnTo>
                    <a:pt x="1694" y="1440"/>
                  </a:lnTo>
                  <a:lnTo>
                    <a:pt x="2118" y="1440"/>
                  </a:lnTo>
                  <a:lnTo>
                    <a:pt x="2965" y="2880"/>
                  </a:lnTo>
                  <a:lnTo>
                    <a:pt x="4659" y="2880"/>
                  </a:lnTo>
                  <a:lnTo>
                    <a:pt x="4659" y="1440"/>
                  </a:lnTo>
                  <a:lnTo>
                    <a:pt x="5082" y="1440"/>
                  </a:lnTo>
                  <a:lnTo>
                    <a:pt x="5082" y="0"/>
                  </a:lnTo>
                  <a:close/>
                  <a:moveTo>
                    <a:pt x="5082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97" name="AutoShape 49"/>
            <p:cNvSpPr>
              <a:spLocks/>
            </p:cNvSpPr>
            <p:nvPr/>
          </p:nvSpPr>
          <p:spPr bwMode="auto">
            <a:xfrm>
              <a:off x="6930676" y="4371942"/>
              <a:ext cx="994302" cy="876372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3950" y="15290"/>
                  </a:moveTo>
                  <a:lnTo>
                    <a:pt x="14175" y="15290"/>
                  </a:lnTo>
                  <a:lnTo>
                    <a:pt x="13950" y="15411"/>
                  </a:lnTo>
                  <a:lnTo>
                    <a:pt x="13950" y="15290"/>
                  </a:lnTo>
                  <a:close/>
                  <a:moveTo>
                    <a:pt x="12712" y="3155"/>
                  </a:moveTo>
                  <a:lnTo>
                    <a:pt x="13162" y="3155"/>
                  </a:lnTo>
                  <a:lnTo>
                    <a:pt x="13162" y="3640"/>
                  </a:lnTo>
                  <a:lnTo>
                    <a:pt x="12712" y="3640"/>
                  </a:lnTo>
                  <a:lnTo>
                    <a:pt x="12712" y="3155"/>
                  </a:lnTo>
                  <a:close/>
                  <a:moveTo>
                    <a:pt x="9000" y="0"/>
                  </a:moveTo>
                  <a:lnTo>
                    <a:pt x="9450" y="0"/>
                  </a:lnTo>
                  <a:lnTo>
                    <a:pt x="9450" y="243"/>
                  </a:lnTo>
                  <a:lnTo>
                    <a:pt x="9562" y="243"/>
                  </a:lnTo>
                  <a:lnTo>
                    <a:pt x="9562" y="0"/>
                  </a:lnTo>
                  <a:lnTo>
                    <a:pt x="10013" y="0"/>
                  </a:lnTo>
                  <a:lnTo>
                    <a:pt x="10013" y="243"/>
                  </a:lnTo>
                  <a:lnTo>
                    <a:pt x="10238" y="243"/>
                  </a:lnTo>
                  <a:lnTo>
                    <a:pt x="10238" y="485"/>
                  </a:lnTo>
                  <a:lnTo>
                    <a:pt x="10013" y="485"/>
                  </a:lnTo>
                  <a:lnTo>
                    <a:pt x="10238" y="607"/>
                  </a:lnTo>
                  <a:lnTo>
                    <a:pt x="10350" y="607"/>
                  </a:lnTo>
                  <a:lnTo>
                    <a:pt x="10350" y="849"/>
                  </a:lnTo>
                  <a:lnTo>
                    <a:pt x="10800" y="849"/>
                  </a:lnTo>
                  <a:lnTo>
                    <a:pt x="10800" y="1092"/>
                  </a:lnTo>
                  <a:lnTo>
                    <a:pt x="11813" y="1092"/>
                  </a:lnTo>
                  <a:lnTo>
                    <a:pt x="11925" y="1335"/>
                  </a:lnTo>
                  <a:lnTo>
                    <a:pt x="12937" y="1335"/>
                  </a:lnTo>
                  <a:lnTo>
                    <a:pt x="12937" y="1456"/>
                  </a:lnTo>
                  <a:lnTo>
                    <a:pt x="12600" y="1456"/>
                  </a:lnTo>
                  <a:lnTo>
                    <a:pt x="12600" y="1699"/>
                  </a:lnTo>
                  <a:lnTo>
                    <a:pt x="12375" y="1699"/>
                  </a:lnTo>
                  <a:lnTo>
                    <a:pt x="12375" y="1942"/>
                  </a:lnTo>
                  <a:lnTo>
                    <a:pt x="12600" y="1942"/>
                  </a:lnTo>
                  <a:lnTo>
                    <a:pt x="12600" y="2184"/>
                  </a:lnTo>
                  <a:lnTo>
                    <a:pt x="12712" y="2184"/>
                  </a:lnTo>
                  <a:lnTo>
                    <a:pt x="12600" y="2306"/>
                  </a:lnTo>
                  <a:lnTo>
                    <a:pt x="12600" y="2548"/>
                  </a:lnTo>
                  <a:lnTo>
                    <a:pt x="12712" y="2548"/>
                  </a:lnTo>
                  <a:lnTo>
                    <a:pt x="12712" y="2791"/>
                  </a:lnTo>
                  <a:lnTo>
                    <a:pt x="12600" y="2791"/>
                  </a:lnTo>
                  <a:lnTo>
                    <a:pt x="12600" y="3034"/>
                  </a:lnTo>
                  <a:lnTo>
                    <a:pt x="12712" y="3034"/>
                  </a:lnTo>
                  <a:lnTo>
                    <a:pt x="12712" y="3155"/>
                  </a:lnTo>
                  <a:lnTo>
                    <a:pt x="11813" y="3155"/>
                  </a:lnTo>
                  <a:lnTo>
                    <a:pt x="11813" y="3640"/>
                  </a:lnTo>
                  <a:lnTo>
                    <a:pt x="11138" y="3640"/>
                  </a:lnTo>
                  <a:lnTo>
                    <a:pt x="11025" y="3762"/>
                  </a:lnTo>
                  <a:lnTo>
                    <a:pt x="10800" y="3762"/>
                  </a:lnTo>
                  <a:lnTo>
                    <a:pt x="10575" y="4004"/>
                  </a:lnTo>
                  <a:lnTo>
                    <a:pt x="10575" y="3762"/>
                  </a:lnTo>
                  <a:lnTo>
                    <a:pt x="10350" y="3762"/>
                  </a:lnTo>
                  <a:lnTo>
                    <a:pt x="10238" y="4004"/>
                  </a:lnTo>
                  <a:lnTo>
                    <a:pt x="10238" y="4247"/>
                  </a:lnTo>
                  <a:lnTo>
                    <a:pt x="10013" y="4247"/>
                  </a:lnTo>
                  <a:lnTo>
                    <a:pt x="10013" y="4490"/>
                  </a:lnTo>
                  <a:lnTo>
                    <a:pt x="10238" y="4490"/>
                  </a:lnTo>
                  <a:lnTo>
                    <a:pt x="10350" y="4611"/>
                  </a:lnTo>
                  <a:lnTo>
                    <a:pt x="10350" y="4854"/>
                  </a:lnTo>
                  <a:lnTo>
                    <a:pt x="10575" y="4854"/>
                  </a:lnTo>
                  <a:lnTo>
                    <a:pt x="10575" y="5461"/>
                  </a:lnTo>
                  <a:lnTo>
                    <a:pt x="10238" y="5461"/>
                  </a:lnTo>
                  <a:lnTo>
                    <a:pt x="10238" y="5703"/>
                  </a:lnTo>
                  <a:lnTo>
                    <a:pt x="10350" y="5946"/>
                  </a:lnTo>
                  <a:lnTo>
                    <a:pt x="10350" y="6796"/>
                  </a:lnTo>
                  <a:lnTo>
                    <a:pt x="10575" y="6796"/>
                  </a:lnTo>
                  <a:lnTo>
                    <a:pt x="10575" y="7038"/>
                  </a:lnTo>
                  <a:lnTo>
                    <a:pt x="10800" y="7038"/>
                  </a:lnTo>
                  <a:lnTo>
                    <a:pt x="10800" y="7160"/>
                  </a:lnTo>
                  <a:lnTo>
                    <a:pt x="11025" y="7160"/>
                  </a:lnTo>
                  <a:lnTo>
                    <a:pt x="11025" y="7402"/>
                  </a:lnTo>
                  <a:lnTo>
                    <a:pt x="11362" y="7402"/>
                  </a:lnTo>
                  <a:lnTo>
                    <a:pt x="11362" y="7888"/>
                  </a:lnTo>
                  <a:lnTo>
                    <a:pt x="11813" y="7888"/>
                  </a:lnTo>
                  <a:lnTo>
                    <a:pt x="11925" y="8009"/>
                  </a:lnTo>
                  <a:lnTo>
                    <a:pt x="12150" y="8009"/>
                  </a:lnTo>
                  <a:lnTo>
                    <a:pt x="12150" y="8252"/>
                  </a:lnTo>
                  <a:lnTo>
                    <a:pt x="12375" y="8494"/>
                  </a:lnTo>
                  <a:lnTo>
                    <a:pt x="12712" y="8494"/>
                  </a:lnTo>
                  <a:lnTo>
                    <a:pt x="12712" y="8858"/>
                  </a:lnTo>
                  <a:lnTo>
                    <a:pt x="12937" y="8858"/>
                  </a:lnTo>
                  <a:lnTo>
                    <a:pt x="12937" y="9101"/>
                  </a:lnTo>
                  <a:lnTo>
                    <a:pt x="13162" y="9101"/>
                  </a:lnTo>
                  <a:lnTo>
                    <a:pt x="13162" y="9951"/>
                  </a:lnTo>
                  <a:lnTo>
                    <a:pt x="13387" y="9951"/>
                  </a:lnTo>
                  <a:lnTo>
                    <a:pt x="13387" y="10436"/>
                  </a:lnTo>
                  <a:lnTo>
                    <a:pt x="13500" y="10436"/>
                  </a:lnTo>
                  <a:lnTo>
                    <a:pt x="13500" y="10557"/>
                  </a:lnTo>
                  <a:lnTo>
                    <a:pt x="13725" y="10557"/>
                  </a:lnTo>
                  <a:lnTo>
                    <a:pt x="13725" y="11043"/>
                  </a:lnTo>
                  <a:lnTo>
                    <a:pt x="13950" y="11043"/>
                  </a:lnTo>
                  <a:lnTo>
                    <a:pt x="13950" y="11285"/>
                  </a:lnTo>
                  <a:lnTo>
                    <a:pt x="14175" y="11285"/>
                  </a:lnTo>
                  <a:lnTo>
                    <a:pt x="14288" y="11407"/>
                  </a:lnTo>
                  <a:lnTo>
                    <a:pt x="14288" y="11649"/>
                  </a:lnTo>
                  <a:lnTo>
                    <a:pt x="14512" y="11649"/>
                  </a:lnTo>
                  <a:lnTo>
                    <a:pt x="14962" y="12135"/>
                  </a:lnTo>
                  <a:lnTo>
                    <a:pt x="15075" y="12135"/>
                  </a:lnTo>
                  <a:lnTo>
                    <a:pt x="15525" y="12256"/>
                  </a:lnTo>
                  <a:lnTo>
                    <a:pt x="15862" y="12256"/>
                  </a:lnTo>
                  <a:lnTo>
                    <a:pt x="16087" y="12135"/>
                  </a:lnTo>
                  <a:lnTo>
                    <a:pt x="16313" y="12135"/>
                  </a:lnTo>
                  <a:lnTo>
                    <a:pt x="16538" y="12256"/>
                  </a:lnTo>
                  <a:lnTo>
                    <a:pt x="16650" y="12135"/>
                  </a:lnTo>
                  <a:lnTo>
                    <a:pt x="17100" y="12135"/>
                  </a:lnTo>
                  <a:lnTo>
                    <a:pt x="17325" y="12256"/>
                  </a:lnTo>
                  <a:lnTo>
                    <a:pt x="17325" y="12742"/>
                  </a:lnTo>
                  <a:lnTo>
                    <a:pt x="17100" y="12984"/>
                  </a:lnTo>
                  <a:lnTo>
                    <a:pt x="16875" y="12984"/>
                  </a:lnTo>
                  <a:lnTo>
                    <a:pt x="17325" y="13348"/>
                  </a:lnTo>
                  <a:lnTo>
                    <a:pt x="17325" y="13591"/>
                  </a:lnTo>
                  <a:lnTo>
                    <a:pt x="17438" y="13591"/>
                  </a:lnTo>
                  <a:lnTo>
                    <a:pt x="17662" y="13834"/>
                  </a:lnTo>
                  <a:lnTo>
                    <a:pt x="17888" y="13834"/>
                  </a:lnTo>
                  <a:lnTo>
                    <a:pt x="18113" y="13955"/>
                  </a:lnTo>
                  <a:lnTo>
                    <a:pt x="18225" y="13955"/>
                  </a:lnTo>
                  <a:lnTo>
                    <a:pt x="18225" y="14198"/>
                  </a:lnTo>
                  <a:lnTo>
                    <a:pt x="18900" y="14198"/>
                  </a:lnTo>
                  <a:lnTo>
                    <a:pt x="18900" y="14440"/>
                  </a:lnTo>
                  <a:lnTo>
                    <a:pt x="19013" y="14440"/>
                  </a:lnTo>
                  <a:lnTo>
                    <a:pt x="19013" y="14683"/>
                  </a:lnTo>
                  <a:lnTo>
                    <a:pt x="19688" y="14683"/>
                  </a:lnTo>
                  <a:lnTo>
                    <a:pt x="19688" y="14804"/>
                  </a:lnTo>
                  <a:lnTo>
                    <a:pt x="19800" y="14804"/>
                  </a:lnTo>
                  <a:lnTo>
                    <a:pt x="20250" y="15290"/>
                  </a:lnTo>
                  <a:lnTo>
                    <a:pt x="20588" y="15290"/>
                  </a:lnTo>
                  <a:lnTo>
                    <a:pt x="20588" y="15411"/>
                  </a:lnTo>
                  <a:lnTo>
                    <a:pt x="20812" y="15411"/>
                  </a:lnTo>
                  <a:lnTo>
                    <a:pt x="20812" y="15654"/>
                  </a:lnTo>
                  <a:lnTo>
                    <a:pt x="21038" y="15654"/>
                  </a:lnTo>
                  <a:lnTo>
                    <a:pt x="21375" y="16139"/>
                  </a:lnTo>
                  <a:lnTo>
                    <a:pt x="21375" y="16261"/>
                  </a:lnTo>
                  <a:lnTo>
                    <a:pt x="21600" y="16261"/>
                  </a:lnTo>
                  <a:lnTo>
                    <a:pt x="21600" y="16746"/>
                  </a:lnTo>
                  <a:lnTo>
                    <a:pt x="21375" y="16746"/>
                  </a:lnTo>
                  <a:lnTo>
                    <a:pt x="21375" y="17110"/>
                  </a:lnTo>
                  <a:lnTo>
                    <a:pt x="21038" y="17110"/>
                  </a:lnTo>
                  <a:lnTo>
                    <a:pt x="20250" y="16261"/>
                  </a:lnTo>
                  <a:lnTo>
                    <a:pt x="20250" y="16139"/>
                  </a:lnTo>
                  <a:lnTo>
                    <a:pt x="20025" y="16139"/>
                  </a:lnTo>
                  <a:lnTo>
                    <a:pt x="19800" y="15897"/>
                  </a:lnTo>
                  <a:lnTo>
                    <a:pt x="19238" y="15897"/>
                  </a:lnTo>
                  <a:lnTo>
                    <a:pt x="19238" y="15411"/>
                  </a:lnTo>
                  <a:lnTo>
                    <a:pt x="19013" y="15411"/>
                  </a:lnTo>
                  <a:lnTo>
                    <a:pt x="18900" y="15654"/>
                  </a:lnTo>
                  <a:lnTo>
                    <a:pt x="18675" y="15654"/>
                  </a:lnTo>
                  <a:lnTo>
                    <a:pt x="18675" y="15897"/>
                  </a:lnTo>
                  <a:lnTo>
                    <a:pt x="18450" y="15897"/>
                  </a:lnTo>
                  <a:lnTo>
                    <a:pt x="18450" y="16139"/>
                  </a:lnTo>
                  <a:lnTo>
                    <a:pt x="18225" y="16261"/>
                  </a:lnTo>
                  <a:lnTo>
                    <a:pt x="18225" y="16746"/>
                  </a:lnTo>
                  <a:lnTo>
                    <a:pt x="18113" y="16989"/>
                  </a:lnTo>
                  <a:lnTo>
                    <a:pt x="18113" y="17596"/>
                  </a:lnTo>
                  <a:lnTo>
                    <a:pt x="18450" y="17596"/>
                  </a:lnTo>
                  <a:lnTo>
                    <a:pt x="18675" y="17838"/>
                  </a:lnTo>
                  <a:lnTo>
                    <a:pt x="18900" y="17838"/>
                  </a:lnTo>
                  <a:lnTo>
                    <a:pt x="18900" y="17960"/>
                  </a:lnTo>
                  <a:lnTo>
                    <a:pt x="19013" y="18202"/>
                  </a:lnTo>
                  <a:lnTo>
                    <a:pt x="19013" y="18445"/>
                  </a:lnTo>
                  <a:lnTo>
                    <a:pt x="19238" y="18688"/>
                  </a:lnTo>
                  <a:lnTo>
                    <a:pt x="19013" y="19052"/>
                  </a:lnTo>
                  <a:lnTo>
                    <a:pt x="19013" y="19294"/>
                  </a:lnTo>
                  <a:lnTo>
                    <a:pt x="18225" y="19294"/>
                  </a:lnTo>
                  <a:lnTo>
                    <a:pt x="18225" y="19537"/>
                  </a:lnTo>
                  <a:lnTo>
                    <a:pt x="18113" y="19537"/>
                  </a:lnTo>
                  <a:lnTo>
                    <a:pt x="18113" y="20387"/>
                  </a:lnTo>
                  <a:lnTo>
                    <a:pt x="17888" y="20508"/>
                  </a:lnTo>
                  <a:lnTo>
                    <a:pt x="17888" y="20751"/>
                  </a:lnTo>
                  <a:lnTo>
                    <a:pt x="17662" y="20751"/>
                  </a:lnTo>
                  <a:lnTo>
                    <a:pt x="17662" y="20993"/>
                  </a:lnTo>
                  <a:lnTo>
                    <a:pt x="17438" y="20993"/>
                  </a:lnTo>
                  <a:lnTo>
                    <a:pt x="17438" y="21236"/>
                  </a:lnTo>
                  <a:lnTo>
                    <a:pt x="17100" y="21600"/>
                  </a:lnTo>
                  <a:lnTo>
                    <a:pt x="16650" y="21600"/>
                  </a:lnTo>
                  <a:lnTo>
                    <a:pt x="16650" y="21357"/>
                  </a:lnTo>
                  <a:lnTo>
                    <a:pt x="16313" y="21357"/>
                  </a:lnTo>
                  <a:lnTo>
                    <a:pt x="16313" y="21236"/>
                  </a:lnTo>
                  <a:lnTo>
                    <a:pt x="16538" y="20751"/>
                  </a:lnTo>
                  <a:lnTo>
                    <a:pt x="16538" y="20508"/>
                  </a:lnTo>
                  <a:lnTo>
                    <a:pt x="16650" y="20508"/>
                  </a:lnTo>
                  <a:lnTo>
                    <a:pt x="16650" y="20387"/>
                  </a:lnTo>
                  <a:lnTo>
                    <a:pt x="16875" y="20144"/>
                  </a:lnTo>
                  <a:lnTo>
                    <a:pt x="16875" y="19901"/>
                  </a:lnTo>
                  <a:lnTo>
                    <a:pt x="16650" y="19901"/>
                  </a:lnTo>
                  <a:lnTo>
                    <a:pt x="16650" y="19658"/>
                  </a:lnTo>
                  <a:lnTo>
                    <a:pt x="17100" y="19658"/>
                  </a:lnTo>
                  <a:lnTo>
                    <a:pt x="17100" y="19537"/>
                  </a:lnTo>
                  <a:lnTo>
                    <a:pt x="17438" y="19537"/>
                  </a:lnTo>
                  <a:lnTo>
                    <a:pt x="17438" y="19294"/>
                  </a:lnTo>
                  <a:lnTo>
                    <a:pt x="17325" y="19052"/>
                  </a:lnTo>
                  <a:lnTo>
                    <a:pt x="17325" y="18809"/>
                  </a:lnTo>
                  <a:lnTo>
                    <a:pt x="17100" y="18809"/>
                  </a:lnTo>
                  <a:lnTo>
                    <a:pt x="17100" y="18688"/>
                  </a:lnTo>
                  <a:lnTo>
                    <a:pt x="16875" y="18445"/>
                  </a:lnTo>
                  <a:lnTo>
                    <a:pt x="16875" y="17960"/>
                  </a:lnTo>
                  <a:lnTo>
                    <a:pt x="16650" y="17838"/>
                  </a:lnTo>
                  <a:lnTo>
                    <a:pt x="16650" y="17110"/>
                  </a:lnTo>
                  <a:lnTo>
                    <a:pt x="16538" y="16989"/>
                  </a:lnTo>
                  <a:lnTo>
                    <a:pt x="16538" y="16746"/>
                  </a:lnTo>
                  <a:lnTo>
                    <a:pt x="15750" y="16746"/>
                  </a:lnTo>
                  <a:lnTo>
                    <a:pt x="15525" y="16503"/>
                  </a:lnTo>
                  <a:lnTo>
                    <a:pt x="15300" y="16503"/>
                  </a:lnTo>
                  <a:lnTo>
                    <a:pt x="15300" y="16261"/>
                  </a:lnTo>
                  <a:lnTo>
                    <a:pt x="15075" y="16261"/>
                  </a:lnTo>
                  <a:lnTo>
                    <a:pt x="15075" y="15411"/>
                  </a:lnTo>
                  <a:lnTo>
                    <a:pt x="14962" y="15411"/>
                  </a:lnTo>
                  <a:lnTo>
                    <a:pt x="14962" y="15290"/>
                  </a:lnTo>
                  <a:lnTo>
                    <a:pt x="14175" y="15290"/>
                  </a:lnTo>
                  <a:lnTo>
                    <a:pt x="14175" y="14804"/>
                  </a:lnTo>
                  <a:lnTo>
                    <a:pt x="13725" y="14804"/>
                  </a:lnTo>
                  <a:lnTo>
                    <a:pt x="13500" y="14683"/>
                  </a:lnTo>
                  <a:lnTo>
                    <a:pt x="13387" y="14683"/>
                  </a:lnTo>
                  <a:lnTo>
                    <a:pt x="13387" y="14440"/>
                  </a:lnTo>
                  <a:lnTo>
                    <a:pt x="13162" y="14440"/>
                  </a:lnTo>
                  <a:lnTo>
                    <a:pt x="13162" y="14198"/>
                  </a:lnTo>
                  <a:lnTo>
                    <a:pt x="12937" y="14198"/>
                  </a:lnTo>
                  <a:lnTo>
                    <a:pt x="12937" y="13955"/>
                  </a:lnTo>
                  <a:lnTo>
                    <a:pt x="12712" y="13834"/>
                  </a:lnTo>
                  <a:lnTo>
                    <a:pt x="12600" y="13834"/>
                  </a:lnTo>
                  <a:lnTo>
                    <a:pt x="12600" y="13955"/>
                  </a:lnTo>
                  <a:lnTo>
                    <a:pt x="11588" y="13955"/>
                  </a:lnTo>
                  <a:lnTo>
                    <a:pt x="11588" y="13834"/>
                  </a:lnTo>
                  <a:lnTo>
                    <a:pt x="11362" y="13834"/>
                  </a:lnTo>
                  <a:lnTo>
                    <a:pt x="11362" y="13591"/>
                  </a:lnTo>
                  <a:lnTo>
                    <a:pt x="11138" y="13591"/>
                  </a:lnTo>
                  <a:lnTo>
                    <a:pt x="11138" y="13348"/>
                  </a:lnTo>
                  <a:lnTo>
                    <a:pt x="10800" y="13348"/>
                  </a:lnTo>
                  <a:lnTo>
                    <a:pt x="10800" y="13106"/>
                  </a:lnTo>
                  <a:lnTo>
                    <a:pt x="10575" y="12984"/>
                  </a:lnTo>
                  <a:lnTo>
                    <a:pt x="10350" y="12984"/>
                  </a:lnTo>
                  <a:lnTo>
                    <a:pt x="10350" y="12742"/>
                  </a:lnTo>
                  <a:lnTo>
                    <a:pt x="10238" y="12742"/>
                  </a:lnTo>
                  <a:lnTo>
                    <a:pt x="10238" y="12499"/>
                  </a:lnTo>
                  <a:lnTo>
                    <a:pt x="10013" y="12499"/>
                  </a:lnTo>
                  <a:lnTo>
                    <a:pt x="10013" y="12256"/>
                  </a:lnTo>
                  <a:lnTo>
                    <a:pt x="9788" y="12256"/>
                  </a:lnTo>
                  <a:lnTo>
                    <a:pt x="9225" y="11649"/>
                  </a:lnTo>
                  <a:lnTo>
                    <a:pt x="9000" y="11649"/>
                  </a:lnTo>
                  <a:lnTo>
                    <a:pt x="9000" y="11407"/>
                  </a:lnTo>
                  <a:lnTo>
                    <a:pt x="8887" y="11407"/>
                  </a:lnTo>
                  <a:lnTo>
                    <a:pt x="8887" y="11285"/>
                  </a:lnTo>
                  <a:lnTo>
                    <a:pt x="8212" y="11285"/>
                  </a:lnTo>
                  <a:lnTo>
                    <a:pt x="8212" y="10800"/>
                  </a:lnTo>
                  <a:lnTo>
                    <a:pt x="8100" y="10800"/>
                  </a:lnTo>
                  <a:lnTo>
                    <a:pt x="8100" y="10557"/>
                  </a:lnTo>
                  <a:lnTo>
                    <a:pt x="7875" y="10557"/>
                  </a:lnTo>
                  <a:lnTo>
                    <a:pt x="7875" y="10436"/>
                  </a:lnTo>
                  <a:lnTo>
                    <a:pt x="7650" y="10193"/>
                  </a:lnTo>
                  <a:lnTo>
                    <a:pt x="7650" y="9951"/>
                  </a:lnTo>
                  <a:lnTo>
                    <a:pt x="7087" y="9951"/>
                  </a:lnTo>
                  <a:lnTo>
                    <a:pt x="7087" y="9101"/>
                  </a:lnTo>
                  <a:lnTo>
                    <a:pt x="6863" y="9101"/>
                  </a:lnTo>
                  <a:lnTo>
                    <a:pt x="6863" y="8737"/>
                  </a:lnTo>
                  <a:lnTo>
                    <a:pt x="6637" y="8737"/>
                  </a:lnTo>
                  <a:lnTo>
                    <a:pt x="6637" y="7645"/>
                  </a:lnTo>
                  <a:lnTo>
                    <a:pt x="6525" y="7645"/>
                  </a:lnTo>
                  <a:lnTo>
                    <a:pt x="6525" y="7402"/>
                  </a:lnTo>
                  <a:lnTo>
                    <a:pt x="6075" y="7402"/>
                  </a:lnTo>
                  <a:lnTo>
                    <a:pt x="6075" y="7160"/>
                  </a:lnTo>
                  <a:lnTo>
                    <a:pt x="5738" y="7160"/>
                  </a:lnTo>
                  <a:lnTo>
                    <a:pt x="5738" y="7038"/>
                  </a:lnTo>
                  <a:lnTo>
                    <a:pt x="5288" y="7038"/>
                  </a:lnTo>
                  <a:lnTo>
                    <a:pt x="5063" y="6796"/>
                  </a:lnTo>
                  <a:lnTo>
                    <a:pt x="4725" y="6796"/>
                  </a:lnTo>
                  <a:lnTo>
                    <a:pt x="4725" y="6553"/>
                  </a:lnTo>
                  <a:lnTo>
                    <a:pt x="3487" y="6553"/>
                  </a:lnTo>
                  <a:lnTo>
                    <a:pt x="3487" y="6796"/>
                  </a:lnTo>
                  <a:lnTo>
                    <a:pt x="3375" y="6796"/>
                  </a:lnTo>
                  <a:lnTo>
                    <a:pt x="3375" y="7038"/>
                  </a:lnTo>
                  <a:lnTo>
                    <a:pt x="3150" y="7160"/>
                  </a:lnTo>
                  <a:lnTo>
                    <a:pt x="3150" y="7402"/>
                  </a:lnTo>
                  <a:lnTo>
                    <a:pt x="2925" y="7402"/>
                  </a:lnTo>
                  <a:lnTo>
                    <a:pt x="2925" y="7645"/>
                  </a:lnTo>
                  <a:lnTo>
                    <a:pt x="2588" y="7645"/>
                  </a:lnTo>
                  <a:lnTo>
                    <a:pt x="2588" y="7888"/>
                  </a:lnTo>
                  <a:lnTo>
                    <a:pt x="1800" y="7888"/>
                  </a:lnTo>
                  <a:lnTo>
                    <a:pt x="1800" y="7645"/>
                  </a:lnTo>
                  <a:lnTo>
                    <a:pt x="1912" y="7645"/>
                  </a:lnTo>
                  <a:lnTo>
                    <a:pt x="1912" y="7402"/>
                  </a:lnTo>
                  <a:lnTo>
                    <a:pt x="2138" y="7402"/>
                  </a:lnTo>
                  <a:lnTo>
                    <a:pt x="2138" y="7160"/>
                  </a:lnTo>
                  <a:lnTo>
                    <a:pt x="1912" y="7160"/>
                  </a:lnTo>
                  <a:lnTo>
                    <a:pt x="1912" y="7038"/>
                  </a:lnTo>
                  <a:lnTo>
                    <a:pt x="1350" y="7038"/>
                  </a:lnTo>
                  <a:lnTo>
                    <a:pt x="1013" y="6553"/>
                  </a:lnTo>
                  <a:lnTo>
                    <a:pt x="563" y="6553"/>
                  </a:lnTo>
                  <a:lnTo>
                    <a:pt x="563" y="5703"/>
                  </a:lnTo>
                  <a:lnTo>
                    <a:pt x="1013" y="5703"/>
                  </a:lnTo>
                  <a:lnTo>
                    <a:pt x="788" y="5461"/>
                  </a:lnTo>
                  <a:lnTo>
                    <a:pt x="788" y="5339"/>
                  </a:lnTo>
                  <a:lnTo>
                    <a:pt x="338" y="5339"/>
                  </a:lnTo>
                  <a:lnTo>
                    <a:pt x="338" y="4854"/>
                  </a:lnTo>
                  <a:lnTo>
                    <a:pt x="0" y="4854"/>
                  </a:lnTo>
                  <a:lnTo>
                    <a:pt x="0" y="4611"/>
                  </a:lnTo>
                  <a:lnTo>
                    <a:pt x="563" y="4611"/>
                  </a:lnTo>
                  <a:lnTo>
                    <a:pt x="563" y="4490"/>
                  </a:lnTo>
                  <a:lnTo>
                    <a:pt x="1013" y="4490"/>
                  </a:lnTo>
                  <a:lnTo>
                    <a:pt x="1013" y="4247"/>
                  </a:lnTo>
                  <a:lnTo>
                    <a:pt x="1125" y="4247"/>
                  </a:lnTo>
                  <a:lnTo>
                    <a:pt x="1125" y="3762"/>
                  </a:lnTo>
                  <a:lnTo>
                    <a:pt x="788" y="3762"/>
                  </a:lnTo>
                  <a:lnTo>
                    <a:pt x="788" y="3398"/>
                  </a:lnTo>
                  <a:lnTo>
                    <a:pt x="338" y="3398"/>
                  </a:lnTo>
                  <a:lnTo>
                    <a:pt x="338" y="3034"/>
                  </a:lnTo>
                  <a:lnTo>
                    <a:pt x="563" y="3034"/>
                  </a:lnTo>
                  <a:lnTo>
                    <a:pt x="788" y="2791"/>
                  </a:lnTo>
                  <a:lnTo>
                    <a:pt x="1800" y="2791"/>
                  </a:lnTo>
                  <a:lnTo>
                    <a:pt x="1800" y="2548"/>
                  </a:lnTo>
                  <a:lnTo>
                    <a:pt x="1912" y="2548"/>
                  </a:lnTo>
                  <a:lnTo>
                    <a:pt x="1912" y="2791"/>
                  </a:lnTo>
                  <a:lnTo>
                    <a:pt x="2138" y="2791"/>
                  </a:lnTo>
                  <a:lnTo>
                    <a:pt x="2138" y="3034"/>
                  </a:lnTo>
                  <a:lnTo>
                    <a:pt x="2363" y="3034"/>
                  </a:lnTo>
                  <a:lnTo>
                    <a:pt x="2363" y="2548"/>
                  </a:lnTo>
                  <a:lnTo>
                    <a:pt x="2700" y="2548"/>
                  </a:lnTo>
                  <a:lnTo>
                    <a:pt x="2700" y="2184"/>
                  </a:lnTo>
                  <a:lnTo>
                    <a:pt x="2925" y="1942"/>
                  </a:lnTo>
                  <a:lnTo>
                    <a:pt x="2925" y="1699"/>
                  </a:lnTo>
                  <a:lnTo>
                    <a:pt x="3150" y="1699"/>
                  </a:lnTo>
                  <a:lnTo>
                    <a:pt x="3375" y="1456"/>
                  </a:lnTo>
                  <a:lnTo>
                    <a:pt x="3487" y="1456"/>
                  </a:lnTo>
                  <a:lnTo>
                    <a:pt x="3375" y="1699"/>
                  </a:lnTo>
                  <a:lnTo>
                    <a:pt x="3375" y="1942"/>
                  </a:lnTo>
                  <a:lnTo>
                    <a:pt x="3487" y="2184"/>
                  </a:lnTo>
                  <a:lnTo>
                    <a:pt x="3713" y="2184"/>
                  </a:lnTo>
                  <a:lnTo>
                    <a:pt x="3713" y="2306"/>
                  </a:lnTo>
                  <a:lnTo>
                    <a:pt x="3937" y="2306"/>
                  </a:lnTo>
                  <a:lnTo>
                    <a:pt x="4162" y="2548"/>
                  </a:lnTo>
                  <a:lnTo>
                    <a:pt x="4162" y="3155"/>
                  </a:lnTo>
                  <a:lnTo>
                    <a:pt x="4275" y="3155"/>
                  </a:lnTo>
                  <a:lnTo>
                    <a:pt x="4275" y="2791"/>
                  </a:lnTo>
                  <a:lnTo>
                    <a:pt x="4500" y="2791"/>
                  </a:lnTo>
                  <a:lnTo>
                    <a:pt x="4500" y="2306"/>
                  </a:lnTo>
                  <a:lnTo>
                    <a:pt x="4950" y="1942"/>
                  </a:lnTo>
                  <a:lnTo>
                    <a:pt x="4950" y="1335"/>
                  </a:lnTo>
                  <a:lnTo>
                    <a:pt x="5063" y="1456"/>
                  </a:lnTo>
                  <a:lnTo>
                    <a:pt x="5288" y="1456"/>
                  </a:lnTo>
                  <a:lnTo>
                    <a:pt x="5288" y="1699"/>
                  </a:lnTo>
                  <a:lnTo>
                    <a:pt x="5512" y="1699"/>
                  </a:lnTo>
                  <a:lnTo>
                    <a:pt x="5512" y="1942"/>
                  </a:lnTo>
                  <a:lnTo>
                    <a:pt x="6075" y="1942"/>
                  </a:lnTo>
                  <a:lnTo>
                    <a:pt x="6075" y="2184"/>
                  </a:lnTo>
                  <a:lnTo>
                    <a:pt x="6525" y="2184"/>
                  </a:lnTo>
                  <a:lnTo>
                    <a:pt x="6525" y="1456"/>
                  </a:lnTo>
                  <a:lnTo>
                    <a:pt x="6300" y="1456"/>
                  </a:lnTo>
                  <a:lnTo>
                    <a:pt x="6300" y="1335"/>
                  </a:lnTo>
                  <a:lnTo>
                    <a:pt x="6525" y="1092"/>
                  </a:lnTo>
                  <a:lnTo>
                    <a:pt x="6637" y="1092"/>
                  </a:lnTo>
                  <a:lnTo>
                    <a:pt x="6637" y="1335"/>
                  </a:lnTo>
                  <a:lnTo>
                    <a:pt x="7087" y="1335"/>
                  </a:lnTo>
                  <a:lnTo>
                    <a:pt x="7087" y="485"/>
                  </a:lnTo>
                  <a:lnTo>
                    <a:pt x="7425" y="485"/>
                  </a:lnTo>
                  <a:lnTo>
                    <a:pt x="7425" y="607"/>
                  </a:lnTo>
                  <a:lnTo>
                    <a:pt x="8100" y="607"/>
                  </a:lnTo>
                  <a:lnTo>
                    <a:pt x="8100" y="485"/>
                  </a:lnTo>
                  <a:lnTo>
                    <a:pt x="8212" y="485"/>
                  </a:lnTo>
                  <a:lnTo>
                    <a:pt x="8212" y="243"/>
                  </a:lnTo>
                  <a:lnTo>
                    <a:pt x="9000" y="243"/>
                  </a:lnTo>
                  <a:lnTo>
                    <a:pt x="9000" y="0"/>
                  </a:lnTo>
                  <a:close/>
                  <a:moveTo>
                    <a:pt x="9000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98" name="AutoShape 50"/>
            <p:cNvSpPr>
              <a:spLocks/>
            </p:cNvSpPr>
            <p:nvPr/>
          </p:nvSpPr>
          <p:spPr bwMode="auto">
            <a:xfrm>
              <a:off x="5519407" y="3499601"/>
              <a:ext cx="357881" cy="427105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3130" y="20855"/>
                  </a:moveTo>
                  <a:lnTo>
                    <a:pt x="3757" y="20855"/>
                  </a:lnTo>
                  <a:lnTo>
                    <a:pt x="3130" y="21352"/>
                  </a:lnTo>
                  <a:lnTo>
                    <a:pt x="3130" y="20855"/>
                  </a:lnTo>
                  <a:close/>
                  <a:moveTo>
                    <a:pt x="2504" y="15145"/>
                  </a:moveTo>
                  <a:lnTo>
                    <a:pt x="3757" y="15145"/>
                  </a:lnTo>
                  <a:lnTo>
                    <a:pt x="3757" y="15641"/>
                  </a:lnTo>
                  <a:lnTo>
                    <a:pt x="2504" y="15641"/>
                  </a:lnTo>
                  <a:lnTo>
                    <a:pt x="2504" y="15145"/>
                  </a:lnTo>
                  <a:close/>
                  <a:moveTo>
                    <a:pt x="6887" y="14400"/>
                  </a:moveTo>
                  <a:lnTo>
                    <a:pt x="6887" y="14648"/>
                  </a:lnTo>
                  <a:lnTo>
                    <a:pt x="5948" y="14648"/>
                  </a:lnTo>
                  <a:lnTo>
                    <a:pt x="5948" y="15145"/>
                  </a:lnTo>
                  <a:lnTo>
                    <a:pt x="8139" y="15145"/>
                  </a:lnTo>
                  <a:lnTo>
                    <a:pt x="6887" y="14400"/>
                  </a:lnTo>
                  <a:close/>
                  <a:moveTo>
                    <a:pt x="313" y="7697"/>
                  </a:moveTo>
                  <a:lnTo>
                    <a:pt x="2191" y="7697"/>
                  </a:lnTo>
                  <a:lnTo>
                    <a:pt x="2191" y="8193"/>
                  </a:lnTo>
                  <a:lnTo>
                    <a:pt x="313" y="8193"/>
                  </a:lnTo>
                  <a:lnTo>
                    <a:pt x="313" y="7697"/>
                  </a:lnTo>
                  <a:close/>
                  <a:moveTo>
                    <a:pt x="15339" y="0"/>
                  </a:moveTo>
                  <a:lnTo>
                    <a:pt x="15652" y="0"/>
                  </a:lnTo>
                  <a:lnTo>
                    <a:pt x="15652" y="497"/>
                  </a:lnTo>
                  <a:lnTo>
                    <a:pt x="16904" y="497"/>
                  </a:lnTo>
                  <a:lnTo>
                    <a:pt x="16904" y="993"/>
                  </a:lnTo>
                  <a:lnTo>
                    <a:pt x="17530" y="993"/>
                  </a:lnTo>
                  <a:lnTo>
                    <a:pt x="17530" y="1241"/>
                  </a:lnTo>
                  <a:lnTo>
                    <a:pt x="16904" y="1241"/>
                  </a:lnTo>
                  <a:lnTo>
                    <a:pt x="16904" y="1738"/>
                  </a:lnTo>
                  <a:lnTo>
                    <a:pt x="16278" y="1738"/>
                  </a:lnTo>
                  <a:lnTo>
                    <a:pt x="16278" y="2234"/>
                  </a:lnTo>
                  <a:lnTo>
                    <a:pt x="15339" y="2234"/>
                  </a:lnTo>
                  <a:lnTo>
                    <a:pt x="15339" y="2979"/>
                  </a:lnTo>
                  <a:lnTo>
                    <a:pt x="14713" y="2979"/>
                  </a:lnTo>
                  <a:lnTo>
                    <a:pt x="14713" y="3972"/>
                  </a:lnTo>
                  <a:lnTo>
                    <a:pt x="12522" y="3972"/>
                  </a:lnTo>
                  <a:lnTo>
                    <a:pt x="12522" y="4469"/>
                  </a:lnTo>
                  <a:lnTo>
                    <a:pt x="13461" y="4469"/>
                  </a:lnTo>
                  <a:lnTo>
                    <a:pt x="13461" y="4717"/>
                  </a:lnTo>
                  <a:lnTo>
                    <a:pt x="11896" y="4717"/>
                  </a:lnTo>
                  <a:lnTo>
                    <a:pt x="11896" y="5214"/>
                  </a:lnTo>
                  <a:lnTo>
                    <a:pt x="11270" y="5214"/>
                  </a:lnTo>
                  <a:lnTo>
                    <a:pt x="11270" y="5710"/>
                  </a:lnTo>
                  <a:lnTo>
                    <a:pt x="11896" y="5710"/>
                  </a:lnTo>
                  <a:lnTo>
                    <a:pt x="11896" y="5959"/>
                  </a:lnTo>
                  <a:lnTo>
                    <a:pt x="12522" y="5959"/>
                  </a:lnTo>
                  <a:lnTo>
                    <a:pt x="12522" y="6455"/>
                  </a:lnTo>
                  <a:lnTo>
                    <a:pt x="13148" y="6455"/>
                  </a:lnTo>
                  <a:lnTo>
                    <a:pt x="13148" y="6952"/>
                  </a:lnTo>
                  <a:lnTo>
                    <a:pt x="14713" y="6952"/>
                  </a:lnTo>
                  <a:lnTo>
                    <a:pt x="14713" y="7448"/>
                  </a:lnTo>
                  <a:lnTo>
                    <a:pt x="15652" y="7448"/>
                  </a:lnTo>
                  <a:lnTo>
                    <a:pt x="15652" y="6952"/>
                  </a:lnTo>
                  <a:lnTo>
                    <a:pt x="16278" y="6952"/>
                  </a:lnTo>
                  <a:lnTo>
                    <a:pt x="16278" y="6455"/>
                  </a:lnTo>
                  <a:lnTo>
                    <a:pt x="15652" y="6455"/>
                  </a:lnTo>
                  <a:lnTo>
                    <a:pt x="15652" y="5959"/>
                  </a:lnTo>
                  <a:lnTo>
                    <a:pt x="17843" y="5959"/>
                  </a:lnTo>
                  <a:lnTo>
                    <a:pt x="17843" y="6952"/>
                  </a:lnTo>
                  <a:lnTo>
                    <a:pt x="19096" y="6952"/>
                  </a:lnTo>
                  <a:lnTo>
                    <a:pt x="19096" y="7697"/>
                  </a:lnTo>
                  <a:lnTo>
                    <a:pt x="20035" y="7697"/>
                  </a:lnTo>
                  <a:lnTo>
                    <a:pt x="20035" y="7448"/>
                  </a:lnTo>
                  <a:lnTo>
                    <a:pt x="20661" y="7448"/>
                  </a:lnTo>
                  <a:lnTo>
                    <a:pt x="20661" y="7697"/>
                  </a:lnTo>
                  <a:lnTo>
                    <a:pt x="21287" y="7697"/>
                  </a:lnTo>
                  <a:lnTo>
                    <a:pt x="21287" y="8193"/>
                  </a:lnTo>
                  <a:lnTo>
                    <a:pt x="20035" y="8193"/>
                  </a:lnTo>
                  <a:lnTo>
                    <a:pt x="20035" y="8690"/>
                  </a:lnTo>
                  <a:lnTo>
                    <a:pt x="20661" y="8690"/>
                  </a:lnTo>
                  <a:lnTo>
                    <a:pt x="20661" y="9434"/>
                  </a:lnTo>
                  <a:lnTo>
                    <a:pt x="21287" y="9434"/>
                  </a:lnTo>
                  <a:lnTo>
                    <a:pt x="21287" y="9931"/>
                  </a:lnTo>
                  <a:lnTo>
                    <a:pt x="21600" y="10428"/>
                  </a:lnTo>
                  <a:lnTo>
                    <a:pt x="21600" y="11669"/>
                  </a:lnTo>
                  <a:lnTo>
                    <a:pt x="21287" y="11669"/>
                  </a:lnTo>
                  <a:lnTo>
                    <a:pt x="21287" y="12166"/>
                  </a:lnTo>
                  <a:lnTo>
                    <a:pt x="21600" y="12166"/>
                  </a:lnTo>
                  <a:lnTo>
                    <a:pt x="21600" y="14400"/>
                  </a:lnTo>
                  <a:lnTo>
                    <a:pt x="21287" y="14400"/>
                  </a:lnTo>
                  <a:lnTo>
                    <a:pt x="21287" y="15641"/>
                  </a:lnTo>
                  <a:lnTo>
                    <a:pt x="20661" y="15641"/>
                  </a:lnTo>
                  <a:lnTo>
                    <a:pt x="20661" y="16386"/>
                  </a:lnTo>
                  <a:lnTo>
                    <a:pt x="20035" y="16883"/>
                  </a:lnTo>
                  <a:lnTo>
                    <a:pt x="19722" y="16883"/>
                  </a:lnTo>
                  <a:lnTo>
                    <a:pt x="20035" y="17379"/>
                  </a:lnTo>
                  <a:lnTo>
                    <a:pt x="20035" y="17876"/>
                  </a:lnTo>
                  <a:lnTo>
                    <a:pt x="19096" y="17876"/>
                  </a:lnTo>
                  <a:lnTo>
                    <a:pt x="19096" y="17379"/>
                  </a:lnTo>
                  <a:lnTo>
                    <a:pt x="17843" y="17379"/>
                  </a:lnTo>
                  <a:lnTo>
                    <a:pt x="17843" y="17876"/>
                  </a:lnTo>
                  <a:lnTo>
                    <a:pt x="16904" y="17876"/>
                  </a:lnTo>
                  <a:lnTo>
                    <a:pt x="16904" y="18124"/>
                  </a:lnTo>
                  <a:lnTo>
                    <a:pt x="14087" y="18124"/>
                  </a:lnTo>
                  <a:lnTo>
                    <a:pt x="13148" y="19117"/>
                  </a:lnTo>
                  <a:lnTo>
                    <a:pt x="12522" y="19117"/>
                  </a:lnTo>
                  <a:lnTo>
                    <a:pt x="11896" y="19614"/>
                  </a:lnTo>
                  <a:lnTo>
                    <a:pt x="11270" y="19614"/>
                  </a:lnTo>
                  <a:lnTo>
                    <a:pt x="11270" y="19862"/>
                  </a:lnTo>
                  <a:lnTo>
                    <a:pt x="10330" y="19862"/>
                  </a:lnTo>
                  <a:lnTo>
                    <a:pt x="10330" y="19614"/>
                  </a:lnTo>
                  <a:lnTo>
                    <a:pt x="9704" y="19614"/>
                  </a:lnTo>
                  <a:lnTo>
                    <a:pt x="9704" y="20359"/>
                  </a:lnTo>
                  <a:lnTo>
                    <a:pt x="8765" y="21352"/>
                  </a:lnTo>
                  <a:lnTo>
                    <a:pt x="5948" y="21352"/>
                  </a:lnTo>
                  <a:lnTo>
                    <a:pt x="5322" y="21600"/>
                  </a:lnTo>
                  <a:lnTo>
                    <a:pt x="4696" y="21600"/>
                  </a:lnTo>
                  <a:lnTo>
                    <a:pt x="4696" y="21352"/>
                  </a:lnTo>
                  <a:lnTo>
                    <a:pt x="4383" y="21352"/>
                  </a:lnTo>
                  <a:lnTo>
                    <a:pt x="4383" y="21600"/>
                  </a:lnTo>
                  <a:lnTo>
                    <a:pt x="3130" y="21600"/>
                  </a:lnTo>
                  <a:lnTo>
                    <a:pt x="3130" y="21352"/>
                  </a:lnTo>
                  <a:lnTo>
                    <a:pt x="3757" y="21352"/>
                  </a:lnTo>
                  <a:lnTo>
                    <a:pt x="3757" y="20855"/>
                  </a:lnTo>
                  <a:lnTo>
                    <a:pt x="4383" y="20855"/>
                  </a:lnTo>
                  <a:lnTo>
                    <a:pt x="4383" y="20359"/>
                  </a:lnTo>
                  <a:lnTo>
                    <a:pt x="3757" y="20359"/>
                  </a:lnTo>
                  <a:lnTo>
                    <a:pt x="3130" y="20855"/>
                  </a:lnTo>
                  <a:lnTo>
                    <a:pt x="1565" y="20855"/>
                  </a:lnTo>
                  <a:lnTo>
                    <a:pt x="1565" y="20359"/>
                  </a:lnTo>
                  <a:lnTo>
                    <a:pt x="2191" y="20359"/>
                  </a:lnTo>
                  <a:lnTo>
                    <a:pt x="2191" y="19862"/>
                  </a:lnTo>
                  <a:lnTo>
                    <a:pt x="3130" y="19862"/>
                  </a:lnTo>
                  <a:lnTo>
                    <a:pt x="3130" y="19614"/>
                  </a:lnTo>
                  <a:lnTo>
                    <a:pt x="2191" y="19614"/>
                  </a:lnTo>
                  <a:lnTo>
                    <a:pt x="2191" y="19862"/>
                  </a:lnTo>
                  <a:lnTo>
                    <a:pt x="1565" y="19862"/>
                  </a:lnTo>
                  <a:lnTo>
                    <a:pt x="1565" y="19117"/>
                  </a:lnTo>
                  <a:lnTo>
                    <a:pt x="939" y="19117"/>
                  </a:lnTo>
                  <a:lnTo>
                    <a:pt x="313" y="19614"/>
                  </a:lnTo>
                  <a:lnTo>
                    <a:pt x="313" y="18621"/>
                  </a:lnTo>
                  <a:lnTo>
                    <a:pt x="939" y="18621"/>
                  </a:lnTo>
                  <a:lnTo>
                    <a:pt x="1565" y="18124"/>
                  </a:lnTo>
                  <a:lnTo>
                    <a:pt x="2504" y="18124"/>
                  </a:lnTo>
                  <a:lnTo>
                    <a:pt x="2504" y="17876"/>
                  </a:lnTo>
                  <a:lnTo>
                    <a:pt x="0" y="17876"/>
                  </a:lnTo>
                  <a:lnTo>
                    <a:pt x="313" y="17379"/>
                  </a:lnTo>
                  <a:lnTo>
                    <a:pt x="939" y="17379"/>
                  </a:lnTo>
                  <a:lnTo>
                    <a:pt x="939" y="16883"/>
                  </a:lnTo>
                  <a:lnTo>
                    <a:pt x="1565" y="16883"/>
                  </a:lnTo>
                  <a:lnTo>
                    <a:pt x="1565" y="17379"/>
                  </a:lnTo>
                  <a:lnTo>
                    <a:pt x="3130" y="17379"/>
                  </a:lnTo>
                  <a:lnTo>
                    <a:pt x="3130" y="16883"/>
                  </a:lnTo>
                  <a:lnTo>
                    <a:pt x="2504" y="16883"/>
                  </a:lnTo>
                  <a:lnTo>
                    <a:pt x="2504" y="16386"/>
                  </a:lnTo>
                  <a:lnTo>
                    <a:pt x="2191" y="16386"/>
                  </a:lnTo>
                  <a:lnTo>
                    <a:pt x="2504" y="16138"/>
                  </a:lnTo>
                  <a:lnTo>
                    <a:pt x="3757" y="16138"/>
                  </a:lnTo>
                  <a:lnTo>
                    <a:pt x="3757" y="15641"/>
                  </a:lnTo>
                  <a:lnTo>
                    <a:pt x="4696" y="15641"/>
                  </a:lnTo>
                  <a:lnTo>
                    <a:pt x="4696" y="15145"/>
                  </a:lnTo>
                  <a:lnTo>
                    <a:pt x="3757" y="15145"/>
                  </a:lnTo>
                  <a:lnTo>
                    <a:pt x="3757" y="14648"/>
                  </a:lnTo>
                  <a:lnTo>
                    <a:pt x="4383" y="14648"/>
                  </a:lnTo>
                  <a:lnTo>
                    <a:pt x="4696" y="14400"/>
                  </a:lnTo>
                  <a:lnTo>
                    <a:pt x="4696" y="13407"/>
                  </a:lnTo>
                  <a:lnTo>
                    <a:pt x="5322" y="12910"/>
                  </a:lnTo>
                  <a:lnTo>
                    <a:pt x="5322" y="12662"/>
                  </a:lnTo>
                  <a:lnTo>
                    <a:pt x="6574" y="12662"/>
                  </a:lnTo>
                  <a:lnTo>
                    <a:pt x="6887" y="12166"/>
                  </a:lnTo>
                  <a:lnTo>
                    <a:pt x="6887" y="11669"/>
                  </a:lnTo>
                  <a:lnTo>
                    <a:pt x="4696" y="11669"/>
                  </a:lnTo>
                  <a:lnTo>
                    <a:pt x="4383" y="12166"/>
                  </a:lnTo>
                  <a:lnTo>
                    <a:pt x="3757" y="12166"/>
                  </a:lnTo>
                  <a:lnTo>
                    <a:pt x="3757" y="11172"/>
                  </a:lnTo>
                  <a:lnTo>
                    <a:pt x="939" y="11172"/>
                  </a:lnTo>
                  <a:lnTo>
                    <a:pt x="939" y="10924"/>
                  </a:lnTo>
                  <a:lnTo>
                    <a:pt x="1565" y="10924"/>
                  </a:lnTo>
                  <a:lnTo>
                    <a:pt x="939" y="10428"/>
                  </a:lnTo>
                  <a:lnTo>
                    <a:pt x="2191" y="10428"/>
                  </a:lnTo>
                  <a:lnTo>
                    <a:pt x="2191" y="9931"/>
                  </a:lnTo>
                  <a:lnTo>
                    <a:pt x="3130" y="9931"/>
                  </a:lnTo>
                  <a:lnTo>
                    <a:pt x="3130" y="9434"/>
                  </a:lnTo>
                  <a:lnTo>
                    <a:pt x="2504" y="9434"/>
                  </a:lnTo>
                  <a:lnTo>
                    <a:pt x="2504" y="9186"/>
                  </a:lnTo>
                  <a:lnTo>
                    <a:pt x="3757" y="9186"/>
                  </a:lnTo>
                  <a:lnTo>
                    <a:pt x="3757" y="8690"/>
                  </a:lnTo>
                  <a:lnTo>
                    <a:pt x="2504" y="8690"/>
                  </a:lnTo>
                  <a:lnTo>
                    <a:pt x="2504" y="6952"/>
                  </a:lnTo>
                  <a:lnTo>
                    <a:pt x="2191" y="6952"/>
                  </a:lnTo>
                  <a:lnTo>
                    <a:pt x="1565" y="6455"/>
                  </a:lnTo>
                  <a:lnTo>
                    <a:pt x="1565" y="5959"/>
                  </a:lnTo>
                  <a:lnTo>
                    <a:pt x="2191" y="5959"/>
                  </a:lnTo>
                  <a:lnTo>
                    <a:pt x="2191" y="6455"/>
                  </a:lnTo>
                  <a:lnTo>
                    <a:pt x="2504" y="6455"/>
                  </a:lnTo>
                  <a:lnTo>
                    <a:pt x="2504" y="5959"/>
                  </a:lnTo>
                  <a:lnTo>
                    <a:pt x="5322" y="5959"/>
                  </a:lnTo>
                  <a:lnTo>
                    <a:pt x="5322" y="6455"/>
                  </a:lnTo>
                  <a:lnTo>
                    <a:pt x="5948" y="6455"/>
                  </a:lnTo>
                  <a:lnTo>
                    <a:pt x="5948" y="6952"/>
                  </a:lnTo>
                  <a:lnTo>
                    <a:pt x="6574" y="6952"/>
                  </a:lnTo>
                  <a:lnTo>
                    <a:pt x="6574" y="6455"/>
                  </a:lnTo>
                  <a:lnTo>
                    <a:pt x="9078" y="6455"/>
                  </a:lnTo>
                  <a:lnTo>
                    <a:pt x="9078" y="6952"/>
                  </a:lnTo>
                  <a:lnTo>
                    <a:pt x="9704" y="6952"/>
                  </a:lnTo>
                  <a:lnTo>
                    <a:pt x="9704" y="5710"/>
                  </a:lnTo>
                  <a:lnTo>
                    <a:pt x="10330" y="5710"/>
                  </a:lnTo>
                  <a:lnTo>
                    <a:pt x="10330" y="5214"/>
                  </a:lnTo>
                  <a:lnTo>
                    <a:pt x="10957" y="5214"/>
                  </a:lnTo>
                  <a:lnTo>
                    <a:pt x="10957" y="4469"/>
                  </a:lnTo>
                  <a:lnTo>
                    <a:pt x="8139" y="4469"/>
                  </a:lnTo>
                  <a:lnTo>
                    <a:pt x="8139" y="3972"/>
                  </a:lnTo>
                  <a:lnTo>
                    <a:pt x="8765" y="3476"/>
                  </a:lnTo>
                  <a:lnTo>
                    <a:pt x="9704" y="3476"/>
                  </a:lnTo>
                  <a:lnTo>
                    <a:pt x="9704" y="2731"/>
                  </a:lnTo>
                  <a:lnTo>
                    <a:pt x="10330" y="2234"/>
                  </a:lnTo>
                  <a:lnTo>
                    <a:pt x="10330" y="1738"/>
                  </a:lnTo>
                  <a:lnTo>
                    <a:pt x="11270" y="1738"/>
                  </a:lnTo>
                  <a:lnTo>
                    <a:pt x="11270" y="1241"/>
                  </a:lnTo>
                  <a:lnTo>
                    <a:pt x="13461" y="1241"/>
                  </a:lnTo>
                  <a:lnTo>
                    <a:pt x="13461" y="993"/>
                  </a:lnTo>
                  <a:lnTo>
                    <a:pt x="14087" y="993"/>
                  </a:lnTo>
                  <a:lnTo>
                    <a:pt x="14087" y="1241"/>
                  </a:lnTo>
                  <a:lnTo>
                    <a:pt x="14713" y="1241"/>
                  </a:lnTo>
                  <a:lnTo>
                    <a:pt x="14087" y="1738"/>
                  </a:lnTo>
                  <a:lnTo>
                    <a:pt x="14087" y="2234"/>
                  </a:lnTo>
                  <a:lnTo>
                    <a:pt x="14713" y="2234"/>
                  </a:lnTo>
                  <a:lnTo>
                    <a:pt x="14713" y="993"/>
                  </a:lnTo>
                  <a:lnTo>
                    <a:pt x="15339" y="993"/>
                  </a:lnTo>
                  <a:lnTo>
                    <a:pt x="15339" y="0"/>
                  </a:lnTo>
                  <a:close/>
                  <a:moveTo>
                    <a:pt x="15339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99" name="Freeform 51"/>
            <p:cNvSpPr>
              <a:spLocks/>
            </p:cNvSpPr>
            <p:nvPr/>
          </p:nvSpPr>
          <p:spPr bwMode="auto">
            <a:xfrm>
              <a:off x="7737597" y="4220844"/>
              <a:ext cx="560456" cy="280035"/>
            </a:xfrm>
            <a:custGeom>
              <a:avLst/>
              <a:gdLst/>
              <a:ahLst/>
              <a:cxnLst>
                <a:cxn ang="0">
                  <a:pos x="15200" y="379"/>
                </a:cxn>
                <a:cxn ang="0">
                  <a:pos x="16000" y="0"/>
                </a:cxn>
                <a:cxn ang="0">
                  <a:pos x="17000" y="1137"/>
                </a:cxn>
                <a:cxn ang="0">
                  <a:pos x="18800" y="1895"/>
                </a:cxn>
                <a:cxn ang="0">
                  <a:pos x="19200" y="1895"/>
                </a:cxn>
                <a:cxn ang="0">
                  <a:pos x="20200" y="2653"/>
                </a:cxn>
                <a:cxn ang="0">
                  <a:pos x="20800" y="3789"/>
                </a:cxn>
                <a:cxn ang="0">
                  <a:pos x="21600" y="4547"/>
                </a:cxn>
                <a:cxn ang="0">
                  <a:pos x="21200" y="5684"/>
                </a:cxn>
                <a:cxn ang="0">
                  <a:pos x="19800" y="6442"/>
                </a:cxn>
                <a:cxn ang="0">
                  <a:pos x="19400" y="7958"/>
                </a:cxn>
                <a:cxn ang="0">
                  <a:pos x="18800" y="8337"/>
                </a:cxn>
                <a:cxn ang="0">
                  <a:pos x="18400" y="10611"/>
                </a:cxn>
                <a:cxn ang="0">
                  <a:pos x="17800" y="10989"/>
                </a:cxn>
                <a:cxn ang="0">
                  <a:pos x="17400" y="12505"/>
                </a:cxn>
                <a:cxn ang="0">
                  <a:pos x="17400" y="13642"/>
                </a:cxn>
                <a:cxn ang="0">
                  <a:pos x="16600" y="15916"/>
                </a:cxn>
                <a:cxn ang="0">
                  <a:pos x="16000" y="17053"/>
                </a:cxn>
                <a:cxn ang="0">
                  <a:pos x="15200" y="18568"/>
                </a:cxn>
                <a:cxn ang="0">
                  <a:pos x="14600" y="18568"/>
                </a:cxn>
                <a:cxn ang="0">
                  <a:pos x="13800" y="18947"/>
                </a:cxn>
                <a:cxn ang="0">
                  <a:pos x="13600" y="18947"/>
                </a:cxn>
                <a:cxn ang="0">
                  <a:pos x="12200" y="18947"/>
                </a:cxn>
                <a:cxn ang="0">
                  <a:pos x="10400" y="18568"/>
                </a:cxn>
                <a:cxn ang="0">
                  <a:pos x="10000" y="19705"/>
                </a:cxn>
                <a:cxn ang="0">
                  <a:pos x="7600" y="20463"/>
                </a:cxn>
                <a:cxn ang="0">
                  <a:pos x="7200" y="21600"/>
                </a:cxn>
                <a:cxn ang="0">
                  <a:pos x="4400" y="21221"/>
                </a:cxn>
                <a:cxn ang="0">
                  <a:pos x="3800" y="19705"/>
                </a:cxn>
                <a:cxn ang="0">
                  <a:pos x="3000" y="18947"/>
                </a:cxn>
                <a:cxn ang="0">
                  <a:pos x="2400" y="17811"/>
                </a:cxn>
                <a:cxn ang="0">
                  <a:pos x="1600" y="17053"/>
                </a:cxn>
                <a:cxn ang="0">
                  <a:pos x="1000" y="15916"/>
                </a:cxn>
                <a:cxn ang="0">
                  <a:pos x="200" y="14400"/>
                </a:cxn>
                <a:cxn ang="0">
                  <a:pos x="0" y="13263"/>
                </a:cxn>
                <a:cxn ang="0">
                  <a:pos x="1000" y="9853"/>
                </a:cxn>
                <a:cxn ang="0">
                  <a:pos x="1600" y="9095"/>
                </a:cxn>
                <a:cxn ang="0">
                  <a:pos x="1000" y="7200"/>
                </a:cxn>
                <a:cxn ang="0">
                  <a:pos x="1600" y="6442"/>
                </a:cxn>
                <a:cxn ang="0">
                  <a:pos x="3000" y="5305"/>
                </a:cxn>
                <a:cxn ang="0">
                  <a:pos x="4400" y="6442"/>
                </a:cxn>
                <a:cxn ang="0">
                  <a:pos x="6200" y="7200"/>
                </a:cxn>
                <a:cxn ang="0">
                  <a:pos x="6600" y="7200"/>
                </a:cxn>
                <a:cxn ang="0">
                  <a:pos x="7200" y="6442"/>
                </a:cxn>
                <a:cxn ang="0">
                  <a:pos x="7600" y="6442"/>
                </a:cxn>
                <a:cxn ang="0">
                  <a:pos x="8200" y="5684"/>
                </a:cxn>
                <a:cxn ang="0">
                  <a:pos x="9000" y="4547"/>
                </a:cxn>
                <a:cxn ang="0">
                  <a:pos x="10400" y="3032"/>
                </a:cxn>
                <a:cxn ang="0">
                  <a:pos x="12400" y="3789"/>
                </a:cxn>
                <a:cxn ang="0">
                  <a:pos x="13200" y="2653"/>
                </a:cxn>
                <a:cxn ang="0">
                  <a:pos x="13600" y="1137"/>
                </a:cxn>
                <a:cxn ang="0">
                  <a:pos x="14600" y="379"/>
                </a:cxn>
              </a:cxnLst>
              <a:rect l="0" t="0" r="r" b="b"/>
              <a:pathLst>
                <a:path w="21600" h="21600">
                  <a:moveTo>
                    <a:pt x="14600" y="0"/>
                  </a:moveTo>
                  <a:lnTo>
                    <a:pt x="15200" y="0"/>
                  </a:lnTo>
                  <a:lnTo>
                    <a:pt x="15200" y="379"/>
                  </a:lnTo>
                  <a:lnTo>
                    <a:pt x="15600" y="379"/>
                  </a:lnTo>
                  <a:lnTo>
                    <a:pt x="15600" y="0"/>
                  </a:lnTo>
                  <a:lnTo>
                    <a:pt x="16000" y="0"/>
                  </a:lnTo>
                  <a:lnTo>
                    <a:pt x="16400" y="379"/>
                  </a:lnTo>
                  <a:lnTo>
                    <a:pt x="17000" y="379"/>
                  </a:lnTo>
                  <a:lnTo>
                    <a:pt x="17000" y="1137"/>
                  </a:lnTo>
                  <a:lnTo>
                    <a:pt x="17800" y="1137"/>
                  </a:lnTo>
                  <a:lnTo>
                    <a:pt x="17800" y="1895"/>
                  </a:lnTo>
                  <a:lnTo>
                    <a:pt x="18800" y="1895"/>
                  </a:lnTo>
                  <a:lnTo>
                    <a:pt x="18800" y="1137"/>
                  </a:lnTo>
                  <a:lnTo>
                    <a:pt x="19200" y="1137"/>
                  </a:lnTo>
                  <a:lnTo>
                    <a:pt x="19200" y="1895"/>
                  </a:lnTo>
                  <a:lnTo>
                    <a:pt x="19800" y="1895"/>
                  </a:lnTo>
                  <a:lnTo>
                    <a:pt x="19800" y="2653"/>
                  </a:lnTo>
                  <a:lnTo>
                    <a:pt x="20200" y="2653"/>
                  </a:lnTo>
                  <a:lnTo>
                    <a:pt x="20200" y="3032"/>
                  </a:lnTo>
                  <a:lnTo>
                    <a:pt x="20800" y="3032"/>
                  </a:lnTo>
                  <a:lnTo>
                    <a:pt x="20800" y="3789"/>
                  </a:lnTo>
                  <a:lnTo>
                    <a:pt x="21200" y="3789"/>
                  </a:lnTo>
                  <a:lnTo>
                    <a:pt x="21200" y="4547"/>
                  </a:lnTo>
                  <a:lnTo>
                    <a:pt x="21600" y="4547"/>
                  </a:lnTo>
                  <a:lnTo>
                    <a:pt x="21600" y="5305"/>
                  </a:lnTo>
                  <a:lnTo>
                    <a:pt x="21200" y="5305"/>
                  </a:lnTo>
                  <a:lnTo>
                    <a:pt x="21200" y="5684"/>
                  </a:lnTo>
                  <a:lnTo>
                    <a:pt x="20800" y="5684"/>
                  </a:lnTo>
                  <a:lnTo>
                    <a:pt x="20800" y="6442"/>
                  </a:lnTo>
                  <a:lnTo>
                    <a:pt x="19800" y="6442"/>
                  </a:lnTo>
                  <a:lnTo>
                    <a:pt x="19800" y="7200"/>
                  </a:lnTo>
                  <a:lnTo>
                    <a:pt x="19400" y="7200"/>
                  </a:lnTo>
                  <a:lnTo>
                    <a:pt x="19400" y="7958"/>
                  </a:lnTo>
                  <a:lnTo>
                    <a:pt x="19200" y="7958"/>
                  </a:lnTo>
                  <a:lnTo>
                    <a:pt x="19200" y="8337"/>
                  </a:lnTo>
                  <a:lnTo>
                    <a:pt x="18800" y="8337"/>
                  </a:lnTo>
                  <a:lnTo>
                    <a:pt x="18800" y="9853"/>
                  </a:lnTo>
                  <a:lnTo>
                    <a:pt x="18400" y="9853"/>
                  </a:lnTo>
                  <a:lnTo>
                    <a:pt x="18400" y="10611"/>
                  </a:lnTo>
                  <a:lnTo>
                    <a:pt x="18000" y="10611"/>
                  </a:lnTo>
                  <a:lnTo>
                    <a:pt x="18000" y="10989"/>
                  </a:lnTo>
                  <a:lnTo>
                    <a:pt x="17800" y="10989"/>
                  </a:lnTo>
                  <a:lnTo>
                    <a:pt x="17800" y="11747"/>
                  </a:lnTo>
                  <a:lnTo>
                    <a:pt x="17400" y="11747"/>
                  </a:lnTo>
                  <a:lnTo>
                    <a:pt x="17400" y="12505"/>
                  </a:lnTo>
                  <a:lnTo>
                    <a:pt x="17800" y="13263"/>
                  </a:lnTo>
                  <a:lnTo>
                    <a:pt x="17400" y="13263"/>
                  </a:lnTo>
                  <a:lnTo>
                    <a:pt x="17400" y="13642"/>
                  </a:lnTo>
                  <a:lnTo>
                    <a:pt x="17000" y="13642"/>
                  </a:lnTo>
                  <a:lnTo>
                    <a:pt x="17000" y="15158"/>
                  </a:lnTo>
                  <a:lnTo>
                    <a:pt x="16600" y="15916"/>
                  </a:lnTo>
                  <a:lnTo>
                    <a:pt x="16400" y="15916"/>
                  </a:lnTo>
                  <a:lnTo>
                    <a:pt x="16400" y="17053"/>
                  </a:lnTo>
                  <a:lnTo>
                    <a:pt x="16000" y="17053"/>
                  </a:lnTo>
                  <a:lnTo>
                    <a:pt x="15600" y="17811"/>
                  </a:lnTo>
                  <a:lnTo>
                    <a:pt x="15600" y="18568"/>
                  </a:lnTo>
                  <a:lnTo>
                    <a:pt x="15200" y="18568"/>
                  </a:lnTo>
                  <a:lnTo>
                    <a:pt x="15200" y="17811"/>
                  </a:lnTo>
                  <a:lnTo>
                    <a:pt x="14600" y="17811"/>
                  </a:lnTo>
                  <a:lnTo>
                    <a:pt x="14600" y="18568"/>
                  </a:lnTo>
                  <a:lnTo>
                    <a:pt x="14200" y="18568"/>
                  </a:lnTo>
                  <a:lnTo>
                    <a:pt x="14200" y="18947"/>
                  </a:lnTo>
                  <a:lnTo>
                    <a:pt x="13800" y="18947"/>
                  </a:lnTo>
                  <a:lnTo>
                    <a:pt x="13800" y="18568"/>
                  </a:lnTo>
                  <a:lnTo>
                    <a:pt x="13600" y="18568"/>
                  </a:lnTo>
                  <a:lnTo>
                    <a:pt x="13600" y="18947"/>
                  </a:lnTo>
                  <a:lnTo>
                    <a:pt x="13200" y="18568"/>
                  </a:lnTo>
                  <a:lnTo>
                    <a:pt x="12200" y="18568"/>
                  </a:lnTo>
                  <a:lnTo>
                    <a:pt x="12200" y="18947"/>
                  </a:lnTo>
                  <a:lnTo>
                    <a:pt x="11800" y="18947"/>
                  </a:lnTo>
                  <a:lnTo>
                    <a:pt x="11800" y="18568"/>
                  </a:lnTo>
                  <a:lnTo>
                    <a:pt x="10400" y="18568"/>
                  </a:lnTo>
                  <a:lnTo>
                    <a:pt x="10400" y="18947"/>
                  </a:lnTo>
                  <a:lnTo>
                    <a:pt x="10000" y="18947"/>
                  </a:lnTo>
                  <a:lnTo>
                    <a:pt x="10000" y="19705"/>
                  </a:lnTo>
                  <a:lnTo>
                    <a:pt x="9000" y="19705"/>
                  </a:lnTo>
                  <a:lnTo>
                    <a:pt x="9000" y="20463"/>
                  </a:lnTo>
                  <a:lnTo>
                    <a:pt x="7600" y="20463"/>
                  </a:lnTo>
                  <a:lnTo>
                    <a:pt x="7600" y="21221"/>
                  </a:lnTo>
                  <a:lnTo>
                    <a:pt x="7200" y="21221"/>
                  </a:lnTo>
                  <a:lnTo>
                    <a:pt x="7200" y="21600"/>
                  </a:lnTo>
                  <a:lnTo>
                    <a:pt x="5200" y="21600"/>
                  </a:lnTo>
                  <a:lnTo>
                    <a:pt x="5200" y="21221"/>
                  </a:lnTo>
                  <a:lnTo>
                    <a:pt x="4400" y="21221"/>
                  </a:lnTo>
                  <a:lnTo>
                    <a:pt x="4400" y="20463"/>
                  </a:lnTo>
                  <a:lnTo>
                    <a:pt x="3800" y="20463"/>
                  </a:lnTo>
                  <a:lnTo>
                    <a:pt x="3800" y="19705"/>
                  </a:lnTo>
                  <a:lnTo>
                    <a:pt x="3400" y="19705"/>
                  </a:lnTo>
                  <a:lnTo>
                    <a:pt x="3400" y="18947"/>
                  </a:lnTo>
                  <a:lnTo>
                    <a:pt x="3000" y="18947"/>
                  </a:lnTo>
                  <a:lnTo>
                    <a:pt x="3000" y="18568"/>
                  </a:lnTo>
                  <a:lnTo>
                    <a:pt x="2400" y="18568"/>
                  </a:lnTo>
                  <a:lnTo>
                    <a:pt x="2400" y="17811"/>
                  </a:lnTo>
                  <a:lnTo>
                    <a:pt x="2000" y="17811"/>
                  </a:lnTo>
                  <a:lnTo>
                    <a:pt x="2000" y="17053"/>
                  </a:lnTo>
                  <a:lnTo>
                    <a:pt x="1600" y="17053"/>
                  </a:lnTo>
                  <a:lnTo>
                    <a:pt x="1600" y="16295"/>
                  </a:lnTo>
                  <a:lnTo>
                    <a:pt x="1000" y="16295"/>
                  </a:lnTo>
                  <a:lnTo>
                    <a:pt x="1000" y="15916"/>
                  </a:lnTo>
                  <a:lnTo>
                    <a:pt x="600" y="15916"/>
                  </a:lnTo>
                  <a:lnTo>
                    <a:pt x="600" y="14400"/>
                  </a:lnTo>
                  <a:lnTo>
                    <a:pt x="200" y="14400"/>
                  </a:lnTo>
                  <a:lnTo>
                    <a:pt x="600" y="13642"/>
                  </a:lnTo>
                  <a:lnTo>
                    <a:pt x="0" y="13642"/>
                  </a:lnTo>
                  <a:lnTo>
                    <a:pt x="0" y="13263"/>
                  </a:lnTo>
                  <a:lnTo>
                    <a:pt x="200" y="12505"/>
                  </a:lnTo>
                  <a:lnTo>
                    <a:pt x="1000" y="12505"/>
                  </a:lnTo>
                  <a:lnTo>
                    <a:pt x="1000" y="9853"/>
                  </a:lnTo>
                  <a:lnTo>
                    <a:pt x="1400" y="9853"/>
                  </a:lnTo>
                  <a:lnTo>
                    <a:pt x="1400" y="9095"/>
                  </a:lnTo>
                  <a:lnTo>
                    <a:pt x="1600" y="9095"/>
                  </a:lnTo>
                  <a:lnTo>
                    <a:pt x="1600" y="7958"/>
                  </a:lnTo>
                  <a:lnTo>
                    <a:pt x="1400" y="7958"/>
                  </a:lnTo>
                  <a:lnTo>
                    <a:pt x="1000" y="7200"/>
                  </a:lnTo>
                  <a:lnTo>
                    <a:pt x="1400" y="7200"/>
                  </a:lnTo>
                  <a:lnTo>
                    <a:pt x="1400" y="6442"/>
                  </a:lnTo>
                  <a:lnTo>
                    <a:pt x="1600" y="6442"/>
                  </a:lnTo>
                  <a:lnTo>
                    <a:pt x="1600" y="7200"/>
                  </a:lnTo>
                  <a:lnTo>
                    <a:pt x="3000" y="7200"/>
                  </a:lnTo>
                  <a:lnTo>
                    <a:pt x="3000" y="5305"/>
                  </a:lnTo>
                  <a:lnTo>
                    <a:pt x="4200" y="5305"/>
                  </a:lnTo>
                  <a:lnTo>
                    <a:pt x="4200" y="5684"/>
                  </a:lnTo>
                  <a:lnTo>
                    <a:pt x="4400" y="6442"/>
                  </a:lnTo>
                  <a:lnTo>
                    <a:pt x="5200" y="6442"/>
                  </a:lnTo>
                  <a:lnTo>
                    <a:pt x="5200" y="7200"/>
                  </a:lnTo>
                  <a:lnTo>
                    <a:pt x="6200" y="7200"/>
                  </a:lnTo>
                  <a:lnTo>
                    <a:pt x="6200" y="6442"/>
                  </a:lnTo>
                  <a:lnTo>
                    <a:pt x="6600" y="6442"/>
                  </a:lnTo>
                  <a:lnTo>
                    <a:pt x="6600" y="7200"/>
                  </a:lnTo>
                  <a:lnTo>
                    <a:pt x="6800" y="7200"/>
                  </a:lnTo>
                  <a:lnTo>
                    <a:pt x="6800" y="6442"/>
                  </a:lnTo>
                  <a:lnTo>
                    <a:pt x="7200" y="6442"/>
                  </a:lnTo>
                  <a:lnTo>
                    <a:pt x="7200" y="7200"/>
                  </a:lnTo>
                  <a:lnTo>
                    <a:pt x="7600" y="7200"/>
                  </a:lnTo>
                  <a:lnTo>
                    <a:pt x="7600" y="6442"/>
                  </a:lnTo>
                  <a:lnTo>
                    <a:pt x="8600" y="6442"/>
                  </a:lnTo>
                  <a:lnTo>
                    <a:pt x="8600" y="5684"/>
                  </a:lnTo>
                  <a:lnTo>
                    <a:pt x="8200" y="5684"/>
                  </a:lnTo>
                  <a:lnTo>
                    <a:pt x="8600" y="5305"/>
                  </a:lnTo>
                  <a:lnTo>
                    <a:pt x="8600" y="4547"/>
                  </a:lnTo>
                  <a:lnTo>
                    <a:pt x="9000" y="4547"/>
                  </a:lnTo>
                  <a:lnTo>
                    <a:pt x="9000" y="3789"/>
                  </a:lnTo>
                  <a:lnTo>
                    <a:pt x="10000" y="3789"/>
                  </a:lnTo>
                  <a:lnTo>
                    <a:pt x="10400" y="3032"/>
                  </a:lnTo>
                  <a:lnTo>
                    <a:pt x="11400" y="3032"/>
                  </a:lnTo>
                  <a:lnTo>
                    <a:pt x="11400" y="3789"/>
                  </a:lnTo>
                  <a:lnTo>
                    <a:pt x="12400" y="3789"/>
                  </a:lnTo>
                  <a:lnTo>
                    <a:pt x="12400" y="3032"/>
                  </a:lnTo>
                  <a:lnTo>
                    <a:pt x="12800" y="2653"/>
                  </a:lnTo>
                  <a:lnTo>
                    <a:pt x="13200" y="2653"/>
                  </a:lnTo>
                  <a:lnTo>
                    <a:pt x="13200" y="1895"/>
                  </a:lnTo>
                  <a:lnTo>
                    <a:pt x="13600" y="1895"/>
                  </a:lnTo>
                  <a:lnTo>
                    <a:pt x="13600" y="1137"/>
                  </a:lnTo>
                  <a:lnTo>
                    <a:pt x="14200" y="1137"/>
                  </a:lnTo>
                  <a:lnTo>
                    <a:pt x="14200" y="379"/>
                  </a:lnTo>
                  <a:lnTo>
                    <a:pt x="14600" y="379"/>
                  </a:lnTo>
                  <a:lnTo>
                    <a:pt x="14600" y="0"/>
                  </a:lnTo>
                  <a:close/>
                  <a:moveTo>
                    <a:pt x="14600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00" name="AutoShape 52"/>
            <p:cNvSpPr>
              <a:spLocks/>
            </p:cNvSpPr>
            <p:nvPr/>
          </p:nvSpPr>
          <p:spPr bwMode="auto">
            <a:xfrm>
              <a:off x="8475305" y="5306738"/>
              <a:ext cx="28699" cy="30220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0" y="7200"/>
                  </a:moveTo>
                  <a:lnTo>
                    <a:pt x="8100" y="7200"/>
                  </a:lnTo>
                  <a:lnTo>
                    <a:pt x="8100" y="14400"/>
                  </a:lnTo>
                  <a:lnTo>
                    <a:pt x="0" y="14400"/>
                  </a:lnTo>
                  <a:lnTo>
                    <a:pt x="0" y="7200"/>
                  </a:lnTo>
                  <a:close/>
                  <a:moveTo>
                    <a:pt x="18900" y="0"/>
                  </a:moveTo>
                  <a:lnTo>
                    <a:pt x="21600" y="0"/>
                  </a:lnTo>
                  <a:lnTo>
                    <a:pt x="21600" y="7200"/>
                  </a:lnTo>
                  <a:lnTo>
                    <a:pt x="18900" y="14400"/>
                  </a:lnTo>
                  <a:lnTo>
                    <a:pt x="18900" y="21600"/>
                  </a:lnTo>
                  <a:lnTo>
                    <a:pt x="13500" y="21600"/>
                  </a:lnTo>
                  <a:lnTo>
                    <a:pt x="13500" y="7200"/>
                  </a:lnTo>
                  <a:lnTo>
                    <a:pt x="18900" y="0"/>
                  </a:lnTo>
                  <a:close/>
                  <a:moveTo>
                    <a:pt x="18900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01" name="Freeform 53"/>
            <p:cNvSpPr>
              <a:spLocks/>
            </p:cNvSpPr>
            <p:nvPr/>
          </p:nvSpPr>
          <p:spPr bwMode="auto">
            <a:xfrm>
              <a:off x="8537766" y="5179816"/>
              <a:ext cx="25321" cy="4432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1600" y="0"/>
                </a:cxn>
                <a:cxn ang="0">
                  <a:pos x="21600" y="12000"/>
                </a:cxn>
                <a:cxn ang="0">
                  <a:pos x="12960" y="16800"/>
                </a:cxn>
                <a:cxn ang="0">
                  <a:pos x="12960" y="21600"/>
                </a:cxn>
                <a:cxn ang="0">
                  <a:pos x="8640" y="21600"/>
                </a:cxn>
                <a:cxn ang="0">
                  <a:pos x="8640" y="16800"/>
                </a:cxn>
                <a:cxn ang="0">
                  <a:pos x="0" y="1680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12000"/>
                  </a:lnTo>
                  <a:lnTo>
                    <a:pt x="12960" y="16800"/>
                  </a:lnTo>
                  <a:lnTo>
                    <a:pt x="12960" y="21600"/>
                  </a:lnTo>
                  <a:lnTo>
                    <a:pt x="8640" y="21600"/>
                  </a:lnTo>
                  <a:lnTo>
                    <a:pt x="8640" y="16800"/>
                  </a:lnTo>
                  <a:lnTo>
                    <a:pt x="0" y="16800"/>
                  </a:lnTo>
                  <a:lnTo>
                    <a:pt x="0" y="0"/>
                  </a:lnTo>
                  <a:close/>
                  <a:moveTo>
                    <a:pt x="0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02" name="Freeform 54"/>
            <p:cNvSpPr>
              <a:spLocks/>
            </p:cNvSpPr>
            <p:nvPr/>
          </p:nvSpPr>
          <p:spPr bwMode="auto">
            <a:xfrm>
              <a:off x="8552958" y="5109303"/>
              <a:ext cx="47267" cy="362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400" y="0"/>
                </a:cxn>
                <a:cxn ang="0">
                  <a:pos x="14400" y="6171"/>
                </a:cxn>
                <a:cxn ang="0">
                  <a:pos x="16800" y="6171"/>
                </a:cxn>
                <a:cxn ang="0">
                  <a:pos x="16800" y="12343"/>
                </a:cxn>
                <a:cxn ang="0">
                  <a:pos x="21600" y="12343"/>
                </a:cxn>
                <a:cxn ang="0">
                  <a:pos x="21600" y="21600"/>
                </a:cxn>
                <a:cxn ang="0">
                  <a:pos x="16800" y="15429"/>
                </a:cxn>
                <a:cxn ang="0">
                  <a:pos x="16800" y="21600"/>
                </a:cxn>
                <a:cxn ang="0">
                  <a:pos x="4800" y="21600"/>
                </a:cxn>
                <a:cxn ang="0">
                  <a:pos x="4800" y="12343"/>
                </a:cxn>
                <a:cxn ang="0">
                  <a:pos x="0" y="6171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14400" y="0"/>
                  </a:lnTo>
                  <a:lnTo>
                    <a:pt x="14400" y="6171"/>
                  </a:lnTo>
                  <a:lnTo>
                    <a:pt x="16800" y="6171"/>
                  </a:lnTo>
                  <a:lnTo>
                    <a:pt x="16800" y="12343"/>
                  </a:lnTo>
                  <a:lnTo>
                    <a:pt x="21600" y="12343"/>
                  </a:lnTo>
                  <a:lnTo>
                    <a:pt x="21600" y="21600"/>
                  </a:lnTo>
                  <a:lnTo>
                    <a:pt x="16800" y="15429"/>
                  </a:lnTo>
                  <a:lnTo>
                    <a:pt x="16800" y="21600"/>
                  </a:lnTo>
                  <a:lnTo>
                    <a:pt x="4800" y="21600"/>
                  </a:lnTo>
                  <a:lnTo>
                    <a:pt x="4800" y="12343"/>
                  </a:lnTo>
                  <a:lnTo>
                    <a:pt x="0" y="6171"/>
                  </a:lnTo>
                  <a:lnTo>
                    <a:pt x="0" y="0"/>
                  </a:lnTo>
                  <a:close/>
                  <a:moveTo>
                    <a:pt x="0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03" name="AutoShape 55"/>
            <p:cNvSpPr>
              <a:spLocks/>
            </p:cNvSpPr>
            <p:nvPr/>
          </p:nvSpPr>
          <p:spPr bwMode="auto">
            <a:xfrm>
              <a:off x="8693073" y="5377252"/>
              <a:ext cx="30386" cy="52381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2700" y="3927"/>
                  </a:moveTo>
                  <a:lnTo>
                    <a:pt x="18900" y="3927"/>
                  </a:lnTo>
                  <a:lnTo>
                    <a:pt x="18900" y="13745"/>
                  </a:lnTo>
                  <a:lnTo>
                    <a:pt x="8100" y="13745"/>
                  </a:lnTo>
                  <a:lnTo>
                    <a:pt x="8100" y="17673"/>
                  </a:lnTo>
                  <a:lnTo>
                    <a:pt x="2700" y="21600"/>
                  </a:lnTo>
                  <a:lnTo>
                    <a:pt x="0" y="17673"/>
                  </a:lnTo>
                  <a:lnTo>
                    <a:pt x="0" y="11782"/>
                  </a:lnTo>
                  <a:lnTo>
                    <a:pt x="2700" y="11782"/>
                  </a:lnTo>
                  <a:lnTo>
                    <a:pt x="2700" y="3927"/>
                  </a:lnTo>
                  <a:close/>
                  <a:moveTo>
                    <a:pt x="18900" y="0"/>
                  </a:moveTo>
                  <a:lnTo>
                    <a:pt x="21600" y="0"/>
                  </a:lnTo>
                  <a:lnTo>
                    <a:pt x="21600" y="3927"/>
                  </a:lnTo>
                  <a:lnTo>
                    <a:pt x="18900" y="3927"/>
                  </a:lnTo>
                  <a:lnTo>
                    <a:pt x="18900" y="0"/>
                  </a:lnTo>
                  <a:close/>
                  <a:moveTo>
                    <a:pt x="18900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04" name="Freeform 56"/>
            <p:cNvSpPr>
              <a:spLocks/>
            </p:cNvSpPr>
            <p:nvPr/>
          </p:nvSpPr>
          <p:spPr bwMode="auto">
            <a:xfrm>
              <a:off x="8340255" y="5443734"/>
              <a:ext cx="234649" cy="70513"/>
            </a:xfrm>
            <a:custGeom>
              <a:avLst/>
              <a:gdLst/>
              <a:ahLst/>
              <a:cxnLst>
                <a:cxn ang="0">
                  <a:pos x="2400" y="0"/>
                </a:cxn>
                <a:cxn ang="0">
                  <a:pos x="2400" y="3086"/>
                </a:cxn>
                <a:cxn ang="0">
                  <a:pos x="5760" y="3086"/>
                </a:cxn>
                <a:cxn ang="0">
                  <a:pos x="5760" y="6171"/>
                </a:cxn>
                <a:cxn ang="0">
                  <a:pos x="6240" y="6171"/>
                </a:cxn>
                <a:cxn ang="0">
                  <a:pos x="6240" y="7714"/>
                </a:cxn>
                <a:cxn ang="0">
                  <a:pos x="7200" y="10800"/>
                </a:cxn>
                <a:cxn ang="0">
                  <a:pos x="9600" y="10800"/>
                </a:cxn>
                <a:cxn ang="0">
                  <a:pos x="10560" y="7714"/>
                </a:cxn>
                <a:cxn ang="0">
                  <a:pos x="12960" y="7714"/>
                </a:cxn>
                <a:cxn ang="0">
                  <a:pos x="13920" y="10800"/>
                </a:cxn>
                <a:cxn ang="0">
                  <a:pos x="17280" y="10800"/>
                </a:cxn>
                <a:cxn ang="0">
                  <a:pos x="17280" y="13886"/>
                </a:cxn>
                <a:cxn ang="0">
                  <a:pos x="18240" y="16971"/>
                </a:cxn>
                <a:cxn ang="0">
                  <a:pos x="19200" y="16971"/>
                </a:cxn>
                <a:cxn ang="0">
                  <a:pos x="19200" y="13886"/>
                </a:cxn>
                <a:cxn ang="0">
                  <a:pos x="20640" y="13886"/>
                </a:cxn>
                <a:cxn ang="0">
                  <a:pos x="21600" y="10800"/>
                </a:cxn>
                <a:cxn ang="0">
                  <a:pos x="21600" y="16971"/>
                </a:cxn>
                <a:cxn ang="0">
                  <a:pos x="20640" y="18514"/>
                </a:cxn>
                <a:cxn ang="0">
                  <a:pos x="13920" y="18514"/>
                </a:cxn>
                <a:cxn ang="0">
                  <a:pos x="13920" y="21600"/>
                </a:cxn>
                <a:cxn ang="0">
                  <a:pos x="12960" y="21600"/>
                </a:cxn>
                <a:cxn ang="0">
                  <a:pos x="12480" y="18514"/>
                </a:cxn>
                <a:cxn ang="0">
                  <a:pos x="10560" y="18514"/>
                </a:cxn>
                <a:cxn ang="0">
                  <a:pos x="10560" y="21600"/>
                </a:cxn>
                <a:cxn ang="0">
                  <a:pos x="9600" y="21600"/>
                </a:cxn>
                <a:cxn ang="0">
                  <a:pos x="9600" y="18514"/>
                </a:cxn>
                <a:cxn ang="0">
                  <a:pos x="9120" y="16971"/>
                </a:cxn>
                <a:cxn ang="0">
                  <a:pos x="6240" y="16971"/>
                </a:cxn>
                <a:cxn ang="0">
                  <a:pos x="6240" y="13886"/>
                </a:cxn>
                <a:cxn ang="0">
                  <a:pos x="2880" y="13886"/>
                </a:cxn>
                <a:cxn ang="0">
                  <a:pos x="2880" y="10800"/>
                </a:cxn>
                <a:cxn ang="0">
                  <a:pos x="0" y="10800"/>
                </a:cxn>
                <a:cxn ang="0">
                  <a:pos x="480" y="7714"/>
                </a:cxn>
                <a:cxn ang="0">
                  <a:pos x="480" y="6171"/>
                </a:cxn>
                <a:cxn ang="0">
                  <a:pos x="1440" y="6171"/>
                </a:cxn>
                <a:cxn ang="0">
                  <a:pos x="1440" y="3086"/>
                </a:cxn>
                <a:cxn ang="0">
                  <a:pos x="2400" y="0"/>
                </a:cxn>
                <a:cxn ang="0">
                  <a:pos x="2400" y="0"/>
                </a:cxn>
              </a:cxnLst>
              <a:rect l="0" t="0" r="r" b="b"/>
              <a:pathLst>
                <a:path w="21600" h="21600">
                  <a:moveTo>
                    <a:pt x="2400" y="0"/>
                  </a:moveTo>
                  <a:lnTo>
                    <a:pt x="2400" y="3086"/>
                  </a:lnTo>
                  <a:lnTo>
                    <a:pt x="5760" y="3086"/>
                  </a:lnTo>
                  <a:lnTo>
                    <a:pt x="5760" y="6171"/>
                  </a:lnTo>
                  <a:lnTo>
                    <a:pt x="6240" y="6171"/>
                  </a:lnTo>
                  <a:lnTo>
                    <a:pt x="6240" y="7714"/>
                  </a:lnTo>
                  <a:lnTo>
                    <a:pt x="7200" y="10800"/>
                  </a:lnTo>
                  <a:lnTo>
                    <a:pt x="9600" y="10800"/>
                  </a:lnTo>
                  <a:lnTo>
                    <a:pt x="10560" y="7714"/>
                  </a:lnTo>
                  <a:lnTo>
                    <a:pt x="12960" y="7714"/>
                  </a:lnTo>
                  <a:lnTo>
                    <a:pt x="13920" y="10800"/>
                  </a:lnTo>
                  <a:lnTo>
                    <a:pt x="17280" y="10800"/>
                  </a:lnTo>
                  <a:lnTo>
                    <a:pt x="17280" y="13886"/>
                  </a:lnTo>
                  <a:lnTo>
                    <a:pt x="18240" y="16971"/>
                  </a:lnTo>
                  <a:lnTo>
                    <a:pt x="19200" y="16971"/>
                  </a:lnTo>
                  <a:lnTo>
                    <a:pt x="19200" y="13886"/>
                  </a:lnTo>
                  <a:lnTo>
                    <a:pt x="20640" y="13886"/>
                  </a:lnTo>
                  <a:lnTo>
                    <a:pt x="21600" y="10800"/>
                  </a:lnTo>
                  <a:lnTo>
                    <a:pt x="21600" y="16971"/>
                  </a:lnTo>
                  <a:lnTo>
                    <a:pt x="20640" y="18514"/>
                  </a:lnTo>
                  <a:lnTo>
                    <a:pt x="13920" y="18514"/>
                  </a:lnTo>
                  <a:lnTo>
                    <a:pt x="13920" y="21600"/>
                  </a:lnTo>
                  <a:lnTo>
                    <a:pt x="12960" y="21600"/>
                  </a:lnTo>
                  <a:lnTo>
                    <a:pt x="12480" y="18514"/>
                  </a:lnTo>
                  <a:lnTo>
                    <a:pt x="10560" y="18514"/>
                  </a:lnTo>
                  <a:lnTo>
                    <a:pt x="10560" y="21600"/>
                  </a:lnTo>
                  <a:lnTo>
                    <a:pt x="9600" y="21600"/>
                  </a:lnTo>
                  <a:lnTo>
                    <a:pt x="9600" y="18514"/>
                  </a:lnTo>
                  <a:lnTo>
                    <a:pt x="9120" y="16971"/>
                  </a:lnTo>
                  <a:lnTo>
                    <a:pt x="6240" y="16971"/>
                  </a:lnTo>
                  <a:lnTo>
                    <a:pt x="6240" y="13886"/>
                  </a:lnTo>
                  <a:lnTo>
                    <a:pt x="2880" y="13886"/>
                  </a:lnTo>
                  <a:lnTo>
                    <a:pt x="2880" y="10800"/>
                  </a:lnTo>
                  <a:lnTo>
                    <a:pt x="0" y="10800"/>
                  </a:lnTo>
                  <a:lnTo>
                    <a:pt x="480" y="7714"/>
                  </a:lnTo>
                  <a:lnTo>
                    <a:pt x="480" y="6171"/>
                  </a:lnTo>
                  <a:lnTo>
                    <a:pt x="1440" y="6171"/>
                  </a:lnTo>
                  <a:lnTo>
                    <a:pt x="1440" y="3086"/>
                  </a:lnTo>
                  <a:lnTo>
                    <a:pt x="2400" y="0"/>
                  </a:lnTo>
                  <a:close/>
                  <a:moveTo>
                    <a:pt x="2400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05" name="AutoShape 57"/>
            <p:cNvSpPr>
              <a:spLocks/>
            </p:cNvSpPr>
            <p:nvPr/>
          </p:nvSpPr>
          <p:spPr bwMode="auto">
            <a:xfrm>
              <a:off x="8054964" y="4889707"/>
              <a:ext cx="545262" cy="495603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0080" y="20958"/>
                  </a:moveTo>
                  <a:lnTo>
                    <a:pt x="10491" y="20958"/>
                  </a:lnTo>
                  <a:lnTo>
                    <a:pt x="10491" y="21172"/>
                  </a:lnTo>
                  <a:lnTo>
                    <a:pt x="10080" y="21172"/>
                  </a:lnTo>
                  <a:lnTo>
                    <a:pt x="10080" y="20958"/>
                  </a:lnTo>
                  <a:close/>
                  <a:moveTo>
                    <a:pt x="8023" y="20958"/>
                  </a:moveTo>
                  <a:lnTo>
                    <a:pt x="8434" y="21172"/>
                  </a:lnTo>
                  <a:lnTo>
                    <a:pt x="8434" y="21600"/>
                  </a:lnTo>
                  <a:lnTo>
                    <a:pt x="8023" y="21600"/>
                  </a:lnTo>
                  <a:lnTo>
                    <a:pt x="8023" y="20958"/>
                  </a:lnTo>
                  <a:close/>
                  <a:moveTo>
                    <a:pt x="6994" y="13687"/>
                  </a:moveTo>
                  <a:lnTo>
                    <a:pt x="6994" y="14115"/>
                  </a:lnTo>
                  <a:lnTo>
                    <a:pt x="7611" y="14115"/>
                  </a:lnTo>
                  <a:lnTo>
                    <a:pt x="7611" y="14543"/>
                  </a:lnTo>
                  <a:lnTo>
                    <a:pt x="8434" y="14543"/>
                  </a:lnTo>
                  <a:lnTo>
                    <a:pt x="8434" y="14970"/>
                  </a:lnTo>
                  <a:lnTo>
                    <a:pt x="8640" y="14970"/>
                  </a:lnTo>
                  <a:lnTo>
                    <a:pt x="9051" y="15184"/>
                  </a:lnTo>
                  <a:lnTo>
                    <a:pt x="9874" y="15184"/>
                  </a:lnTo>
                  <a:lnTo>
                    <a:pt x="9874" y="14970"/>
                  </a:lnTo>
                  <a:lnTo>
                    <a:pt x="10080" y="14970"/>
                  </a:lnTo>
                  <a:lnTo>
                    <a:pt x="10080" y="14543"/>
                  </a:lnTo>
                  <a:lnTo>
                    <a:pt x="9874" y="14115"/>
                  </a:lnTo>
                  <a:lnTo>
                    <a:pt x="9463" y="14115"/>
                  </a:lnTo>
                  <a:lnTo>
                    <a:pt x="9051" y="13687"/>
                  </a:lnTo>
                  <a:lnTo>
                    <a:pt x="6994" y="13687"/>
                  </a:lnTo>
                  <a:close/>
                  <a:moveTo>
                    <a:pt x="10080" y="10479"/>
                  </a:moveTo>
                  <a:lnTo>
                    <a:pt x="10491" y="10479"/>
                  </a:lnTo>
                  <a:lnTo>
                    <a:pt x="10491" y="10693"/>
                  </a:lnTo>
                  <a:lnTo>
                    <a:pt x="10080" y="10693"/>
                  </a:lnTo>
                  <a:lnTo>
                    <a:pt x="10080" y="10479"/>
                  </a:lnTo>
                  <a:close/>
                  <a:moveTo>
                    <a:pt x="10491" y="10051"/>
                  </a:moveTo>
                  <a:lnTo>
                    <a:pt x="10903" y="10051"/>
                  </a:lnTo>
                  <a:lnTo>
                    <a:pt x="10903" y="10479"/>
                  </a:lnTo>
                  <a:lnTo>
                    <a:pt x="10491" y="10479"/>
                  </a:lnTo>
                  <a:lnTo>
                    <a:pt x="10491" y="10051"/>
                  </a:lnTo>
                  <a:close/>
                  <a:moveTo>
                    <a:pt x="12343" y="6630"/>
                  </a:moveTo>
                  <a:lnTo>
                    <a:pt x="12549" y="6630"/>
                  </a:lnTo>
                  <a:lnTo>
                    <a:pt x="12549" y="7057"/>
                  </a:lnTo>
                  <a:lnTo>
                    <a:pt x="12343" y="7057"/>
                  </a:lnTo>
                  <a:lnTo>
                    <a:pt x="12343" y="6630"/>
                  </a:lnTo>
                  <a:close/>
                  <a:moveTo>
                    <a:pt x="10903" y="6630"/>
                  </a:moveTo>
                  <a:lnTo>
                    <a:pt x="11520" y="6630"/>
                  </a:lnTo>
                  <a:lnTo>
                    <a:pt x="11520" y="7057"/>
                  </a:lnTo>
                  <a:lnTo>
                    <a:pt x="11931" y="7057"/>
                  </a:lnTo>
                  <a:lnTo>
                    <a:pt x="11931" y="7485"/>
                  </a:lnTo>
                  <a:lnTo>
                    <a:pt x="11314" y="7485"/>
                  </a:lnTo>
                  <a:lnTo>
                    <a:pt x="11314" y="7057"/>
                  </a:lnTo>
                  <a:lnTo>
                    <a:pt x="10903" y="7057"/>
                  </a:lnTo>
                  <a:lnTo>
                    <a:pt x="10903" y="6630"/>
                  </a:lnTo>
                  <a:close/>
                  <a:moveTo>
                    <a:pt x="12960" y="5560"/>
                  </a:moveTo>
                  <a:lnTo>
                    <a:pt x="13371" y="5988"/>
                  </a:lnTo>
                  <a:lnTo>
                    <a:pt x="12960" y="5988"/>
                  </a:lnTo>
                  <a:lnTo>
                    <a:pt x="12960" y="5560"/>
                  </a:lnTo>
                  <a:close/>
                  <a:moveTo>
                    <a:pt x="20160" y="0"/>
                  </a:moveTo>
                  <a:lnTo>
                    <a:pt x="20571" y="0"/>
                  </a:lnTo>
                  <a:lnTo>
                    <a:pt x="20571" y="428"/>
                  </a:lnTo>
                  <a:lnTo>
                    <a:pt x="21189" y="428"/>
                  </a:lnTo>
                  <a:lnTo>
                    <a:pt x="21189" y="642"/>
                  </a:lnTo>
                  <a:lnTo>
                    <a:pt x="21600" y="642"/>
                  </a:lnTo>
                  <a:lnTo>
                    <a:pt x="21600" y="1497"/>
                  </a:lnTo>
                  <a:lnTo>
                    <a:pt x="21189" y="1497"/>
                  </a:lnTo>
                  <a:lnTo>
                    <a:pt x="21189" y="1925"/>
                  </a:lnTo>
                  <a:lnTo>
                    <a:pt x="20571" y="1925"/>
                  </a:lnTo>
                  <a:lnTo>
                    <a:pt x="20571" y="3422"/>
                  </a:lnTo>
                  <a:lnTo>
                    <a:pt x="19749" y="4063"/>
                  </a:lnTo>
                  <a:lnTo>
                    <a:pt x="19131" y="4063"/>
                  </a:lnTo>
                  <a:lnTo>
                    <a:pt x="19131" y="3636"/>
                  </a:lnTo>
                  <a:lnTo>
                    <a:pt x="18309" y="3636"/>
                  </a:lnTo>
                  <a:lnTo>
                    <a:pt x="18309" y="3422"/>
                  </a:lnTo>
                  <a:lnTo>
                    <a:pt x="16869" y="3422"/>
                  </a:lnTo>
                  <a:lnTo>
                    <a:pt x="16869" y="2994"/>
                  </a:lnTo>
                  <a:lnTo>
                    <a:pt x="16663" y="2994"/>
                  </a:lnTo>
                  <a:lnTo>
                    <a:pt x="15840" y="3636"/>
                  </a:lnTo>
                  <a:lnTo>
                    <a:pt x="15429" y="3636"/>
                  </a:lnTo>
                  <a:lnTo>
                    <a:pt x="15223" y="3422"/>
                  </a:lnTo>
                  <a:lnTo>
                    <a:pt x="13783" y="3422"/>
                  </a:lnTo>
                  <a:lnTo>
                    <a:pt x="13371" y="3636"/>
                  </a:lnTo>
                  <a:lnTo>
                    <a:pt x="12960" y="3636"/>
                  </a:lnTo>
                  <a:lnTo>
                    <a:pt x="12960" y="4063"/>
                  </a:lnTo>
                  <a:lnTo>
                    <a:pt x="12343" y="4063"/>
                  </a:lnTo>
                  <a:lnTo>
                    <a:pt x="12343" y="4491"/>
                  </a:lnTo>
                  <a:lnTo>
                    <a:pt x="12549" y="4705"/>
                  </a:lnTo>
                  <a:lnTo>
                    <a:pt x="12549" y="5560"/>
                  </a:lnTo>
                  <a:lnTo>
                    <a:pt x="12343" y="5560"/>
                  </a:lnTo>
                  <a:lnTo>
                    <a:pt x="12343" y="6630"/>
                  </a:lnTo>
                  <a:lnTo>
                    <a:pt x="11931" y="6630"/>
                  </a:lnTo>
                  <a:lnTo>
                    <a:pt x="11931" y="6202"/>
                  </a:lnTo>
                  <a:lnTo>
                    <a:pt x="10903" y="6202"/>
                  </a:lnTo>
                  <a:lnTo>
                    <a:pt x="10903" y="5988"/>
                  </a:lnTo>
                  <a:lnTo>
                    <a:pt x="9874" y="5988"/>
                  </a:lnTo>
                  <a:lnTo>
                    <a:pt x="9874" y="5560"/>
                  </a:lnTo>
                  <a:lnTo>
                    <a:pt x="9463" y="5560"/>
                  </a:lnTo>
                  <a:lnTo>
                    <a:pt x="9463" y="5133"/>
                  </a:lnTo>
                  <a:lnTo>
                    <a:pt x="9051" y="5133"/>
                  </a:lnTo>
                  <a:lnTo>
                    <a:pt x="9051" y="4705"/>
                  </a:lnTo>
                  <a:lnTo>
                    <a:pt x="8640" y="4705"/>
                  </a:lnTo>
                  <a:lnTo>
                    <a:pt x="8640" y="5133"/>
                  </a:lnTo>
                  <a:lnTo>
                    <a:pt x="8434" y="5560"/>
                  </a:lnTo>
                  <a:lnTo>
                    <a:pt x="8434" y="6630"/>
                  </a:lnTo>
                  <a:lnTo>
                    <a:pt x="8640" y="7057"/>
                  </a:lnTo>
                  <a:lnTo>
                    <a:pt x="8640" y="7485"/>
                  </a:lnTo>
                  <a:lnTo>
                    <a:pt x="9051" y="7485"/>
                  </a:lnTo>
                  <a:lnTo>
                    <a:pt x="9051" y="8127"/>
                  </a:lnTo>
                  <a:lnTo>
                    <a:pt x="9463" y="8127"/>
                  </a:lnTo>
                  <a:lnTo>
                    <a:pt x="9463" y="8554"/>
                  </a:lnTo>
                  <a:lnTo>
                    <a:pt x="9874" y="8554"/>
                  </a:lnTo>
                  <a:lnTo>
                    <a:pt x="9874" y="9196"/>
                  </a:lnTo>
                  <a:lnTo>
                    <a:pt x="10080" y="9196"/>
                  </a:lnTo>
                  <a:lnTo>
                    <a:pt x="10491" y="9624"/>
                  </a:lnTo>
                  <a:lnTo>
                    <a:pt x="10491" y="10051"/>
                  </a:lnTo>
                  <a:lnTo>
                    <a:pt x="10080" y="10051"/>
                  </a:lnTo>
                  <a:lnTo>
                    <a:pt x="9874" y="9624"/>
                  </a:lnTo>
                  <a:lnTo>
                    <a:pt x="9463" y="10051"/>
                  </a:lnTo>
                  <a:lnTo>
                    <a:pt x="9051" y="10051"/>
                  </a:lnTo>
                  <a:lnTo>
                    <a:pt x="9051" y="10479"/>
                  </a:lnTo>
                  <a:lnTo>
                    <a:pt x="9463" y="10479"/>
                  </a:lnTo>
                  <a:lnTo>
                    <a:pt x="9463" y="10693"/>
                  </a:lnTo>
                  <a:lnTo>
                    <a:pt x="9874" y="11121"/>
                  </a:lnTo>
                  <a:lnTo>
                    <a:pt x="9463" y="11121"/>
                  </a:lnTo>
                  <a:lnTo>
                    <a:pt x="9463" y="11549"/>
                  </a:lnTo>
                  <a:lnTo>
                    <a:pt x="8434" y="11549"/>
                  </a:lnTo>
                  <a:lnTo>
                    <a:pt x="8434" y="11976"/>
                  </a:lnTo>
                  <a:lnTo>
                    <a:pt x="9874" y="11976"/>
                  </a:lnTo>
                  <a:lnTo>
                    <a:pt x="9874" y="12190"/>
                  </a:lnTo>
                  <a:lnTo>
                    <a:pt x="10080" y="12618"/>
                  </a:lnTo>
                  <a:lnTo>
                    <a:pt x="10491" y="12618"/>
                  </a:lnTo>
                  <a:lnTo>
                    <a:pt x="10491" y="13046"/>
                  </a:lnTo>
                  <a:lnTo>
                    <a:pt x="11314" y="13046"/>
                  </a:lnTo>
                  <a:lnTo>
                    <a:pt x="11314" y="13473"/>
                  </a:lnTo>
                  <a:lnTo>
                    <a:pt x="11931" y="13473"/>
                  </a:lnTo>
                  <a:lnTo>
                    <a:pt x="11931" y="13687"/>
                  </a:lnTo>
                  <a:lnTo>
                    <a:pt x="12549" y="13687"/>
                  </a:lnTo>
                  <a:lnTo>
                    <a:pt x="12549" y="14115"/>
                  </a:lnTo>
                  <a:lnTo>
                    <a:pt x="13371" y="14115"/>
                  </a:lnTo>
                  <a:lnTo>
                    <a:pt x="12960" y="13687"/>
                  </a:lnTo>
                  <a:lnTo>
                    <a:pt x="12960" y="13473"/>
                  </a:lnTo>
                  <a:lnTo>
                    <a:pt x="11931" y="13473"/>
                  </a:lnTo>
                  <a:lnTo>
                    <a:pt x="11520" y="13046"/>
                  </a:lnTo>
                  <a:lnTo>
                    <a:pt x="11314" y="13046"/>
                  </a:lnTo>
                  <a:lnTo>
                    <a:pt x="11314" y="12618"/>
                  </a:lnTo>
                  <a:lnTo>
                    <a:pt x="10903" y="12618"/>
                  </a:lnTo>
                  <a:lnTo>
                    <a:pt x="10903" y="11976"/>
                  </a:lnTo>
                  <a:lnTo>
                    <a:pt x="10080" y="11976"/>
                  </a:lnTo>
                  <a:lnTo>
                    <a:pt x="10080" y="11549"/>
                  </a:lnTo>
                  <a:lnTo>
                    <a:pt x="9874" y="11549"/>
                  </a:lnTo>
                  <a:lnTo>
                    <a:pt x="9874" y="11121"/>
                  </a:lnTo>
                  <a:lnTo>
                    <a:pt x="10080" y="11121"/>
                  </a:lnTo>
                  <a:lnTo>
                    <a:pt x="10491" y="10693"/>
                  </a:lnTo>
                  <a:lnTo>
                    <a:pt x="10903" y="10693"/>
                  </a:lnTo>
                  <a:lnTo>
                    <a:pt x="10903" y="11121"/>
                  </a:lnTo>
                  <a:lnTo>
                    <a:pt x="11314" y="11121"/>
                  </a:lnTo>
                  <a:lnTo>
                    <a:pt x="11314" y="11976"/>
                  </a:lnTo>
                  <a:lnTo>
                    <a:pt x="12343" y="11976"/>
                  </a:lnTo>
                  <a:lnTo>
                    <a:pt x="12343" y="12190"/>
                  </a:lnTo>
                  <a:lnTo>
                    <a:pt x="12960" y="12190"/>
                  </a:lnTo>
                  <a:lnTo>
                    <a:pt x="13371" y="12618"/>
                  </a:lnTo>
                  <a:lnTo>
                    <a:pt x="13371" y="13046"/>
                  </a:lnTo>
                  <a:lnTo>
                    <a:pt x="13783" y="13046"/>
                  </a:lnTo>
                  <a:lnTo>
                    <a:pt x="13783" y="13687"/>
                  </a:lnTo>
                  <a:lnTo>
                    <a:pt x="13989" y="14115"/>
                  </a:lnTo>
                  <a:lnTo>
                    <a:pt x="13989" y="14543"/>
                  </a:lnTo>
                  <a:lnTo>
                    <a:pt x="15223" y="14543"/>
                  </a:lnTo>
                  <a:lnTo>
                    <a:pt x="15223" y="14970"/>
                  </a:lnTo>
                  <a:lnTo>
                    <a:pt x="14811" y="15184"/>
                  </a:lnTo>
                  <a:lnTo>
                    <a:pt x="14400" y="15184"/>
                  </a:lnTo>
                  <a:lnTo>
                    <a:pt x="13989" y="14970"/>
                  </a:lnTo>
                  <a:lnTo>
                    <a:pt x="13783" y="14970"/>
                  </a:lnTo>
                  <a:lnTo>
                    <a:pt x="13783" y="14543"/>
                  </a:lnTo>
                  <a:lnTo>
                    <a:pt x="12960" y="14543"/>
                  </a:lnTo>
                  <a:lnTo>
                    <a:pt x="12960" y="15184"/>
                  </a:lnTo>
                  <a:lnTo>
                    <a:pt x="13371" y="15184"/>
                  </a:lnTo>
                  <a:lnTo>
                    <a:pt x="13371" y="16467"/>
                  </a:lnTo>
                  <a:lnTo>
                    <a:pt x="12549" y="16467"/>
                  </a:lnTo>
                  <a:lnTo>
                    <a:pt x="12549" y="16040"/>
                  </a:lnTo>
                  <a:lnTo>
                    <a:pt x="12343" y="16040"/>
                  </a:lnTo>
                  <a:lnTo>
                    <a:pt x="12343" y="15612"/>
                  </a:lnTo>
                  <a:lnTo>
                    <a:pt x="11931" y="15184"/>
                  </a:lnTo>
                  <a:lnTo>
                    <a:pt x="11931" y="14970"/>
                  </a:lnTo>
                  <a:lnTo>
                    <a:pt x="11520" y="14970"/>
                  </a:lnTo>
                  <a:lnTo>
                    <a:pt x="11520" y="15184"/>
                  </a:lnTo>
                  <a:lnTo>
                    <a:pt x="10080" y="15184"/>
                  </a:lnTo>
                  <a:lnTo>
                    <a:pt x="10080" y="16467"/>
                  </a:lnTo>
                  <a:lnTo>
                    <a:pt x="10491" y="16467"/>
                  </a:lnTo>
                  <a:lnTo>
                    <a:pt x="10491" y="16681"/>
                  </a:lnTo>
                  <a:lnTo>
                    <a:pt x="10903" y="16681"/>
                  </a:lnTo>
                  <a:lnTo>
                    <a:pt x="10903" y="16467"/>
                  </a:lnTo>
                  <a:lnTo>
                    <a:pt x="11314" y="16467"/>
                  </a:lnTo>
                  <a:lnTo>
                    <a:pt x="11314" y="17537"/>
                  </a:lnTo>
                  <a:lnTo>
                    <a:pt x="10491" y="17537"/>
                  </a:lnTo>
                  <a:lnTo>
                    <a:pt x="10491" y="17964"/>
                  </a:lnTo>
                  <a:lnTo>
                    <a:pt x="10080" y="17964"/>
                  </a:lnTo>
                  <a:lnTo>
                    <a:pt x="10080" y="17537"/>
                  </a:lnTo>
                  <a:lnTo>
                    <a:pt x="9463" y="17537"/>
                  </a:lnTo>
                  <a:lnTo>
                    <a:pt x="9463" y="17109"/>
                  </a:lnTo>
                  <a:lnTo>
                    <a:pt x="9051" y="17109"/>
                  </a:lnTo>
                  <a:lnTo>
                    <a:pt x="9051" y="17537"/>
                  </a:lnTo>
                  <a:lnTo>
                    <a:pt x="9463" y="17537"/>
                  </a:lnTo>
                  <a:lnTo>
                    <a:pt x="9463" y="18606"/>
                  </a:lnTo>
                  <a:lnTo>
                    <a:pt x="9874" y="18606"/>
                  </a:lnTo>
                  <a:lnTo>
                    <a:pt x="9874" y="19675"/>
                  </a:lnTo>
                  <a:lnTo>
                    <a:pt x="10080" y="19675"/>
                  </a:lnTo>
                  <a:lnTo>
                    <a:pt x="10080" y="20958"/>
                  </a:lnTo>
                  <a:lnTo>
                    <a:pt x="9874" y="20531"/>
                  </a:lnTo>
                  <a:lnTo>
                    <a:pt x="9463" y="20531"/>
                  </a:lnTo>
                  <a:lnTo>
                    <a:pt x="9463" y="20103"/>
                  </a:lnTo>
                  <a:lnTo>
                    <a:pt x="8434" y="20103"/>
                  </a:lnTo>
                  <a:lnTo>
                    <a:pt x="8434" y="20531"/>
                  </a:lnTo>
                  <a:lnTo>
                    <a:pt x="8023" y="20531"/>
                  </a:lnTo>
                  <a:lnTo>
                    <a:pt x="8023" y="20958"/>
                  </a:lnTo>
                  <a:lnTo>
                    <a:pt x="7611" y="20531"/>
                  </a:lnTo>
                  <a:lnTo>
                    <a:pt x="7611" y="19675"/>
                  </a:lnTo>
                  <a:lnTo>
                    <a:pt x="7200" y="19675"/>
                  </a:lnTo>
                  <a:lnTo>
                    <a:pt x="7200" y="19461"/>
                  </a:lnTo>
                  <a:lnTo>
                    <a:pt x="6994" y="19461"/>
                  </a:lnTo>
                  <a:lnTo>
                    <a:pt x="6994" y="19034"/>
                  </a:lnTo>
                  <a:lnTo>
                    <a:pt x="6171" y="19034"/>
                  </a:lnTo>
                  <a:lnTo>
                    <a:pt x="6171" y="19461"/>
                  </a:lnTo>
                  <a:lnTo>
                    <a:pt x="5760" y="19675"/>
                  </a:lnTo>
                  <a:lnTo>
                    <a:pt x="5554" y="19675"/>
                  </a:lnTo>
                  <a:lnTo>
                    <a:pt x="5554" y="19034"/>
                  </a:lnTo>
                  <a:lnTo>
                    <a:pt x="5143" y="19034"/>
                  </a:lnTo>
                  <a:lnTo>
                    <a:pt x="5143" y="18178"/>
                  </a:lnTo>
                  <a:lnTo>
                    <a:pt x="5554" y="18178"/>
                  </a:lnTo>
                  <a:lnTo>
                    <a:pt x="5554" y="17537"/>
                  </a:lnTo>
                  <a:lnTo>
                    <a:pt x="5143" y="17109"/>
                  </a:lnTo>
                  <a:lnTo>
                    <a:pt x="4731" y="17109"/>
                  </a:lnTo>
                  <a:lnTo>
                    <a:pt x="4731" y="16681"/>
                  </a:lnTo>
                  <a:lnTo>
                    <a:pt x="4320" y="16681"/>
                  </a:lnTo>
                  <a:lnTo>
                    <a:pt x="4320" y="16467"/>
                  </a:lnTo>
                  <a:lnTo>
                    <a:pt x="4114" y="16467"/>
                  </a:lnTo>
                  <a:lnTo>
                    <a:pt x="4114" y="16040"/>
                  </a:lnTo>
                  <a:lnTo>
                    <a:pt x="3703" y="16040"/>
                  </a:lnTo>
                  <a:lnTo>
                    <a:pt x="3703" y="15184"/>
                  </a:lnTo>
                  <a:lnTo>
                    <a:pt x="4114" y="15184"/>
                  </a:lnTo>
                  <a:lnTo>
                    <a:pt x="4114" y="14970"/>
                  </a:lnTo>
                  <a:lnTo>
                    <a:pt x="4320" y="14970"/>
                  </a:lnTo>
                  <a:lnTo>
                    <a:pt x="4320" y="14543"/>
                  </a:lnTo>
                  <a:lnTo>
                    <a:pt x="4731" y="14543"/>
                  </a:lnTo>
                  <a:lnTo>
                    <a:pt x="4731" y="14115"/>
                  </a:lnTo>
                  <a:lnTo>
                    <a:pt x="5760" y="14115"/>
                  </a:lnTo>
                  <a:lnTo>
                    <a:pt x="5760" y="13687"/>
                  </a:lnTo>
                  <a:lnTo>
                    <a:pt x="4320" y="13687"/>
                  </a:lnTo>
                  <a:lnTo>
                    <a:pt x="4320" y="13473"/>
                  </a:lnTo>
                  <a:lnTo>
                    <a:pt x="3703" y="13473"/>
                  </a:lnTo>
                  <a:lnTo>
                    <a:pt x="3703" y="13687"/>
                  </a:lnTo>
                  <a:lnTo>
                    <a:pt x="3291" y="13687"/>
                  </a:lnTo>
                  <a:lnTo>
                    <a:pt x="3291" y="13046"/>
                  </a:lnTo>
                  <a:lnTo>
                    <a:pt x="2880" y="13046"/>
                  </a:lnTo>
                  <a:lnTo>
                    <a:pt x="2880" y="12190"/>
                  </a:lnTo>
                  <a:lnTo>
                    <a:pt x="2263" y="12190"/>
                  </a:lnTo>
                  <a:lnTo>
                    <a:pt x="2263" y="12618"/>
                  </a:lnTo>
                  <a:lnTo>
                    <a:pt x="1851" y="12618"/>
                  </a:lnTo>
                  <a:lnTo>
                    <a:pt x="1851" y="11976"/>
                  </a:lnTo>
                  <a:lnTo>
                    <a:pt x="2263" y="11976"/>
                  </a:lnTo>
                  <a:lnTo>
                    <a:pt x="2263" y="11549"/>
                  </a:lnTo>
                  <a:lnTo>
                    <a:pt x="2674" y="11549"/>
                  </a:lnTo>
                  <a:lnTo>
                    <a:pt x="2674" y="11121"/>
                  </a:lnTo>
                  <a:lnTo>
                    <a:pt x="3291" y="11121"/>
                  </a:lnTo>
                  <a:lnTo>
                    <a:pt x="3291" y="11549"/>
                  </a:lnTo>
                  <a:lnTo>
                    <a:pt x="3703" y="11121"/>
                  </a:lnTo>
                  <a:lnTo>
                    <a:pt x="3291" y="11121"/>
                  </a:lnTo>
                  <a:lnTo>
                    <a:pt x="3291" y="10693"/>
                  </a:lnTo>
                  <a:lnTo>
                    <a:pt x="1851" y="10693"/>
                  </a:lnTo>
                  <a:lnTo>
                    <a:pt x="1851" y="10479"/>
                  </a:lnTo>
                  <a:lnTo>
                    <a:pt x="1440" y="10479"/>
                  </a:lnTo>
                  <a:lnTo>
                    <a:pt x="1234" y="10051"/>
                  </a:lnTo>
                  <a:lnTo>
                    <a:pt x="823" y="10051"/>
                  </a:lnTo>
                  <a:lnTo>
                    <a:pt x="823" y="9624"/>
                  </a:lnTo>
                  <a:lnTo>
                    <a:pt x="411" y="9624"/>
                  </a:lnTo>
                  <a:lnTo>
                    <a:pt x="411" y="8982"/>
                  </a:lnTo>
                  <a:lnTo>
                    <a:pt x="0" y="8982"/>
                  </a:lnTo>
                  <a:lnTo>
                    <a:pt x="0" y="8554"/>
                  </a:lnTo>
                  <a:lnTo>
                    <a:pt x="411" y="8554"/>
                  </a:lnTo>
                  <a:lnTo>
                    <a:pt x="823" y="8127"/>
                  </a:lnTo>
                  <a:lnTo>
                    <a:pt x="1234" y="8127"/>
                  </a:lnTo>
                  <a:lnTo>
                    <a:pt x="1234" y="7699"/>
                  </a:lnTo>
                  <a:lnTo>
                    <a:pt x="823" y="7485"/>
                  </a:lnTo>
                  <a:lnTo>
                    <a:pt x="823" y="7057"/>
                  </a:lnTo>
                  <a:lnTo>
                    <a:pt x="1234" y="7057"/>
                  </a:lnTo>
                  <a:lnTo>
                    <a:pt x="1234" y="6630"/>
                  </a:lnTo>
                  <a:lnTo>
                    <a:pt x="1851" y="6630"/>
                  </a:lnTo>
                  <a:lnTo>
                    <a:pt x="1851" y="6202"/>
                  </a:lnTo>
                  <a:lnTo>
                    <a:pt x="2263" y="6202"/>
                  </a:lnTo>
                  <a:lnTo>
                    <a:pt x="2263" y="5133"/>
                  </a:lnTo>
                  <a:lnTo>
                    <a:pt x="2880" y="5133"/>
                  </a:lnTo>
                  <a:lnTo>
                    <a:pt x="2880" y="4705"/>
                  </a:lnTo>
                  <a:lnTo>
                    <a:pt x="3291" y="4705"/>
                  </a:lnTo>
                  <a:lnTo>
                    <a:pt x="3291" y="4063"/>
                  </a:lnTo>
                  <a:lnTo>
                    <a:pt x="2880" y="4063"/>
                  </a:lnTo>
                  <a:lnTo>
                    <a:pt x="2880" y="3636"/>
                  </a:lnTo>
                  <a:lnTo>
                    <a:pt x="4320" y="3636"/>
                  </a:lnTo>
                  <a:lnTo>
                    <a:pt x="4320" y="3422"/>
                  </a:lnTo>
                  <a:lnTo>
                    <a:pt x="4731" y="3422"/>
                  </a:lnTo>
                  <a:lnTo>
                    <a:pt x="4731" y="3636"/>
                  </a:lnTo>
                  <a:lnTo>
                    <a:pt x="5554" y="3636"/>
                  </a:lnTo>
                  <a:lnTo>
                    <a:pt x="5554" y="3422"/>
                  </a:lnTo>
                  <a:lnTo>
                    <a:pt x="5760" y="3422"/>
                  </a:lnTo>
                  <a:lnTo>
                    <a:pt x="5760" y="2994"/>
                  </a:lnTo>
                  <a:lnTo>
                    <a:pt x="6171" y="2994"/>
                  </a:lnTo>
                  <a:lnTo>
                    <a:pt x="6171" y="2566"/>
                  </a:lnTo>
                  <a:lnTo>
                    <a:pt x="6583" y="2139"/>
                  </a:lnTo>
                  <a:lnTo>
                    <a:pt x="6583" y="2566"/>
                  </a:lnTo>
                  <a:lnTo>
                    <a:pt x="6994" y="2566"/>
                  </a:lnTo>
                  <a:lnTo>
                    <a:pt x="6994" y="2139"/>
                  </a:lnTo>
                  <a:lnTo>
                    <a:pt x="8023" y="2139"/>
                  </a:lnTo>
                  <a:lnTo>
                    <a:pt x="8023" y="2566"/>
                  </a:lnTo>
                  <a:lnTo>
                    <a:pt x="8434" y="2566"/>
                  </a:lnTo>
                  <a:lnTo>
                    <a:pt x="8434" y="2139"/>
                  </a:lnTo>
                  <a:lnTo>
                    <a:pt x="9051" y="2139"/>
                  </a:lnTo>
                  <a:lnTo>
                    <a:pt x="9051" y="1497"/>
                  </a:lnTo>
                  <a:lnTo>
                    <a:pt x="9463" y="1497"/>
                  </a:lnTo>
                  <a:lnTo>
                    <a:pt x="9463" y="1925"/>
                  </a:lnTo>
                  <a:lnTo>
                    <a:pt x="9874" y="1925"/>
                  </a:lnTo>
                  <a:lnTo>
                    <a:pt x="9874" y="1497"/>
                  </a:lnTo>
                  <a:lnTo>
                    <a:pt x="10080" y="1925"/>
                  </a:lnTo>
                  <a:lnTo>
                    <a:pt x="10491" y="1925"/>
                  </a:lnTo>
                  <a:lnTo>
                    <a:pt x="10491" y="1497"/>
                  </a:lnTo>
                  <a:lnTo>
                    <a:pt x="12549" y="1497"/>
                  </a:lnTo>
                  <a:lnTo>
                    <a:pt x="12549" y="1069"/>
                  </a:lnTo>
                  <a:lnTo>
                    <a:pt x="13371" y="1069"/>
                  </a:lnTo>
                  <a:lnTo>
                    <a:pt x="13371" y="642"/>
                  </a:lnTo>
                  <a:lnTo>
                    <a:pt x="13783" y="1069"/>
                  </a:lnTo>
                  <a:lnTo>
                    <a:pt x="13783" y="642"/>
                  </a:lnTo>
                  <a:lnTo>
                    <a:pt x="14811" y="642"/>
                  </a:lnTo>
                  <a:lnTo>
                    <a:pt x="14811" y="1069"/>
                  </a:lnTo>
                  <a:lnTo>
                    <a:pt x="15223" y="1069"/>
                  </a:lnTo>
                  <a:lnTo>
                    <a:pt x="15429" y="1497"/>
                  </a:lnTo>
                  <a:lnTo>
                    <a:pt x="16251" y="1497"/>
                  </a:lnTo>
                  <a:lnTo>
                    <a:pt x="16251" y="1925"/>
                  </a:lnTo>
                  <a:lnTo>
                    <a:pt x="16869" y="1925"/>
                  </a:lnTo>
                  <a:lnTo>
                    <a:pt x="16869" y="2139"/>
                  </a:lnTo>
                  <a:lnTo>
                    <a:pt x="17691" y="2139"/>
                  </a:lnTo>
                  <a:lnTo>
                    <a:pt x="17691" y="1925"/>
                  </a:lnTo>
                  <a:lnTo>
                    <a:pt x="20160" y="1925"/>
                  </a:lnTo>
                  <a:lnTo>
                    <a:pt x="20160" y="428"/>
                  </a:lnTo>
                  <a:lnTo>
                    <a:pt x="19749" y="428"/>
                  </a:lnTo>
                  <a:lnTo>
                    <a:pt x="20160" y="0"/>
                  </a:lnTo>
                  <a:close/>
                  <a:moveTo>
                    <a:pt x="20160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06" name="AutoShape 58"/>
            <p:cNvSpPr>
              <a:spLocks/>
            </p:cNvSpPr>
            <p:nvPr/>
          </p:nvSpPr>
          <p:spPr bwMode="auto">
            <a:xfrm>
              <a:off x="6874967" y="3543923"/>
              <a:ext cx="763030" cy="815931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5143" y="4294"/>
                  </a:moveTo>
                  <a:lnTo>
                    <a:pt x="5143" y="4554"/>
                  </a:lnTo>
                  <a:lnTo>
                    <a:pt x="5731" y="4554"/>
                  </a:lnTo>
                  <a:lnTo>
                    <a:pt x="5731" y="4294"/>
                  </a:lnTo>
                  <a:lnTo>
                    <a:pt x="5143" y="4294"/>
                  </a:lnTo>
                  <a:close/>
                  <a:moveTo>
                    <a:pt x="15429" y="1561"/>
                  </a:moveTo>
                  <a:lnTo>
                    <a:pt x="16016" y="1561"/>
                  </a:lnTo>
                  <a:lnTo>
                    <a:pt x="16016" y="1822"/>
                  </a:lnTo>
                  <a:lnTo>
                    <a:pt x="15429" y="1822"/>
                  </a:lnTo>
                  <a:lnTo>
                    <a:pt x="15429" y="1561"/>
                  </a:lnTo>
                  <a:close/>
                  <a:moveTo>
                    <a:pt x="6759" y="260"/>
                  </a:moveTo>
                  <a:lnTo>
                    <a:pt x="7053" y="260"/>
                  </a:lnTo>
                  <a:lnTo>
                    <a:pt x="7053" y="390"/>
                  </a:lnTo>
                  <a:lnTo>
                    <a:pt x="7788" y="390"/>
                  </a:lnTo>
                  <a:lnTo>
                    <a:pt x="7788" y="651"/>
                  </a:lnTo>
                  <a:lnTo>
                    <a:pt x="9845" y="651"/>
                  </a:lnTo>
                  <a:lnTo>
                    <a:pt x="9845" y="911"/>
                  </a:lnTo>
                  <a:lnTo>
                    <a:pt x="9551" y="911"/>
                  </a:lnTo>
                  <a:lnTo>
                    <a:pt x="9551" y="1171"/>
                  </a:lnTo>
                  <a:lnTo>
                    <a:pt x="9845" y="1171"/>
                  </a:lnTo>
                  <a:lnTo>
                    <a:pt x="9845" y="1301"/>
                  </a:lnTo>
                  <a:lnTo>
                    <a:pt x="9551" y="1561"/>
                  </a:lnTo>
                  <a:lnTo>
                    <a:pt x="9845" y="1561"/>
                  </a:lnTo>
                  <a:lnTo>
                    <a:pt x="10139" y="1822"/>
                  </a:lnTo>
                  <a:lnTo>
                    <a:pt x="10286" y="1822"/>
                  </a:lnTo>
                  <a:lnTo>
                    <a:pt x="10286" y="1561"/>
                  </a:lnTo>
                  <a:lnTo>
                    <a:pt x="10580" y="1561"/>
                  </a:lnTo>
                  <a:lnTo>
                    <a:pt x="10873" y="1822"/>
                  </a:lnTo>
                  <a:lnTo>
                    <a:pt x="10873" y="1952"/>
                  </a:lnTo>
                  <a:lnTo>
                    <a:pt x="11608" y="1952"/>
                  </a:lnTo>
                  <a:lnTo>
                    <a:pt x="11902" y="1822"/>
                  </a:lnTo>
                  <a:lnTo>
                    <a:pt x="12343" y="1822"/>
                  </a:lnTo>
                  <a:lnTo>
                    <a:pt x="12343" y="1952"/>
                  </a:lnTo>
                  <a:lnTo>
                    <a:pt x="12196" y="1952"/>
                  </a:lnTo>
                  <a:lnTo>
                    <a:pt x="12196" y="2472"/>
                  </a:lnTo>
                  <a:lnTo>
                    <a:pt x="11902" y="2733"/>
                  </a:lnTo>
                  <a:lnTo>
                    <a:pt x="11902" y="3123"/>
                  </a:lnTo>
                  <a:lnTo>
                    <a:pt x="13224" y="3123"/>
                  </a:lnTo>
                  <a:lnTo>
                    <a:pt x="13224" y="2863"/>
                  </a:lnTo>
                  <a:lnTo>
                    <a:pt x="13371" y="2863"/>
                  </a:lnTo>
                  <a:lnTo>
                    <a:pt x="13371" y="2733"/>
                  </a:lnTo>
                  <a:lnTo>
                    <a:pt x="13959" y="2733"/>
                  </a:lnTo>
                  <a:lnTo>
                    <a:pt x="13959" y="2472"/>
                  </a:lnTo>
                  <a:lnTo>
                    <a:pt x="14400" y="2472"/>
                  </a:lnTo>
                  <a:lnTo>
                    <a:pt x="14400" y="2733"/>
                  </a:lnTo>
                  <a:lnTo>
                    <a:pt x="14694" y="2733"/>
                  </a:lnTo>
                  <a:lnTo>
                    <a:pt x="14694" y="2472"/>
                  </a:lnTo>
                  <a:lnTo>
                    <a:pt x="14988" y="2472"/>
                  </a:lnTo>
                  <a:lnTo>
                    <a:pt x="14988" y="2212"/>
                  </a:lnTo>
                  <a:lnTo>
                    <a:pt x="15135" y="2212"/>
                  </a:lnTo>
                  <a:lnTo>
                    <a:pt x="15135" y="1822"/>
                  </a:lnTo>
                  <a:lnTo>
                    <a:pt x="15429" y="1822"/>
                  </a:lnTo>
                  <a:lnTo>
                    <a:pt x="15429" y="1952"/>
                  </a:lnTo>
                  <a:lnTo>
                    <a:pt x="16163" y="1952"/>
                  </a:lnTo>
                  <a:lnTo>
                    <a:pt x="16163" y="1561"/>
                  </a:lnTo>
                  <a:lnTo>
                    <a:pt x="16457" y="1561"/>
                  </a:lnTo>
                  <a:lnTo>
                    <a:pt x="16457" y="1822"/>
                  </a:lnTo>
                  <a:lnTo>
                    <a:pt x="17045" y="1822"/>
                  </a:lnTo>
                  <a:lnTo>
                    <a:pt x="17045" y="1301"/>
                  </a:lnTo>
                  <a:lnTo>
                    <a:pt x="18220" y="1301"/>
                  </a:lnTo>
                  <a:lnTo>
                    <a:pt x="18220" y="1561"/>
                  </a:lnTo>
                  <a:lnTo>
                    <a:pt x="18073" y="1561"/>
                  </a:lnTo>
                  <a:lnTo>
                    <a:pt x="18073" y="1822"/>
                  </a:lnTo>
                  <a:lnTo>
                    <a:pt x="18514" y="1822"/>
                  </a:lnTo>
                  <a:lnTo>
                    <a:pt x="18514" y="1952"/>
                  </a:lnTo>
                  <a:lnTo>
                    <a:pt x="17780" y="1952"/>
                  </a:lnTo>
                  <a:lnTo>
                    <a:pt x="17780" y="2212"/>
                  </a:lnTo>
                  <a:lnTo>
                    <a:pt x="17486" y="2212"/>
                  </a:lnTo>
                  <a:lnTo>
                    <a:pt x="17486" y="2472"/>
                  </a:lnTo>
                  <a:lnTo>
                    <a:pt x="18514" y="2472"/>
                  </a:lnTo>
                  <a:lnTo>
                    <a:pt x="18514" y="3123"/>
                  </a:lnTo>
                  <a:lnTo>
                    <a:pt x="19102" y="3123"/>
                  </a:lnTo>
                  <a:lnTo>
                    <a:pt x="19102" y="2863"/>
                  </a:lnTo>
                  <a:lnTo>
                    <a:pt x="19249" y="2863"/>
                  </a:lnTo>
                  <a:lnTo>
                    <a:pt x="19249" y="3123"/>
                  </a:lnTo>
                  <a:lnTo>
                    <a:pt x="19543" y="3123"/>
                  </a:lnTo>
                  <a:lnTo>
                    <a:pt x="19543" y="3383"/>
                  </a:lnTo>
                  <a:lnTo>
                    <a:pt x="19102" y="3383"/>
                  </a:lnTo>
                  <a:lnTo>
                    <a:pt x="19102" y="3643"/>
                  </a:lnTo>
                  <a:lnTo>
                    <a:pt x="19249" y="3643"/>
                  </a:lnTo>
                  <a:lnTo>
                    <a:pt x="19249" y="3773"/>
                  </a:lnTo>
                  <a:lnTo>
                    <a:pt x="19837" y="3773"/>
                  </a:lnTo>
                  <a:lnTo>
                    <a:pt x="19837" y="4554"/>
                  </a:lnTo>
                  <a:lnTo>
                    <a:pt x="20131" y="4554"/>
                  </a:lnTo>
                  <a:lnTo>
                    <a:pt x="20131" y="5205"/>
                  </a:lnTo>
                  <a:lnTo>
                    <a:pt x="19837" y="5205"/>
                  </a:lnTo>
                  <a:lnTo>
                    <a:pt x="19837" y="5855"/>
                  </a:lnTo>
                  <a:lnTo>
                    <a:pt x="19543" y="5855"/>
                  </a:lnTo>
                  <a:lnTo>
                    <a:pt x="19543" y="6376"/>
                  </a:lnTo>
                  <a:lnTo>
                    <a:pt x="19837" y="6376"/>
                  </a:lnTo>
                  <a:lnTo>
                    <a:pt x="20131" y="6506"/>
                  </a:lnTo>
                  <a:lnTo>
                    <a:pt x="20131" y="6766"/>
                  </a:lnTo>
                  <a:lnTo>
                    <a:pt x="20571" y="6766"/>
                  </a:lnTo>
                  <a:lnTo>
                    <a:pt x="20571" y="7287"/>
                  </a:lnTo>
                  <a:lnTo>
                    <a:pt x="20278" y="7287"/>
                  </a:lnTo>
                  <a:lnTo>
                    <a:pt x="20278" y="7677"/>
                  </a:lnTo>
                  <a:lnTo>
                    <a:pt x="20571" y="7677"/>
                  </a:lnTo>
                  <a:lnTo>
                    <a:pt x="20571" y="8198"/>
                  </a:lnTo>
                  <a:lnTo>
                    <a:pt x="20865" y="8198"/>
                  </a:lnTo>
                  <a:lnTo>
                    <a:pt x="20865" y="8848"/>
                  </a:lnTo>
                  <a:lnTo>
                    <a:pt x="20571" y="8848"/>
                  </a:lnTo>
                  <a:lnTo>
                    <a:pt x="20571" y="9239"/>
                  </a:lnTo>
                  <a:lnTo>
                    <a:pt x="20865" y="9239"/>
                  </a:lnTo>
                  <a:lnTo>
                    <a:pt x="20865" y="10019"/>
                  </a:lnTo>
                  <a:lnTo>
                    <a:pt x="21159" y="10019"/>
                  </a:lnTo>
                  <a:lnTo>
                    <a:pt x="21306" y="10149"/>
                  </a:lnTo>
                  <a:lnTo>
                    <a:pt x="21306" y="10670"/>
                  </a:lnTo>
                  <a:lnTo>
                    <a:pt x="21600" y="10670"/>
                  </a:lnTo>
                  <a:lnTo>
                    <a:pt x="21600" y="11060"/>
                  </a:lnTo>
                  <a:lnTo>
                    <a:pt x="21306" y="11060"/>
                  </a:lnTo>
                  <a:lnTo>
                    <a:pt x="21306" y="11320"/>
                  </a:lnTo>
                  <a:lnTo>
                    <a:pt x="21159" y="11320"/>
                  </a:lnTo>
                  <a:lnTo>
                    <a:pt x="21159" y="11841"/>
                  </a:lnTo>
                  <a:lnTo>
                    <a:pt x="20571" y="11841"/>
                  </a:lnTo>
                  <a:lnTo>
                    <a:pt x="20571" y="11320"/>
                  </a:lnTo>
                  <a:lnTo>
                    <a:pt x="20131" y="11320"/>
                  </a:lnTo>
                  <a:lnTo>
                    <a:pt x="19837" y="11060"/>
                  </a:lnTo>
                  <a:lnTo>
                    <a:pt x="19837" y="11581"/>
                  </a:lnTo>
                  <a:lnTo>
                    <a:pt x="19543" y="11581"/>
                  </a:lnTo>
                  <a:lnTo>
                    <a:pt x="19249" y="11841"/>
                  </a:lnTo>
                  <a:lnTo>
                    <a:pt x="19102" y="11841"/>
                  </a:lnTo>
                  <a:lnTo>
                    <a:pt x="18808" y="11971"/>
                  </a:lnTo>
                  <a:lnTo>
                    <a:pt x="18220" y="11971"/>
                  </a:lnTo>
                  <a:lnTo>
                    <a:pt x="17780" y="12492"/>
                  </a:lnTo>
                  <a:lnTo>
                    <a:pt x="17486" y="12492"/>
                  </a:lnTo>
                  <a:lnTo>
                    <a:pt x="17192" y="12752"/>
                  </a:lnTo>
                  <a:lnTo>
                    <a:pt x="17045" y="12752"/>
                  </a:lnTo>
                  <a:lnTo>
                    <a:pt x="16751" y="12882"/>
                  </a:lnTo>
                  <a:lnTo>
                    <a:pt x="16457" y="12882"/>
                  </a:lnTo>
                  <a:lnTo>
                    <a:pt x="16457" y="13142"/>
                  </a:lnTo>
                  <a:lnTo>
                    <a:pt x="16163" y="12882"/>
                  </a:lnTo>
                  <a:lnTo>
                    <a:pt x="15722" y="12882"/>
                  </a:lnTo>
                  <a:lnTo>
                    <a:pt x="15722" y="13142"/>
                  </a:lnTo>
                  <a:lnTo>
                    <a:pt x="15429" y="13142"/>
                  </a:lnTo>
                  <a:lnTo>
                    <a:pt x="15135" y="13402"/>
                  </a:lnTo>
                  <a:lnTo>
                    <a:pt x="15135" y="13533"/>
                  </a:lnTo>
                  <a:lnTo>
                    <a:pt x="14988" y="13533"/>
                  </a:lnTo>
                  <a:lnTo>
                    <a:pt x="14988" y="13142"/>
                  </a:lnTo>
                  <a:lnTo>
                    <a:pt x="14400" y="13142"/>
                  </a:lnTo>
                  <a:lnTo>
                    <a:pt x="14694" y="13402"/>
                  </a:lnTo>
                  <a:lnTo>
                    <a:pt x="14694" y="13533"/>
                  </a:lnTo>
                  <a:lnTo>
                    <a:pt x="14988" y="13533"/>
                  </a:lnTo>
                  <a:lnTo>
                    <a:pt x="14988" y="13793"/>
                  </a:lnTo>
                  <a:lnTo>
                    <a:pt x="15135" y="14053"/>
                  </a:lnTo>
                  <a:lnTo>
                    <a:pt x="15429" y="14053"/>
                  </a:lnTo>
                  <a:lnTo>
                    <a:pt x="15429" y="14313"/>
                  </a:lnTo>
                  <a:lnTo>
                    <a:pt x="15722" y="14313"/>
                  </a:lnTo>
                  <a:lnTo>
                    <a:pt x="15429" y="14443"/>
                  </a:lnTo>
                  <a:lnTo>
                    <a:pt x="15135" y="14443"/>
                  </a:lnTo>
                  <a:lnTo>
                    <a:pt x="15135" y="14704"/>
                  </a:lnTo>
                  <a:lnTo>
                    <a:pt x="15429" y="14704"/>
                  </a:lnTo>
                  <a:lnTo>
                    <a:pt x="15429" y="15224"/>
                  </a:lnTo>
                  <a:lnTo>
                    <a:pt x="15722" y="15224"/>
                  </a:lnTo>
                  <a:lnTo>
                    <a:pt x="15722" y="15354"/>
                  </a:lnTo>
                  <a:lnTo>
                    <a:pt x="16163" y="15875"/>
                  </a:lnTo>
                  <a:lnTo>
                    <a:pt x="16457" y="15875"/>
                  </a:lnTo>
                  <a:lnTo>
                    <a:pt x="16751" y="16135"/>
                  </a:lnTo>
                  <a:lnTo>
                    <a:pt x="17045" y="16135"/>
                  </a:lnTo>
                  <a:lnTo>
                    <a:pt x="17045" y="16525"/>
                  </a:lnTo>
                  <a:lnTo>
                    <a:pt x="17486" y="16525"/>
                  </a:lnTo>
                  <a:lnTo>
                    <a:pt x="17486" y="16786"/>
                  </a:lnTo>
                  <a:lnTo>
                    <a:pt x="17780" y="16786"/>
                  </a:lnTo>
                  <a:lnTo>
                    <a:pt x="17780" y="17046"/>
                  </a:lnTo>
                  <a:lnTo>
                    <a:pt x="18220" y="17046"/>
                  </a:lnTo>
                  <a:lnTo>
                    <a:pt x="18220" y="17176"/>
                  </a:lnTo>
                  <a:lnTo>
                    <a:pt x="18514" y="17176"/>
                  </a:lnTo>
                  <a:lnTo>
                    <a:pt x="18808" y="17436"/>
                  </a:lnTo>
                  <a:lnTo>
                    <a:pt x="18808" y="17696"/>
                  </a:lnTo>
                  <a:lnTo>
                    <a:pt x="18514" y="17696"/>
                  </a:lnTo>
                  <a:lnTo>
                    <a:pt x="18514" y="18347"/>
                  </a:lnTo>
                  <a:lnTo>
                    <a:pt x="18220" y="18347"/>
                  </a:lnTo>
                  <a:lnTo>
                    <a:pt x="18220" y="18087"/>
                  </a:lnTo>
                  <a:lnTo>
                    <a:pt x="18073" y="18087"/>
                  </a:lnTo>
                  <a:lnTo>
                    <a:pt x="18073" y="17957"/>
                  </a:lnTo>
                  <a:lnTo>
                    <a:pt x="17780" y="17957"/>
                  </a:lnTo>
                  <a:lnTo>
                    <a:pt x="17780" y="18347"/>
                  </a:lnTo>
                  <a:lnTo>
                    <a:pt x="17486" y="18347"/>
                  </a:lnTo>
                  <a:lnTo>
                    <a:pt x="17486" y="18607"/>
                  </a:lnTo>
                  <a:lnTo>
                    <a:pt x="17192" y="18607"/>
                  </a:lnTo>
                  <a:lnTo>
                    <a:pt x="17192" y="18867"/>
                  </a:lnTo>
                  <a:lnTo>
                    <a:pt x="16751" y="18867"/>
                  </a:lnTo>
                  <a:lnTo>
                    <a:pt x="16163" y="19258"/>
                  </a:lnTo>
                  <a:lnTo>
                    <a:pt x="16163" y="19518"/>
                  </a:lnTo>
                  <a:lnTo>
                    <a:pt x="16457" y="19518"/>
                  </a:lnTo>
                  <a:lnTo>
                    <a:pt x="16457" y="19778"/>
                  </a:lnTo>
                  <a:lnTo>
                    <a:pt x="16751" y="19778"/>
                  </a:lnTo>
                  <a:lnTo>
                    <a:pt x="16751" y="20169"/>
                  </a:lnTo>
                  <a:lnTo>
                    <a:pt x="17045" y="20169"/>
                  </a:lnTo>
                  <a:lnTo>
                    <a:pt x="17045" y="20429"/>
                  </a:lnTo>
                  <a:lnTo>
                    <a:pt x="16751" y="20429"/>
                  </a:lnTo>
                  <a:lnTo>
                    <a:pt x="16751" y="20689"/>
                  </a:lnTo>
                  <a:lnTo>
                    <a:pt x="17045" y="20689"/>
                  </a:lnTo>
                  <a:lnTo>
                    <a:pt x="17045" y="20819"/>
                  </a:lnTo>
                  <a:lnTo>
                    <a:pt x="16457" y="20819"/>
                  </a:lnTo>
                  <a:lnTo>
                    <a:pt x="16457" y="20689"/>
                  </a:lnTo>
                  <a:lnTo>
                    <a:pt x="16163" y="20689"/>
                  </a:lnTo>
                  <a:lnTo>
                    <a:pt x="16163" y="20429"/>
                  </a:lnTo>
                  <a:lnTo>
                    <a:pt x="15135" y="20429"/>
                  </a:lnTo>
                  <a:lnTo>
                    <a:pt x="15135" y="20169"/>
                  </a:lnTo>
                  <a:lnTo>
                    <a:pt x="14988" y="20169"/>
                  </a:lnTo>
                  <a:lnTo>
                    <a:pt x="14988" y="20429"/>
                  </a:lnTo>
                  <a:lnTo>
                    <a:pt x="14694" y="20429"/>
                  </a:lnTo>
                  <a:lnTo>
                    <a:pt x="14694" y="20689"/>
                  </a:lnTo>
                  <a:lnTo>
                    <a:pt x="14400" y="20689"/>
                  </a:lnTo>
                  <a:lnTo>
                    <a:pt x="14106" y="20429"/>
                  </a:lnTo>
                  <a:lnTo>
                    <a:pt x="13959" y="20429"/>
                  </a:lnTo>
                  <a:lnTo>
                    <a:pt x="13959" y="20689"/>
                  </a:lnTo>
                  <a:lnTo>
                    <a:pt x="13371" y="20689"/>
                  </a:lnTo>
                  <a:lnTo>
                    <a:pt x="12931" y="21080"/>
                  </a:lnTo>
                  <a:lnTo>
                    <a:pt x="12343" y="21080"/>
                  </a:lnTo>
                  <a:lnTo>
                    <a:pt x="12196" y="21340"/>
                  </a:lnTo>
                  <a:lnTo>
                    <a:pt x="12196" y="21080"/>
                  </a:lnTo>
                  <a:lnTo>
                    <a:pt x="11902" y="21080"/>
                  </a:lnTo>
                  <a:lnTo>
                    <a:pt x="11902" y="20689"/>
                  </a:lnTo>
                  <a:lnTo>
                    <a:pt x="11608" y="20819"/>
                  </a:lnTo>
                  <a:lnTo>
                    <a:pt x="11314" y="20689"/>
                  </a:lnTo>
                  <a:lnTo>
                    <a:pt x="10873" y="20689"/>
                  </a:lnTo>
                  <a:lnTo>
                    <a:pt x="10873" y="21080"/>
                  </a:lnTo>
                  <a:lnTo>
                    <a:pt x="10580" y="21080"/>
                  </a:lnTo>
                  <a:lnTo>
                    <a:pt x="10580" y="21340"/>
                  </a:lnTo>
                  <a:lnTo>
                    <a:pt x="10286" y="21340"/>
                  </a:lnTo>
                  <a:lnTo>
                    <a:pt x="10286" y="21600"/>
                  </a:lnTo>
                  <a:lnTo>
                    <a:pt x="10139" y="21600"/>
                  </a:lnTo>
                  <a:lnTo>
                    <a:pt x="10139" y="20819"/>
                  </a:lnTo>
                  <a:lnTo>
                    <a:pt x="9551" y="20819"/>
                  </a:lnTo>
                  <a:lnTo>
                    <a:pt x="9551" y="20689"/>
                  </a:lnTo>
                  <a:lnTo>
                    <a:pt x="9110" y="20689"/>
                  </a:lnTo>
                  <a:lnTo>
                    <a:pt x="9110" y="20819"/>
                  </a:lnTo>
                  <a:lnTo>
                    <a:pt x="8816" y="20819"/>
                  </a:lnTo>
                  <a:lnTo>
                    <a:pt x="8816" y="20689"/>
                  </a:lnTo>
                  <a:lnTo>
                    <a:pt x="8522" y="20689"/>
                  </a:lnTo>
                  <a:lnTo>
                    <a:pt x="8522" y="20429"/>
                  </a:lnTo>
                  <a:lnTo>
                    <a:pt x="8082" y="20429"/>
                  </a:lnTo>
                  <a:lnTo>
                    <a:pt x="8082" y="20169"/>
                  </a:lnTo>
                  <a:lnTo>
                    <a:pt x="7494" y="20169"/>
                  </a:lnTo>
                  <a:lnTo>
                    <a:pt x="7494" y="20429"/>
                  </a:lnTo>
                  <a:lnTo>
                    <a:pt x="6759" y="20429"/>
                  </a:lnTo>
                  <a:lnTo>
                    <a:pt x="6759" y="20169"/>
                  </a:lnTo>
                  <a:lnTo>
                    <a:pt x="6465" y="20169"/>
                  </a:lnTo>
                  <a:lnTo>
                    <a:pt x="6465" y="19908"/>
                  </a:lnTo>
                  <a:lnTo>
                    <a:pt x="6171" y="19908"/>
                  </a:lnTo>
                  <a:lnTo>
                    <a:pt x="6171" y="20169"/>
                  </a:lnTo>
                  <a:lnTo>
                    <a:pt x="6024" y="20169"/>
                  </a:lnTo>
                  <a:lnTo>
                    <a:pt x="6024" y="20429"/>
                  </a:lnTo>
                  <a:lnTo>
                    <a:pt x="6465" y="20429"/>
                  </a:lnTo>
                  <a:lnTo>
                    <a:pt x="6465" y="20689"/>
                  </a:lnTo>
                  <a:lnTo>
                    <a:pt x="3967" y="20689"/>
                  </a:lnTo>
                  <a:lnTo>
                    <a:pt x="3967" y="19258"/>
                  </a:lnTo>
                  <a:lnTo>
                    <a:pt x="4114" y="18998"/>
                  </a:lnTo>
                  <a:lnTo>
                    <a:pt x="4114" y="18867"/>
                  </a:lnTo>
                  <a:lnTo>
                    <a:pt x="4408" y="18607"/>
                  </a:lnTo>
                  <a:lnTo>
                    <a:pt x="4408" y="17957"/>
                  </a:lnTo>
                  <a:lnTo>
                    <a:pt x="4702" y="17957"/>
                  </a:lnTo>
                  <a:lnTo>
                    <a:pt x="4702" y="17696"/>
                  </a:lnTo>
                  <a:lnTo>
                    <a:pt x="4996" y="17696"/>
                  </a:lnTo>
                  <a:lnTo>
                    <a:pt x="4996" y="17436"/>
                  </a:lnTo>
                  <a:lnTo>
                    <a:pt x="5143" y="17436"/>
                  </a:lnTo>
                  <a:lnTo>
                    <a:pt x="5143" y="17176"/>
                  </a:lnTo>
                  <a:lnTo>
                    <a:pt x="5437" y="17046"/>
                  </a:lnTo>
                  <a:lnTo>
                    <a:pt x="5437" y="16786"/>
                  </a:lnTo>
                  <a:lnTo>
                    <a:pt x="4408" y="16786"/>
                  </a:lnTo>
                  <a:lnTo>
                    <a:pt x="4114" y="16525"/>
                  </a:lnTo>
                  <a:lnTo>
                    <a:pt x="3673" y="16525"/>
                  </a:lnTo>
                  <a:lnTo>
                    <a:pt x="3673" y="16265"/>
                  </a:lnTo>
                  <a:lnTo>
                    <a:pt x="3086" y="16265"/>
                  </a:lnTo>
                  <a:lnTo>
                    <a:pt x="3086" y="16525"/>
                  </a:lnTo>
                  <a:lnTo>
                    <a:pt x="2351" y="16525"/>
                  </a:lnTo>
                  <a:lnTo>
                    <a:pt x="2351" y="16135"/>
                  </a:lnTo>
                  <a:lnTo>
                    <a:pt x="2057" y="16135"/>
                  </a:lnTo>
                  <a:lnTo>
                    <a:pt x="2057" y="16265"/>
                  </a:lnTo>
                  <a:lnTo>
                    <a:pt x="1910" y="16265"/>
                  </a:lnTo>
                  <a:lnTo>
                    <a:pt x="1910" y="16135"/>
                  </a:lnTo>
                  <a:lnTo>
                    <a:pt x="1616" y="15875"/>
                  </a:lnTo>
                  <a:lnTo>
                    <a:pt x="1616" y="15614"/>
                  </a:lnTo>
                  <a:lnTo>
                    <a:pt x="1029" y="15614"/>
                  </a:lnTo>
                  <a:lnTo>
                    <a:pt x="1029" y="15224"/>
                  </a:lnTo>
                  <a:lnTo>
                    <a:pt x="1322" y="15224"/>
                  </a:lnTo>
                  <a:lnTo>
                    <a:pt x="1322" y="14704"/>
                  </a:lnTo>
                  <a:lnTo>
                    <a:pt x="1029" y="14704"/>
                  </a:lnTo>
                  <a:lnTo>
                    <a:pt x="1029" y="14443"/>
                  </a:lnTo>
                  <a:lnTo>
                    <a:pt x="882" y="14443"/>
                  </a:lnTo>
                  <a:lnTo>
                    <a:pt x="882" y="14313"/>
                  </a:lnTo>
                  <a:lnTo>
                    <a:pt x="588" y="14313"/>
                  </a:lnTo>
                  <a:lnTo>
                    <a:pt x="588" y="13533"/>
                  </a:lnTo>
                  <a:lnTo>
                    <a:pt x="882" y="13533"/>
                  </a:lnTo>
                  <a:lnTo>
                    <a:pt x="882" y="13402"/>
                  </a:lnTo>
                  <a:lnTo>
                    <a:pt x="1029" y="13402"/>
                  </a:lnTo>
                  <a:lnTo>
                    <a:pt x="1029" y="12882"/>
                  </a:lnTo>
                  <a:lnTo>
                    <a:pt x="882" y="12882"/>
                  </a:lnTo>
                  <a:lnTo>
                    <a:pt x="882" y="12492"/>
                  </a:lnTo>
                  <a:lnTo>
                    <a:pt x="588" y="12492"/>
                  </a:lnTo>
                  <a:lnTo>
                    <a:pt x="588" y="12231"/>
                  </a:lnTo>
                  <a:lnTo>
                    <a:pt x="294" y="12231"/>
                  </a:lnTo>
                  <a:lnTo>
                    <a:pt x="294" y="11581"/>
                  </a:lnTo>
                  <a:lnTo>
                    <a:pt x="0" y="11581"/>
                  </a:lnTo>
                  <a:lnTo>
                    <a:pt x="0" y="11320"/>
                  </a:lnTo>
                  <a:lnTo>
                    <a:pt x="294" y="11320"/>
                  </a:lnTo>
                  <a:lnTo>
                    <a:pt x="294" y="11060"/>
                  </a:lnTo>
                  <a:lnTo>
                    <a:pt x="588" y="11060"/>
                  </a:lnTo>
                  <a:lnTo>
                    <a:pt x="588" y="10410"/>
                  </a:lnTo>
                  <a:lnTo>
                    <a:pt x="882" y="10410"/>
                  </a:lnTo>
                  <a:lnTo>
                    <a:pt x="882" y="10019"/>
                  </a:lnTo>
                  <a:lnTo>
                    <a:pt x="294" y="9499"/>
                  </a:lnTo>
                  <a:lnTo>
                    <a:pt x="294" y="9108"/>
                  </a:lnTo>
                  <a:lnTo>
                    <a:pt x="1910" y="9108"/>
                  </a:lnTo>
                  <a:lnTo>
                    <a:pt x="1910" y="8848"/>
                  </a:lnTo>
                  <a:lnTo>
                    <a:pt x="2057" y="8848"/>
                  </a:lnTo>
                  <a:lnTo>
                    <a:pt x="2057" y="8588"/>
                  </a:lnTo>
                  <a:lnTo>
                    <a:pt x="1910" y="8588"/>
                  </a:lnTo>
                  <a:lnTo>
                    <a:pt x="1910" y="8328"/>
                  </a:lnTo>
                  <a:lnTo>
                    <a:pt x="2351" y="8328"/>
                  </a:lnTo>
                  <a:lnTo>
                    <a:pt x="2351" y="8198"/>
                  </a:lnTo>
                  <a:lnTo>
                    <a:pt x="2645" y="8198"/>
                  </a:lnTo>
                  <a:lnTo>
                    <a:pt x="2645" y="7937"/>
                  </a:lnTo>
                  <a:lnTo>
                    <a:pt x="2939" y="7937"/>
                  </a:lnTo>
                  <a:lnTo>
                    <a:pt x="2939" y="7677"/>
                  </a:lnTo>
                  <a:lnTo>
                    <a:pt x="2645" y="7677"/>
                  </a:lnTo>
                  <a:lnTo>
                    <a:pt x="2645" y="7417"/>
                  </a:lnTo>
                  <a:lnTo>
                    <a:pt x="2351" y="7417"/>
                  </a:lnTo>
                  <a:lnTo>
                    <a:pt x="2057" y="7287"/>
                  </a:lnTo>
                  <a:lnTo>
                    <a:pt x="1910" y="7287"/>
                  </a:lnTo>
                  <a:lnTo>
                    <a:pt x="2057" y="7027"/>
                  </a:lnTo>
                  <a:lnTo>
                    <a:pt x="1910" y="7027"/>
                  </a:lnTo>
                  <a:lnTo>
                    <a:pt x="1910" y="6766"/>
                  </a:lnTo>
                  <a:lnTo>
                    <a:pt x="2645" y="6766"/>
                  </a:lnTo>
                  <a:lnTo>
                    <a:pt x="2645" y="6506"/>
                  </a:lnTo>
                  <a:lnTo>
                    <a:pt x="2939" y="6506"/>
                  </a:lnTo>
                  <a:lnTo>
                    <a:pt x="2939" y="6116"/>
                  </a:lnTo>
                  <a:lnTo>
                    <a:pt x="3086" y="6116"/>
                  </a:lnTo>
                  <a:lnTo>
                    <a:pt x="3086" y="5595"/>
                  </a:lnTo>
                  <a:lnTo>
                    <a:pt x="2939" y="5465"/>
                  </a:lnTo>
                  <a:lnTo>
                    <a:pt x="3086" y="5205"/>
                  </a:lnTo>
                  <a:lnTo>
                    <a:pt x="3086" y="4945"/>
                  </a:lnTo>
                  <a:lnTo>
                    <a:pt x="2939" y="4945"/>
                  </a:lnTo>
                  <a:lnTo>
                    <a:pt x="2939" y="4684"/>
                  </a:lnTo>
                  <a:lnTo>
                    <a:pt x="2645" y="4684"/>
                  </a:lnTo>
                  <a:lnTo>
                    <a:pt x="2645" y="4294"/>
                  </a:lnTo>
                  <a:lnTo>
                    <a:pt x="2939" y="4294"/>
                  </a:lnTo>
                  <a:lnTo>
                    <a:pt x="2939" y="4034"/>
                  </a:lnTo>
                  <a:lnTo>
                    <a:pt x="3086" y="4034"/>
                  </a:lnTo>
                  <a:lnTo>
                    <a:pt x="3086" y="3773"/>
                  </a:lnTo>
                  <a:lnTo>
                    <a:pt x="4996" y="3773"/>
                  </a:lnTo>
                  <a:lnTo>
                    <a:pt x="4996" y="4034"/>
                  </a:lnTo>
                  <a:lnTo>
                    <a:pt x="6024" y="4034"/>
                  </a:lnTo>
                  <a:lnTo>
                    <a:pt x="6024" y="4294"/>
                  </a:lnTo>
                  <a:lnTo>
                    <a:pt x="6171" y="4294"/>
                  </a:lnTo>
                  <a:lnTo>
                    <a:pt x="6171" y="3383"/>
                  </a:lnTo>
                  <a:lnTo>
                    <a:pt x="7788" y="3383"/>
                  </a:lnTo>
                  <a:lnTo>
                    <a:pt x="7788" y="3123"/>
                  </a:lnTo>
                  <a:lnTo>
                    <a:pt x="7200" y="3123"/>
                  </a:lnTo>
                  <a:lnTo>
                    <a:pt x="7200" y="2863"/>
                  </a:lnTo>
                  <a:lnTo>
                    <a:pt x="7053" y="2863"/>
                  </a:lnTo>
                  <a:lnTo>
                    <a:pt x="7053" y="1952"/>
                  </a:lnTo>
                  <a:lnTo>
                    <a:pt x="6465" y="1952"/>
                  </a:lnTo>
                  <a:lnTo>
                    <a:pt x="6465" y="1822"/>
                  </a:lnTo>
                  <a:lnTo>
                    <a:pt x="7200" y="1822"/>
                  </a:lnTo>
                  <a:lnTo>
                    <a:pt x="7200" y="1301"/>
                  </a:lnTo>
                  <a:lnTo>
                    <a:pt x="7053" y="1301"/>
                  </a:lnTo>
                  <a:lnTo>
                    <a:pt x="7053" y="911"/>
                  </a:lnTo>
                  <a:lnTo>
                    <a:pt x="6759" y="911"/>
                  </a:lnTo>
                  <a:lnTo>
                    <a:pt x="6759" y="651"/>
                  </a:lnTo>
                  <a:lnTo>
                    <a:pt x="6465" y="390"/>
                  </a:lnTo>
                  <a:lnTo>
                    <a:pt x="6759" y="390"/>
                  </a:lnTo>
                  <a:lnTo>
                    <a:pt x="6759" y="260"/>
                  </a:lnTo>
                  <a:close/>
                  <a:moveTo>
                    <a:pt x="6024" y="0"/>
                  </a:moveTo>
                  <a:lnTo>
                    <a:pt x="6024" y="390"/>
                  </a:lnTo>
                  <a:lnTo>
                    <a:pt x="5731" y="390"/>
                  </a:lnTo>
                  <a:lnTo>
                    <a:pt x="5731" y="260"/>
                  </a:lnTo>
                  <a:lnTo>
                    <a:pt x="6024" y="0"/>
                  </a:lnTo>
                  <a:close/>
                  <a:moveTo>
                    <a:pt x="6024" y="0"/>
                  </a:moveTo>
                </a:path>
              </a:pathLst>
            </a:custGeom>
            <a:solidFill>
              <a:srgbClr val="00BACF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07" name="Freeform 59"/>
            <p:cNvSpPr>
              <a:spLocks/>
            </p:cNvSpPr>
            <p:nvPr/>
          </p:nvSpPr>
          <p:spPr bwMode="auto">
            <a:xfrm>
              <a:off x="7092735" y="4766813"/>
              <a:ext cx="92846" cy="167216"/>
            </a:xfrm>
            <a:custGeom>
              <a:avLst/>
              <a:gdLst/>
              <a:ahLst/>
              <a:cxnLst>
                <a:cxn ang="0">
                  <a:pos x="16800" y="0"/>
                </a:cxn>
                <a:cxn ang="0">
                  <a:pos x="19200" y="1271"/>
                </a:cxn>
                <a:cxn ang="0">
                  <a:pos x="19200" y="5718"/>
                </a:cxn>
                <a:cxn ang="0">
                  <a:pos x="21600" y="6988"/>
                </a:cxn>
                <a:cxn ang="0">
                  <a:pos x="21600" y="10165"/>
                </a:cxn>
                <a:cxn ang="0">
                  <a:pos x="19200" y="10165"/>
                </a:cxn>
                <a:cxn ang="0">
                  <a:pos x="19200" y="12706"/>
                </a:cxn>
                <a:cxn ang="0">
                  <a:pos x="16800" y="13341"/>
                </a:cxn>
                <a:cxn ang="0">
                  <a:pos x="16800" y="15882"/>
                </a:cxn>
                <a:cxn ang="0">
                  <a:pos x="15600" y="17153"/>
                </a:cxn>
                <a:cxn ang="0">
                  <a:pos x="15600" y="20329"/>
                </a:cxn>
                <a:cxn ang="0">
                  <a:pos x="13200" y="21600"/>
                </a:cxn>
                <a:cxn ang="0">
                  <a:pos x="13200" y="20329"/>
                </a:cxn>
                <a:cxn ang="0">
                  <a:pos x="10800" y="20329"/>
                </a:cxn>
                <a:cxn ang="0">
                  <a:pos x="10800" y="19059"/>
                </a:cxn>
                <a:cxn ang="0">
                  <a:pos x="7200" y="19059"/>
                </a:cxn>
                <a:cxn ang="0">
                  <a:pos x="7200" y="17788"/>
                </a:cxn>
                <a:cxn ang="0">
                  <a:pos x="4800" y="17788"/>
                </a:cxn>
                <a:cxn ang="0">
                  <a:pos x="4800" y="15882"/>
                </a:cxn>
                <a:cxn ang="0">
                  <a:pos x="2400" y="15882"/>
                </a:cxn>
                <a:cxn ang="0">
                  <a:pos x="4800" y="14612"/>
                </a:cxn>
                <a:cxn ang="0">
                  <a:pos x="4800" y="13341"/>
                </a:cxn>
                <a:cxn ang="0">
                  <a:pos x="2400" y="13341"/>
                </a:cxn>
                <a:cxn ang="0">
                  <a:pos x="2400" y="10165"/>
                </a:cxn>
                <a:cxn ang="0">
                  <a:pos x="0" y="10165"/>
                </a:cxn>
                <a:cxn ang="0">
                  <a:pos x="0" y="8259"/>
                </a:cxn>
                <a:cxn ang="0">
                  <a:pos x="2400" y="6988"/>
                </a:cxn>
                <a:cxn ang="0">
                  <a:pos x="4800" y="6988"/>
                </a:cxn>
                <a:cxn ang="0">
                  <a:pos x="7200" y="5718"/>
                </a:cxn>
                <a:cxn ang="0">
                  <a:pos x="7200" y="4447"/>
                </a:cxn>
                <a:cxn ang="0">
                  <a:pos x="8400" y="4447"/>
                </a:cxn>
                <a:cxn ang="0">
                  <a:pos x="10800" y="3812"/>
                </a:cxn>
                <a:cxn ang="0">
                  <a:pos x="15600" y="3812"/>
                </a:cxn>
                <a:cxn ang="0">
                  <a:pos x="16800" y="2541"/>
                </a:cxn>
                <a:cxn ang="0">
                  <a:pos x="16800" y="0"/>
                </a:cxn>
                <a:cxn ang="0">
                  <a:pos x="16800" y="0"/>
                </a:cxn>
              </a:cxnLst>
              <a:rect l="0" t="0" r="r" b="b"/>
              <a:pathLst>
                <a:path w="21600" h="21600">
                  <a:moveTo>
                    <a:pt x="16800" y="0"/>
                  </a:moveTo>
                  <a:lnTo>
                    <a:pt x="19200" y="1271"/>
                  </a:lnTo>
                  <a:lnTo>
                    <a:pt x="19200" y="5718"/>
                  </a:lnTo>
                  <a:lnTo>
                    <a:pt x="21600" y="6988"/>
                  </a:lnTo>
                  <a:lnTo>
                    <a:pt x="21600" y="10165"/>
                  </a:lnTo>
                  <a:lnTo>
                    <a:pt x="19200" y="10165"/>
                  </a:lnTo>
                  <a:lnTo>
                    <a:pt x="19200" y="12706"/>
                  </a:lnTo>
                  <a:lnTo>
                    <a:pt x="16800" y="13341"/>
                  </a:lnTo>
                  <a:lnTo>
                    <a:pt x="16800" y="15882"/>
                  </a:lnTo>
                  <a:lnTo>
                    <a:pt x="15600" y="17153"/>
                  </a:lnTo>
                  <a:lnTo>
                    <a:pt x="15600" y="20329"/>
                  </a:lnTo>
                  <a:lnTo>
                    <a:pt x="13200" y="21600"/>
                  </a:lnTo>
                  <a:lnTo>
                    <a:pt x="13200" y="20329"/>
                  </a:lnTo>
                  <a:lnTo>
                    <a:pt x="10800" y="20329"/>
                  </a:lnTo>
                  <a:lnTo>
                    <a:pt x="10800" y="19059"/>
                  </a:lnTo>
                  <a:lnTo>
                    <a:pt x="7200" y="19059"/>
                  </a:lnTo>
                  <a:lnTo>
                    <a:pt x="7200" y="17788"/>
                  </a:lnTo>
                  <a:lnTo>
                    <a:pt x="4800" y="17788"/>
                  </a:lnTo>
                  <a:lnTo>
                    <a:pt x="4800" y="15882"/>
                  </a:lnTo>
                  <a:lnTo>
                    <a:pt x="2400" y="15882"/>
                  </a:lnTo>
                  <a:lnTo>
                    <a:pt x="4800" y="14612"/>
                  </a:lnTo>
                  <a:lnTo>
                    <a:pt x="4800" y="13341"/>
                  </a:lnTo>
                  <a:lnTo>
                    <a:pt x="2400" y="13341"/>
                  </a:lnTo>
                  <a:lnTo>
                    <a:pt x="2400" y="10165"/>
                  </a:lnTo>
                  <a:lnTo>
                    <a:pt x="0" y="10165"/>
                  </a:lnTo>
                  <a:lnTo>
                    <a:pt x="0" y="8259"/>
                  </a:lnTo>
                  <a:lnTo>
                    <a:pt x="2400" y="6988"/>
                  </a:lnTo>
                  <a:lnTo>
                    <a:pt x="4800" y="6988"/>
                  </a:lnTo>
                  <a:lnTo>
                    <a:pt x="7200" y="5718"/>
                  </a:lnTo>
                  <a:lnTo>
                    <a:pt x="7200" y="4447"/>
                  </a:lnTo>
                  <a:lnTo>
                    <a:pt x="8400" y="4447"/>
                  </a:lnTo>
                  <a:lnTo>
                    <a:pt x="10800" y="3812"/>
                  </a:lnTo>
                  <a:lnTo>
                    <a:pt x="15600" y="3812"/>
                  </a:lnTo>
                  <a:lnTo>
                    <a:pt x="16800" y="2541"/>
                  </a:lnTo>
                  <a:lnTo>
                    <a:pt x="16800" y="0"/>
                  </a:lnTo>
                  <a:close/>
                  <a:moveTo>
                    <a:pt x="1680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08" name="AutoShape 60"/>
            <p:cNvSpPr>
              <a:spLocks/>
            </p:cNvSpPr>
            <p:nvPr/>
          </p:nvSpPr>
          <p:spPr bwMode="auto">
            <a:xfrm>
              <a:off x="5985328" y="3960954"/>
              <a:ext cx="1080397" cy="874357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5712" y="12742"/>
                  </a:moveTo>
                  <a:lnTo>
                    <a:pt x="5815" y="12742"/>
                  </a:lnTo>
                  <a:lnTo>
                    <a:pt x="5815" y="12984"/>
                  </a:lnTo>
                  <a:lnTo>
                    <a:pt x="5712" y="12984"/>
                  </a:lnTo>
                  <a:lnTo>
                    <a:pt x="5712" y="12742"/>
                  </a:lnTo>
                  <a:close/>
                  <a:moveTo>
                    <a:pt x="623" y="7038"/>
                  </a:moveTo>
                  <a:lnTo>
                    <a:pt x="623" y="7281"/>
                  </a:lnTo>
                  <a:lnTo>
                    <a:pt x="727" y="7281"/>
                  </a:lnTo>
                  <a:lnTo>
                    <a:pt x="727" y="7038"/>
                  </a:lnTo>
                  <a:lnTo>
                    <a:pt x="623" y="7038"/>
                  </a:lnTo>
                  <a:close/>
                  <a:moveTo>
                    <a:pt x="11838" y="0"/>
                  </a:moveTo>
                  <a:lnTo>
                    <a:pt x="12150" y="0"/>
                  </a:lnTo>
                  <a:lnTo>
                    <a:pt x="12358" y="243"/>
                  </a:lnTo>
                  <a:lnTo>
                    <a:pt x="12358" y="728"/>
                  </a:lnTo>
                  <a:lnTo>
                    <a:pt x="12565" y="728"/>
                  </a:lnTo>
                  <a:lnTo>
                    <a:pt x="12565" y="849"/>
                  </a:lnTo>
                  <a:lnTo>
                    <a:pt x="12773" y="849"/>
                  </a:lnTo>
                  <a:lnTo>
                    <a:pt x="12773" y="1092"/>
                  </a:lnTo>
                  <a:lnTo>
                    <a:pt x="12877" y="1092"/>
                  </a:lnTo>
                  <a:lnTo>
                    <a:pt x="12877" y="849"/>
                  </a:lnTo>
                  <a:lnTo>
                    <a:pt x="13292" y="849"/>
                  </a:lnTo>
                  <a:lnTo>
                    <a:pt x="13292" y="1092"/>
                  </a:lnTo>
                  <a:lnTo>
                    <a:pt x="13500" y="1092"/>
                  </a:lnTo>
                  <a:lnTo>
                    <a:pt x="13500" y="1578"/>
                  </a:lnTo>
                  <a:lnTo>
                    <a:pt x="13604" y="1699"/>
                  </a:lnTo>
                  <a:lnTo>
                    <a:pt x="13812" y="1699"/>
                  </a:lnTo>
                  <a:lnTo>
                    <a:pt x="13812" y="1578"/>
                  </a:lnTo>
                  <a:lnTo>
                    <a:pt x="14019" y="1578"/>
                  </a:lnTo>
                  <a:lnTo>
                    <a:pt x="14019" y="1942"/>
                  </a:lnTo>
                  <a:lnTo>
                    <a:pt x="14227" y="2184"/>
                  </a:lnTo>
                  <a:lnTo>
                    <a:pt x="14331" y="2184"/>
                  </a:lnTo>
                  <a:lnTo>
                    <a:pt x="14331" y="1942"/>
                  </a:lnTo>
                  <a:lnTo>
                    <a:pt x="14746" y="1942"/>
                  </a:lnTo>
                  <a:lnTo>
                    <a:pt x="14746" y="2184"/>
                  </a:lnTo>
                  <a:lnTo>
                    <a:pt x="14954" y="2184"/>
                  </a:lnTo>
                  <a:lnTo>
                    <a:pt x="14954" y="3034"/>
                  </a:lnTo>
                  <a:lnTo>
                    <a:pt x="15473" y="3034"/>
                  </a:lnTo>
                  <a:lnTo>
                    <a:pt x="15473" y="2791"/>
                  </a:lnTo>
                  <a:lnTo>
                    <a:pt x="15681" y="2791"/>
                  </a:lnTo>
                  <a:lnTo>
                    <a:pt x="15681" y="2548"/>
                  </a:lnTo>
                  <a:lnTo>
                    <a:pt x="15785" y="2548"/>
                  </a:lnTo>
                  <a:lnTo>
                    <a:pt x="15785" y="2306"/>
                  </a:lnTo>
                  <a:lnTo>
                    <a:pt x="15992" y="2306"/>
                  </a:lnTo>
                  <a:lnTo>
                    <a:pt x="15992" y="2548"/>
                  </a:lnTo>
                  <a:lnTo>
                    <a:pt x="15785" y="2791"/>
                  </a:lnTo>
                  <a:lnTo>
                    <a:pt x="15785" y="3034"/>
                  </a:lnTo>
                  <a:lnTo>
                    <a:pt x="15992" y="3034"/>
                  </a:lnTo>
                  <a:lnTo>
                    <a:pt x="15992" y="3398"/>
                  </a:lnTo>
                  <a:lnTo>
                    <a:pt x="16512" y="3398"/>
                  </a:lnTo>
                  <a:lnTo>
                    <a:pt x="16512" y="3640"/>
                  </a:lnTo>
                  <a:lnTo>
                    <a:pt x="16719" y="3640"/>
                  </a:lnTo>
                  <a:lnTo>
                    <a:pt x="16719" y="3883"/>
                  </a:lnTo>
                  <a:lnTo>
                    <a:pt x="16927" y="3883"/>
                  </a:lnTo>
                  <a:lnTo>
                    <a:pt x="16927" y="4004"/>
                  </a:lnTo>
                  <a:lnTo>
                    <a:pt x="18485" y="4004"/>
                  </a:lnTo>
                  <a:lnTo>
                    <a:pt x="18485" y="4247"/>
                  </a:lnTo>
                  <a:lnTo>
                    <a:pt x="18900" y="4247"/>
                  </a:lnTo>
                  <a:lnTo>
                    <a:pt x="18900" y="4733"/>
                  </a:lnTo>
                  <a:lnTo>
                    <a:pt x="19108" y="4733"/>
                  </a:lnTo>
                  <a:lnTo>
                    <a:pt x="19108" y="4854"/>
                  </a:lnTo>
                  <a:lnTo>
                    <a:pt x="19419" y="4854"/>
                  </a:lnTo>
                  <a:lnTo>
                    <a:pt x="19419" y="5097"/>
                  </a:lnTo>
                  <a:lnTo>
                    <a:pt x="19938" y="5097"/>
                  </a:lnTo>
                  <a:lnTo>
                    <a:pt x="20146" y="4854"/>
                  </a:lnTo>
                  <a:lnTo>
                    <a:pt x="20354" y="4854"/>
                  </a:lnTo>
                  <a:lnTo>
                    <a:pt x="20354" y="5097"/>
                  </a:lnTo>
                  <a:lnTo>
                    <a:pt x="20562" y="5097"/>
                  </a:lnTo>
                  <a:lnTo>
                    <a:pt x="20562" y="5339"/>
                  </a:lnTo>
                  <a:lnTo>
                    <a:pt x="21288" y="5339"/>
                  </a:lnTo>
                  <a:lnTo>
                    <a:pt x="21288" y="5582"/>
                  </a:lnTo>
                  <a:lnTo>
                    <a:pt x="21600" y="5582"/>
                  </a:lnTo>
                  <a:lnTo>
                    <a:pt x="21392" y="5703"/>
                  </a:lnTo>
                  <a:lnTo>
                    <a:pt x="21392" y="5946"/>
                  </a:lnTo>
                  <a:lnTo>
                    <a:pt x="21288" y="5946"/>
                  </a:lnTo>
                  <a:lnTo>
                    <a:pt x="21288" y="6189"/>
                  </a:lnTo>
                  <a:lnTo>
                    <a:pt x="21081" y="6189"/>
                  </a:lnTo>
                  <a:lnTo>
                    <a:pt x="21081" y="6431"/>
                  </a:lnTo>
                  <a:lnTo>
                    <a:pt x="20873" y="6431"/>
                  </a:lnTo>
                  <a:lnTo>
                    <a:pt x="20873" y="6553"/>
                  </a:lnTo>
                  <a:lnTo>
                    <a:pt x="20665" y="7038"/>
                  </a:lnTo>
                  <a:lnTo>
                    <a:pt x="20665" y="7402"/>
                  </a:lnTo>
                  <a:lnTo>
                    <a:pt x="20562" y="7402"/>
                  </a:lnTo>
                  <a:lnTo>
                    <a:pt x="20562" y="8494"/>
                  </a:lnTo>
                  <a:lnTo>
                    <a:pt x="20354" y="8494"/>
                  </a:lnTo>
                  <a:lnTo>
                    <a:pt x="20562" y="8737"/>
                  </a:lnTo>
                  <a:lnTo>
                    <a:pt x="20562" y="8980"/>
                  </a:lnTo>
                  <a:lnTo>
                    <a:pt x="20146" y="9344"/>
                  </a:lnTo>
                  <a:lnTo>
                    <a:pt x="19938" y="9344"/>
                  </a:lnTo>
                  <a:lnTo>
                    <a:pt x="19835" y="9101"/>
                  </a:lnTo>
                  <a:lnTo>
                    <a:pt x="19419" y="9101"/>
                  </a:lnTo>
                  <a:lnTo>
                    <a:pt x="19419" y="9344"/>
                  </a:lnTo>
                  <a:lnTo>
                    <a:pt x="19627" y="9344"/>
                  </a:lnTo>
                  <a:lnTo>
                    <a:pt x="19627" y="9587"/>
                  </a:lnTo>
                  <a:lnTo>
                    <a:pt x="19419" y="9587"/>
                  </a:lnTo>
                  <a:lnTo>
                    <a:pt x="19419" y="9829"/>
                  </a:lnTo>
                  <a:lnTo>
                    <a:pt x="19212" y="9951"/>
                  </a:lnTo>
                  <a:lnTo>
                    <a:pt x="19108" y="9951"/>
                  </a:lnTo>
                  <a:lnTo>
                    <a:pt x="19108" y="10193"/>
                  </a:lnTo>
                  <a:lnTo>
                    <a:pt x="18900" y="10193"/>
                  </a:lnTo>
                  <a:lnTo>
                    <a:pt x="18900" y="10436"/>
                  </a:lnTo>
                  <a:lnTo>
                    <a:pt x="18692" y="10436"/>
                  </a:lnTo>
                  <a:lnTo>
                    <a:pt x="18692" y="10800"/>
                  </a:lnTo>
                  <a:lnTo>
                    <a:pt x="18485" y="10800"/>
                  </a:lnTo>
                  <a:lnTo>
                    <a:pt x="18485" y="11043"/>
                  </a:lnTo>
                  <a:lnTo>
                    <a:pt x="18381" y="11043"/>
                  </a:lnTo>
                  <a:lnTo>
                    <a:pt x="18381" y="11285"/>
                  </a:lnTo>
                  <a:lnTo>
                    <a:pt x="18173" y="11285"/>
                  </a:lnTo>
                  <a:lnTo>
                    <a:pt x="18173" y="11528"/>
                  </a:lnTo>
                  <a:lnTo>
                    <a:pt x="17965" y="11528"/>
                  </a:lnTo>
                  <a:lnTo>
                    <a:pt x="17965" y="12135"/>
                  </a:lnTo>
                  <a:lnTo>
                    <a:pt x="17758" y="12135"/>
                  </a:lnTo>
                  <a:lnTo>
                    <a:pt x="17758" y="12499"/>
                  </a:lnTo>
                  <a:lnTo>
                    <a:pt x="17965" y="12499"/>
                  </a:lnTo>
                  <a:lnTo>
                    <a:pt x="17965" y="12378"/>
                  </a:lnTo>
                  <a:lnTo>
                    <a:pt x="18173" y="12378"/>
                  </a:lnTo>
                  <a:lnTo>
                    <a:pt x="18173" y="12135"/>
                  </a:lnTo>
                  <a:lnTo>
                    <a:pt x="18381" y="12135"/>
                  </a:lnTo>
                  <a:lnTo>
                    <a:pt x="18381" y="11649"/>
                  </a:lnTo>
                  <a:lnTo>
                    <a:pt x="19212" y="11649"/>
                  </a:lnTo>
                  <a:lnTo>
                    <a:pt x="19212" y="12135"/>
                  </a:lnTo>
                  <a:lnTo>
                    <a:pt x="19419" y="12135"/>
                  </a:lnTo>
                  <a:lnTo>
                    <a:pt x="19419" y="12378"/>
                  </a:lnTo>
                  <a:lnTo>
                    <a:pt x="19212" y="12378"/>
                  </a:lnTo>
                  <a:lnTo>
                    <a:pt x="19212" y="12499"/>
                  </a:lnTo>
                  <a:lnTo>
                    <a:pt x="19419" y="12499"/>
                  </a:lnTo>
                  <a:lnTo>
                    <a:pt x="19419" y="12742"/>
                  </a:lnTo>
                  <a:lnTo>
                    <a:pt x="19627" y="12742"/>
                  </a:lnTo>
                  <a:lnTo>
                    <a:pt x="19627" y="12984"/>
                  </a:lnTo>
                  <a:lnTo>
                    <a:pt x="19419" y="12984"/>
                  </a:lnTo>
                  <a:lnTo>
                    <a:pt x="19419" y="13227"/>
                  </a:lnTo>
                  <a:lnTo>
                    <a:pt x="19212" y="13227"/>
                  </a:lnTo>
                  <a:lnTo>
                    <a:pt x="19212" y="13591"/>
                  </a:lnTo>
                  <a:lnTo>
                    <a:pt x="19419" y="13591"/>
                  </a:lnTo>
                  <a:lnTo>
                    <a:pt x="19627" y="13834"/>
                  </a:lnTo>
                  <a:lnTo>
                    <a:pt x="19627" y="13955"/>
                  </a:lnTo>
                  <a:lnTo>
                    <a:pt x="19835" y="13955"/>
                  </a:lnTo>
                  <a:lnTo>
                    <a:pt x="19938" y="14198"/>
                  </a:lnTo>
                  <a:lnTo>
                    <a:pt x="19938" y="14440"/>
                  </a:lnTo>
                  <a:lnTo>
                    <a:pt x="19835" y="14440"/>
                  </a:lnTo>
                  <a:lnTo>
                    <a:pt x="19835" y="14683"/>
                  </a:lnTo>
                  <a:lnTo>
                    <a:pt x="19419" y="14683"/>
                  </a:lnTo>
                  <a:lnTo>
                    <a:pt x="19212" y="14804"/>
                  </a:lnTo>
                  <a:lnTo>
                    <a:pt x="18900" y="14804"/>
                  </a:lnTo>
                  <a:lnTo>
                    <a:pt x="18900" y="15047"/>
                  </a:lnTo>
                  <a:lnTo>
                    <a:pt x="19108" y="15047"/>
                  </a:lnTo>
                  <a:lnTo>
                    <a:pt x="19108" y="15290"/>
                  </a:lnTo>
                  <a:lnTo>
                    <a:pt x="19212" y="15533"/>
                  </a:lnTo>
                  <a:lnTo>
                    <a:pt x="19627" y="15533"/>
                  </a:lnTo>
                  <a:lnTo>
                    <a:pt x="19627" y="15897"/>
                  </a:lnTo>
                  <a:lnTo>
                    <a:pt x="19419" y="15897"/>
                  </a:lnTo>
                  <a:lnTo>
                    <a:pt x="19419" y="16746"/>
                  </a:lnTo>
                  <a:lnTo>
                    <a:pt x="19835" y="16746"/>
                  </a:lnTo>
                  <a:lnTo>
                    <a:pt x="19938" y="16989"/>
                  </a:lnTo>
                  <a:lnTo>
                    <a:pt x="19938" y="17231"/>
                  </a:lnTo>
                  <a:lnTo>
                    <a:pt x="20665" y="17231"/>
                  </a:lnTo>
                  <a:lnTo>
                    <a:pt x="20665" y="17353"/>
                  </a:lnTo>
                  <a:lnTo>
                    <a:pt x="20873" y="17353"/>
                  </a:lnTo>
                  <a:lnTo>
                    <a:pt x="20873" y="17596"/>
                  </a:lnTo>
                  <a:lnTo>
                    <a:pt x="20665" y="17596"/>
                  </a:lnTo>
                  <a:lnTo>
                    <a:pt x="20562" y="17838"/>
                  </a:lnTo>
                  <a:lnTo>
                    <a:pt x="20562" y="18202"/>
                  </a:lnTo>
                  <a:lnTo>
                    <a:pt x="20354" y="18202"/>
                  </a:lnTo>
                  <a:lnTo>
                    <a:pt x="20354" y="18081"/>
                  </a:lnTo>
                  <a:lnTo>
                    <a:pt x="20146" y="18202"/>
                  </a:lnTo>
                  <a:lnTo>
                    <a:pt x="20146" y="18445"/>
                  </a:lnTo>
                  <a:lnTo>
                    <a:pt x="19938" y="18445"/>
                  </a:lnTo>
                  <a:lnTo>
                    <a:pt x="19938" y="18688"/>
                  </a:lnTo>
                  <a:lnTo>
                    <a:pt x="19627" y="18688"/>
                  </a:lnTo>
                  <a:lnTo>
                    <a:pt x="19627" y="18930"/>
                  </a:lnTo>
                  <a:lnTo>
                    <a:pt x="19212" y="18930"/>
                  </a:lnTo>
                  <a:lnTo>
                    <a:pt x="19212" y="19052"/>
                  </a:lnTo>
                  <a:lnTo>
                    <a:pt x="19108" y="19052"/>
                  </a:lnTo>
                  <a:lnTo>
                    <a:pt x="19108" y="19294"/>
                  </a:lnTo>
                  <a:lnTo>
                    <a:pt x="18900" y="19537"/>
                  </a:lnTo>
                  <a:lnTo>
                    <a:pt x="18692" y="19537"/>
                  </a:lnTo>
                  <a:lnTo>
                    <a:pt x="18692" y="19780"/>
                  </a:lnTo>
                  <a:lnTo>
                    <a:pt x="18485" y="19780"/>
                  </a:lnTo>
                  <a:lnTo>
                    <a:pt x="18485" y="19901"/>
                  </a:lnTo>
                  <a:lnTo>
                    <a:pt x="18173" y="19901"/>
                  </a:lnTo>
                  <a:lnTo>
                    <a:pt x="18173" y="19780"/>
                  </a:lnTo>
                  <a:lnTo>
                    <a:pt x="17446" y="19780"/>
                  </a:lnTo>
                  <a:lnTo>
                    <a:pt x="17446" y="19537"/>
                  </a:lnTo>
                  <a:lnTo>
                    <a:pt x="16719" y="19537"/>
                  </a:lnTo>
                  <a:lnTo>
                    <a:pt x="16927" y="19294"/>
                  </a:lnTo>
                  <a:lnTo>
                    <a:pt x="16927" y="19052"/>
                  </a:lnTo>
                  <a:lnTo>
                    <a:pt x="16200" y="19052"/>
                  </a:lnTo>
                  <a:lnTo>
                    <a:pt x="15992" y="18930"/>
                  </a:lnTo>
                  <a:lnTo>
                    <a:pt x="15058" y="18930"/>
                  </a:lnTo>
                  <a:lnTo>
                    <a:pt x="14954" y="18688"/>
                  </a:lnTo>
                  <a:lnTo>
                    <a:pt x="14746" y="18688"/>
                  </a:lnTo>
                  <a:lnTo>
                    <a:pt x="14331" y="18930"/>
                  </a:lnTo>
                  <a:lnTo>
                    <a:pt x="14227" y="19052"/>
                  </a:lnTo>
                  <a:lnTo>
                    <a:pt x="14019" y="19052"/>
                  </a:lnTo>
                  <a:lnTo>
                    <a:pt x="13812" y="19294"/>
                  </a:lnTo>
                  <a:lnTo>
                    <a:pt x="13604" y="19294"/>
                  </a:lnTo>
                  <a:lnTo>
                    <a:pt x="13604" y="19537"/>
                  </a:lnTo>
                  <a:lnTo>
                    <a:pt x="13500" y="19537"/>
                  </a:lnTo>
                  <a:lnTo>
                    <a:pt x="13292" y="19780"/>
                  </a:lnTo>
                  <a:lnTo>
                    <a:pt x="13292" y="19901"/>
                  </a:lnTo>
                  <a:lnTo>
                    <a:pt x="13085" y="19901"/>
                  </a:lnTo>
                  <a:lnTo>
                    <a:pt x="12877" y="20144"/>
                  </a:lnTo>
                  <a:lnTo>
                    <a:pt x="12877" y="20387"/>
                  </a:lnTo>
                  <a:lnTo>
                    <a:pt x="13085" y="20387"/>
                  </a:lnTo>
                  <a:lnTo>
                    <a:pt x="13085" y="20993"/>
                  </a:lnTo>
                  <a:lnTo>
                    <a:pt x="13292" y="20993"/>
                  </a:lnTo>
                  <a:lnTo>
                    <a:pt x="13292" y="21479"/>
                  </a:lnTo>
                  <a:lnTo>
                    <a:pt x="13085" y="21479"/>
                  </a:lnTo>
                  <a:lnTo>
                    <a:pt x="13085" y="21236"/>
                  </a:lnTo>
                  <a:lnTo>
                    <a:pt x="12877" y="21236"/>
                  </a:lnTo>
                  <a:lnTo>
                    <a:pt x="12773" y="21479"/>
                  </a:lnTo>
                  <a:lnTo>
                    <a:pt x="12150" y="21479"/>
                  </a:lnTo>
                  <a:lnTo>
                    <a:pt x="12150" y="21600"/>
                  </a:lnTo>
                  <a:lnTo>
                    <a:pt x="12046" y="21600"/>
                  </a:lnTo>
                  <a:lnTo>
                    <a:pt x="12046" y="21479"/>
                  </a:lnTo>
                  <a:lnTo>
                    <a:pt x="11112" y="21479"/>
                  </a:lnTo>
                  <a:lnTo>
                    <a:pt x="11112" y="21236"/>
                  </a:lnTo>
                  <a:lnTo>
                    <a:pt x="10904" y="21236"/>
                  </a:lnTo>
                  <a:lnTo>
                    <a:pt x="10904" y="20993"/>
                  </a:lnTo>
                  <a:lnTo>
                    <a:pt x="10592" y="20993"/>
                  </a:lnTo>
                  <a:lnTo>
                    <a:pt x="10592" y="20751"/>
                  </a:lnTo>
                  <a:lnTo>
                    <a:pt x="10385" y="20751"/>
                  </a:lnTo>
                  <a:lnTo>
                    <a:pt x="10385" y="20993"/>
                  </a:lnTo>
                  <a:lnTo>
                    <a:pt x="10177" y="20751"/>
                  </a:lnTo>
                  <a:lnTo>
                    <a:pt x="9865" y="20751"/>
                  </a:lnTo>
                  <a:lnTo>
                    <a:pt x="9865" y="20629"/>
                  </a:lnTo>
                  <a:lnTo>
                    <a:pt x="9450" y="20629"/>
                  </a:lnTo>
                  <a:lnTo>
                    <a:pt x="9450" y="20387"/>
                  </a:lnTo>
                  <a:lnTo>
                    <a:pt x="9242" y="20387"/>
                  </a:lnTo>
                  <a:lnTo>
                    <a:pt x="9242" y="20144"/>
                  </a:lnTo>
                  <a:lnTo>
                    <a:pt x="9138" y="20144"/>
                  </a:lnTo>
                  <a:lnTo>
                    <a:pt x="9138" y="20751"/>
                  </a:lnTo>
                  <a:lnTo>
                    <a:pt x="8723" y="20751"/>
                  </a:lnTo>
                  <a:lnTo>
                    <a:pt x="8723" y="20629"/>
                  </a:lnTo>
                  <a:lnTo>
                    <a:pt x="8515" y="20629"/>
                  </a:lnTo>
                  <a:lnTo>
                    <a:pt x="8515" y="20751"/>
                  </a:lnTo>
                  <a:lnTo>
                    <a:pt x="7788" y="20751"/>
                  </a:lnTo>
                  <a:lnTo>
                    <a:pt x="7685" y="20629"/>
                  </a:lnTo>
                  <a:lnTo>
                    <a:pt x="7685" y="20387"/>
                  </a:lnTo>
                  <a:lnTo>
                    <a:pt x="7269" y="20387"/>
                  </a:lnTo>
                  <a:lnTo>
                    <a:pt x="7269" y="20629"/>
                  </a:lnTo>
                  <a:lnTo>
                    <a:pt x="7165" y="20629"/>
                  </a:lnTo>
                  <a:lnTo>
                    <a:pt x="7165" y="20387"/>
                  </a:lnTo>
                  <a:lnTo>
                    <a:pt x="6958" y="20387"/>
                  </a:lnTo>
                  <a:lnTo>
                    <a:pt x="6750" y="20144"/>
                  </a:lnTo>
                  <a:lnTo>
                    <a:pt x="6231" y="20144"/>
                  </a:lnTo>
                  <a:lnTo>
                    <a:pt x="6023" y="19901"/>
                  </a:lnTo>
                  <a:lnTo>
                    <a:pt x="5815" y="19901"/>
                  </a:lnTo>
                  <a:lnTo>
                    <a:pt x="5815" y="19780"/>
                  </a:lnTo>
                  <a:lnTo>
                    <a:pt x="5712" y="19780"/>
                  </a:lnTo>
                  <a:lnTo>
                    <a:pt x="5712" y="19294"/>
                  </a:lnTo>
                  <a:lnTo>
                    <a:pt x="5504" y="19294"/>
                  </a:lnTo>
                  <a:lnTo>
                    <a:pt x="5504" y="19537"/>
                  </a:lnTo>
                  <a:lnTo>
                    <a:pt x="5296" y="19537"/>
                  </a:lnTo>
                  <a:lnTo>
                    <a:pt x="5296" y="19294"/>
                  </a:lnTo>
                  <a:lnTo>
                    <a:pt x="5088" y="19294"/>
                  </a:lnTo>
                  <a:lnTo>
                    <a:pt x="5088" y="18930"/>
                  </a:lnTo>
                  <a:lnTo>
                    <a:pt x="5296" y="18930"/>
                  </a:lnTo>
                  <a:lnTo>
                    <a:pt x="5296" y="18688"/>
                  </a:lnTo>
                  <a:lnTo>
                    <a:pt x="5712" y="18202"/>
                  </a:lnTo>
                  <a:lnTo>
                    <a:pt x="5712" y="17231"/>
                  </a:lnTo>
                  <a:lnTo>
                    <a:pt x="5815" y="17231"/>
                  </a:lnTo>
                  <a:lnTo>
                    <a:pt x="5815" y="16382"/>
                  </a:lnTo>
                  <a:lnTo>
                    <a:pt x="6023" y="16139"/>
                  </a:lnTo>
                  <a:lnTo>
                    <a:pt x="6231" y="16139"/>
                  </a:lnTo>
                  <a:lnTo>
                    <a:pt x="6231" y="15654"/>
                  </a:lnTo>
                  <a:lnTo>
                    <a:pt x="6023" y="15654"/>
                  </a:lnTo>
                  <a:lnTo>
                    <a:pt x="6023" y="13591"/>
                  </a:lnTo>
                  <a:lnTo>
                    <a:pt x="5815" y="13591"/>
                  </a:lnTo>
                  <a:lnTo>
                    <a:pt x="5815" y="12984"/>
                  </a:lnTo>
                  <a:lnTo>
                    <a:pt x="6023" y="12984"/>
                  </a:lnTo>
                  <a:lnTo>
                    <a:pt x="6023" y="12135"/>
                  </a:lnTo>
                  <a:lnTo>
                    <a:pt x="5815" y="12135"/>
                  </a:lnTo>
                  <a:lnTo>
                    <a:pt x="5815" y="11892"/>
                  </a:lnTo>
                  <a:lnTo>
                    <a:pt x="5296" y="11892"/>
                  </a:lnTo>
                  <a:lnTo>
                    <a:pt x="5296" y="11649"/>
                  </a:lnTo>
                  <a:lnTo>
                    <a:pt x="4985" y="11649"/>
                  </a:lnTo>
                  <a:lnTo>
                    <a:pt x="4985" y="11528"/>
                  </a:lnTo>
                  <a:lnTo>
                    <a:pt x="4777" y="11285"/>
                  </a:lnTo>
                  <a:lnTo>
                    <a:pt x="4777" y="11043"/>
                  </a:lnTo>
                  <a:lnTo>
                    <a:pt x="4569" y="11043"/>
                  </a:lnTo>
                  <a:lnTo>
                    <a:pt x="4569" y="10800"/>
                  </a:lnTo>
                  <a:lnTo>
                    <a:pt x="4362" y="10800"/>
                  </a:lnTo>
                  <a:lnTo>
                    <a:pt x="4362" y="10679"/>
                  </a:lnTo>
                  <a:lnTo>
                    <a:pt x="4569" y="10436"/>
                  </a:lnTo>
                  <a:lnTo>
                    <a:pt x="4569" y="10193"/>
                  </a:lnTo>
                  <a:lnTo>
                    <a:pt x="4362" y="10193"/>
                  </a:lnTo>
                  <a:lnTo>
                    <a:pt x="4362" y="9951"/>
                  </a:lnTo>
                  <a:lnTo>
                    <a:pt x="4258" y="9951"/>
                  </a:lnTo>
                  <a:lnTo>
                    <a:pt x="4258" y="9829"/>
                  </a:lnTo>
                  <a:lnTo>
                    <a:pt x="4050" y="9587"/>
                  </a:lnTo>
                  <a:lnTo>
                    <a:pt x="3842" y="9587"/>
                  </a:lnTo>
                  <a:lnTo>
                    <a:pt x="3842" y="9344"/>
                  </a:lnTo>
                  <a:lnTo>
                    <a:pt x="3635" y="9344"/>
                  </a:lnTo>
                  <a:lnTo>
                    <a:pt x="3635" y="9101"/>
                  </a:lnTo>
                  <a:lnTo>
                    <a:pt x="3531" y="9101"/>
                  </a:lnTo>
                  <a:lnTo>
                    <a:pt x="3531" y="8980"/>
                  </a:lnTo>
                  <a:lnTo>
                    <a:pt x="2804" y="8980"/>
                  </a:lnTo>
                  <a:lnTo>
                    <a:pt x="2804" y="9101"/>
                  </a:lnTo>
                  <a:lnTo>
                    <a:pt x="2388" y="8737"/>
                  </a:lnTo>
                  <a:lnTo>
                    <a:pt x="2181" y="8737"/>
                  </a:lnTo>
                  <a:lnTo>
                    <a:pt x="2181" y="8494"/>
                  </a:lnTo>
                  <a:lnTo>
                    <a:pt x="2077" y="8494"/>
                  </a:lnTo>
                  <a:lnTo>
                    <a:pt x="2077" y="8252"/>
                  </a:lnTo>
                  <a:lnTo>
                    <a:pt x="1662" y="8252"/>
                  </a:lnTo>
                  <a:lnTo>
                    <a:pt x="1662" y="8130"/>
                  </a:lnTo>
                  <a:lnTo>
                    <a:pt x="935" y="8130"/>
                  </a:lnTo>
                  <a:lnTo>
                    <a:pt x="935" y="8252"/>
                  </a:lnTo>
                  <a:lnTo>
                    <a:pt x="623" y="8252"/>
                  </a:lnTo>
                  <a:lnTo>
                    <a:pt x="623" y="8130"/>
                  </a:lnTo>
                  <a:lnTo>
                    <a:pt x="208" y="8130"/>
                  </a:lnTo>
                  <a:lnTo>
                    <a:pt x="208" y="7888"/>
                  </a:lnTo>
                  <a:lnTo>
                    <a:pt x="0" y="7888"/>
                  </a:lnTo>
                  <a:lnTo>
                    <a:pt x="0" y="7645"/>
                  </a:lnTo>
                  <a:lnTo>
                    <a:pt x="727" y="7645"/>
                  </a:lnTo>
                  <a:lnTo>
                    <a:pt x="727" y="7402"/>
                  </a:lnTo>
                  <a:lnTo>
                    <a:pt x="415" y="7402"/>
                  </a:lnTo>
                  <a:lnTo>
                    <a:pt x="415" y="7281"/>
                  </a:lnTo>
                  <a:lnTo>
                    <a:pt x="208" y="7281"/>
                  </a:lnTo>
                  <a:lnTo>
                    <a:pt x="415" y="7038"/>
                  </a:lnTo>
                  <a:lnTo>
                    <a:pt x="0" y="7038"/>
                  </a:lnTo>
                  <a:lnTo>
                    <a:pt x="0" y="6553"/>
                  </a:lnTo>
                  <a:lnTo>
                    <a:pt x="623" y="6553"/>
                  </a:lnTo>
                  <a:lnTo>
                    <a:pt x="727" y="6431"/>
                  </a:lnTo>
                  <a:lnTo>
                    <a:pt x="935" y="6431"/>
                  </a:lnTo>
                  <a:lnTo>
                    <a:pt x="1350" y="6189"/>
                  </a:lnTo>
                  <a:lnTo>
                    <a:pt x="2077" y="6189"/>
                  </a:lnTo>
                  <a:lnTo>
                    <a:pt x="2077" y="5946"/>
                  </a:lnTo>
                  <a:lnTo>
                    <a:pt x="2596" y="5946"/>
                  </a:lnTo>
                  <a:lnTo>
                    <a:pt x="2596" y="5703"/>
                  </a:lnTo>
                  <a:lnTo>
                    <a:pt x="2908" y="5703"/>
                  </a:lnTo>
                  <a:lnTo>
                    <a:pt x="2908" y="5946"/>
                  </a:lnTo>
                  <a:lnTo>
                    <a:pt x="3115" y="5946"/>
                  </a:lnTo>
                  <a:lnTo>
                    <a:pt x="3115" y="6189"/>
                  </a:lnTo>
                  <a:lnTo>
                    <a:pt x="3323" y="6189"/>
                  </a:lnTo>
                  <a:lnTo>
                    <a:pt x="3323" y="6431"/>
                  </a:lnTo>
                  <a:lnTo>
                    <a:pt x="3531" y="6431"/>
                  </a:lnTo>
                  <a:lnTo>
                    <a:pt x="3531" y="6553"/>
                  </a:lnTo>
                  <a:lnTo>
                    <a:pt x="3842" y="6553"/>
                  </a:lnTo>
                  <a:lnTo>
                    <a:pt x="3842" y="6431"/>
                  </a:lnTo>
                  <a:lnTo>
                    <a:pt x="4777" y="6431"/>
                  </a:lnTo>
                  <a:lnTo>
                    <a:pt x="4777" y="6189"/>
                  </a:lnTo>
                  <a:lnTo>
                    <a:pt x="5712" y="6189"/>
                  </a:lnTo>
                  <a:lnTo>
                    <a:pt x="5504" y="5946"/>
                  </a:lnTo>
                  <a:lnTo>
                    <a:pt x="5504" y="4854"/>
                  </a:lnTo>
                  <a:lnTo>
                    <a:pt x="5296" y="4854"/>
                  </a:lnTo>
                  <a:lnTo>
                    <a:pt x="5296" y="4733"/>
                  </a:lnTo>
                  <a:lnTo>
                    <a:pt x="5088" y="4490"/>
                  </a:lnTo>
                  <a:lnTo>
                    <a:pt x="5088" y="4247"/>
                  </a:lnTo>
                  <a:lnTo>
                    <a:pt x="4985" y="4247"/>
                  </a:lnTo>
                  <a:lnTo>
                    <a:pt x="4985" y="3883"/>
                  </a:lnTo>
                  <a:lnTo>
                    <a:pt x="4777" y="3883"/>
                  </a:lnTo>
                  <a:lnTo>
                    <a:pt x="4777" y="3640"/>
                  </a:lnTo>
                  <a:lnTo>
                    <a:pt x="5296" y="3640"/>
                  </a:lnTo>
                  <a:lnTo>
                    <a:pt x="5296" y="3883"/>
                  </a:lnTo>
                  <a:lnTo>
                    <a:pt x="5504" y="3883"/>
                  </a:lnTo>
                  <a:lnTo>
                    <a:pt x="5504" y="3640"/>
                  </a:lnTo>
                  <a:lnTo>
                    <a:pt x="5815" y="3640"/>
                  </a:lnTo>
                  <a:lnTo>
                    <a:pt x="5815" y="3883"/>
                  </a:lnTo>
                  <a:lnTo>
                    <a:pt x="5712" y="3883"/>
                  </a:lnTo>
                  <a:lnTo>
                    <a:pt x="5712" y="4004"/>
                  </a:lnTo>
                  <a:lnTo>
                    <a:pt x="5815" y="4004"/>
                  </a:lnTo>
                  <a:lnTo>
                    <a:pt x="6023" y="4247"/>
                  </a:lnTo>
                  <a:lnTo>
                    <a:pt x="6023" y="4490"/>
                  </a:lnTo>
                  <a:lnTo>
                    <a:pt x="7165" y="4490"/>
                  </a:lnTo>
                  <a:lnTo>
                    <a:pt x="7165" y="4733"/>
                  </a:lnTo>
                  <a:lnTo>
                    <a:pt x="7269" y="4733"/>
                  </a:lnTo>
                  <a:lnTo>
                    <a:pt x="7788" y="4490"/>
                  </a:lnTo>
                  <a:lnTo>
                    <a:pt x="8204" y="4247"/>
                  </a:lnTo>
                  <a:lnTo>
                    <a:pt x="8515" y="4247"/>
                  </a:lnTo>
                  <a:lnTo>
                    <a:pt x="8204" y="4004"/>
                  </a:lnTo>
                  <a:lnTo>
                    <a:pt x="7996" y="4004"/>
                  </a:lnTo>
                  <a:lnTo>
                    <a:pt x="8204" y="3883"/>
                  </a:lnTo>
                  <a:lnTo>
                    <a:pt x="8204" y="3640"/>
                  </a:lnTo>
                  <a:lnTo>
                    <a:pt x="8412" y="3398"/>
                  </a:lnTo>
                  <a:lnTo>
                    <a:pt x="8723" y="3398"/>
                  </a:lnTo>
                  <a:lnTo>
                    <a:pt x="8723" y="3155"/>
                  </a:lnTo>
                  <a:lnTo>
                    <a:pt x="9242" y="3155"/>
                  </a:lnTo>
                  <a:lnTo>
                    <a:pt x="9450" y="3034"/>
                  </a:lnTo>
                  <a:lnTo>
                    <a:pt x="9865" y="3034"/>
                  </a:lnTo>
                  <a:lnTo>
                    <a:pt x="9969" y="2791"/>
                  </a:lnTo>
                  <a:lnTo>
                    <a:pt x="10177" y="2791"/>
                  </a:lnTo>
                  <a:lnTo>
                    <a:pt x="10177" y="2548"/>
                  </a:lnTo>
                  <a:lnTo>
                    <a:pt x="10592" y="2548"/>
                  </a:lnTo>
                  <a:lnTo>
                    <a:pt x="10592" y="2306"/>
                  </a:lnTo>
                  <a:lnTo>
                    <a:pt x="10696" y="2306"/>
                  </a:lnTo>
                  <a:lnTo>
                    <a:pt x="10696" y="2184"/>
                  </a:lnTo>
                  <a:lnTo>
                    <a:pt x="10592" y="2184"/>
                  </a:lnTo>
                  <a:lnTo>
                    <a:pt x="10592" y="728"/>
                  </a:lnTo>
                  <a:lnTo>
                    <a:pt x="10696" y="728"/>
                  </a:lnTo>
                  <a:lnTo>
                    <a:pt x="10696" y="485"/>
                  </a:lnTo>
                  <a:lnTo>
                    <a:pt x="11319" y="485"/>
                  </a:lnTo>
                  <a:lnTo>
                    <a:pt x="11423" y="243"/>
                  </a:lnTo>
                  <a:lnTo>
                    <a:pt x="11838" y="243"/>
                  </a:lnTo>
                  <a:lnTo>
                    <a:pt x="11838" y="0"/>
                  </a:lnTo>
                  <a:close/>
                  <a:moveTo>
                    <a:pt x="11838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09" name="Freeform 61"/>
            <p:cNvSpPr>
              <a:spLocks/>
            </p:cNvSpPr>
            <p:nvPr/>
          </p:nvSpPr>
          <p:spPr bwMode="auto">
            <a:xfrm>
              <a:off x="8017825" y="2925425"/>
              <a:ext cx="57396" cy="52381"/>
            </a:xfrm>
            <a:custGeom>
              <a:avLst/>
              <a:gdLst/>
              <a:ahLst/>
              <a:cxnLst>
                <a:cxn ang="0">
                  <a:pos x="7855" y="0"/>
                </a:cxn>
                <a:cxn ang="0">
                  <a:pos x="11782" y="0"/>
                </a:cxn>
                <a:cxn ang="0">
                  <a:pos x="11782" y="3927"/>
                </a:cxn>
                <a:cxn ang="0">
                  <a:pos x="17673" y="3927"/>
                </a:cxn>
                <a:cxn ang="0">
                  <a:pos x="17673" y="7855"/>
                </a:cxn>
                <a:cxn ang="0">
                  <a:pos x="21600" y="7855"/>
                </a:cxn>
                <a:cxn ang="0">
                  <a:pos x="21600" y="17673"/>
                </a:cxn>
                <a:cxn ang="0">
                  <a:pos x="17673" y="13745"/>
                </a:cxn>
                <a:cxn ang="0">
                  <a:pos x="13745" y="13745"/>
                </a:cxn>
                <a:cxn ang="0">
                  <a:pos x="13745" y="17673"/>
                </a:cxn>
                <a:cxn ang="0">
                  <a:pos x="17673" y="17673"/>
                </a:cxn>
                <a:cxn ang="0">
                  <a:pos x="17673" y="21600"/>
                </a:cxn>
                <a:cxn ang="0">
                  <a:pos x="11782" y="21600"/>
                </a:cxn>
                <a:cxn ang="0">
                  <a:pos x="11782" y="17673"/>
                </a:cxn>
                <a:cxn ang="0">
                  <a:pos x="7855" y="17673"/>
                </a:cxn>
                <a:cxn ang="0">
                  <a:pos x="7855" y="9818"/>
                </a:cxn>
                <a:cxn ang="0">
                  <a:pos x="3927" y="9818"/>
                </a:cxn>
                <a:cxn ang="0">
                  <a:pos x="3927" y="13745"/>
                </a:cxn>
                <a:cxn ang="0">
                  <a:pos x="0" y="13745"/>
                </a:cxn>
                <a:cxn ang="0">
                  <a:pos x="0" y="7855"/>
                </a:cxn>
                <a:cxn ang="0">
                  <a:pos x="7855" y="7855"/>
                </a:cxn>
                <a:cxn ang="0">
                  <a:pos x="7855" y="0"/>
                </a:cxn>
                <a:cxn ang="0">
                  <a:pos x="7855" y="0"/>
                </a:cxn>
              </a:cxnLst>
              <a:rect l="0" t="0" r="r" b="b"/>
              <a:pathLst>
                <a:path w="21600" h="21600">
                  <a:moveTo>
                    <a:pt x="7855" y="0"/>
                  </a:moveTo>
                  <a:lnTo>
                    <a:pt x="11782" y="0"/>
                  </a:lnTo>
                  <a:lnTo>
                    <a:pt x="11782" y="3927"/>
                  </a:lnTo>
                  <a:lnTo>
                    <a:pt x="17673" y="3927"/>
                  </a:lnTo>
                  <a:lnTo>
                    <a:pt x="17673" y="7855"/>
                  </a:lnTo>
                  <a:lnTo>
                    <a:pt x="21600" y="7855"/>
                  </a:lnTo>
                  <a:lnTo>
                    <a:pt x="21600" y="17673"/>
                  </a:lnTo>
                  <a:lnTo>
                    <a:pt x="17673" y="13745"/>
                  </a:lnTo>
                  <a:lnTo>
                    <a:pt x="13745" y="13745"/>
                  </a:lnTo>
                  <a:lnTo>
                    <a:pt x="13745" y="17673"/>
                  </a:lnTo>
                  <a:lnTo>
                    <a:pt x="17673" y="17673"/>
                  </a:lnTo>
                  <a:lnTo>
                    <a:pt x="17673" y="21600"/>
                  </a:lnTo>
                  <a:lnTo>
                    <a:pt x="11782" y="21600"/>
                  </a:lnTo>
                  <a:lnTo>
                    <a:pt x="11782" y="17673"/>
                  </a:lnTo>
                  <a:lnTo>
                    <a:pt x="7855" y="17673"/>
                  </a:lnTo>
                  <a:lnTo>
                    <a:pt x="7855" y="9818"/>
                  </a:lnTo>
                  <a:lnTo>
                    <a:pt x="3927" y="9818"/>
                  </a:lnTo>
                  <a:lnTo>
                    <a:pt x="3927" y="13745"/>
                  </a:lnTo>
                  <a:lnTo>
                    <a:pt x="0" y="13745"/>
                  </a:lnTo>
                  <a:lnTo>
                    <a:pt x="0" y="7855"/>
                  </a:lnTo>
                  <a:lnTo>
                    <a:pt x="7855" y="7855"/>
                  </a:lnTo>
                  <a:lnTo>
                    <a:pt x="7855" y="0"/>
                  </a:lnTo>
                  <a:close/>
                  <a:moveTo>
                    <a:pt x="7855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10" name="AutoShape 62"/>
            <p:cNvSpPr>
              <a:spLocks/>
            </p:cNvSpPr>
            <p:nvPr/>
          </p:nvSpPr>
          <p:spPr bwMode="auto">
            <a:xfrm>
              <a:off x="8102231" y="1682389"/>
              <a:ext cx="923401" cy="1311535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0557" y="20629"/>
                  </a:moveTo>
                  <a:lnTo>
                    <a:pt x="10800" y="20629"/>
                  </a:lnTo>
                  <a:lnTo>
                    <a:pt x="10800" y="20791"/>
                  </a:lnTo>
                  <a:lnTo>
                    <a:pt x="10557" y="20791"/>
                  </a:lnTo>
                  <a:lnTo>
                    <a:pt x="10557" y="20629"/>
                  </a:lnTo>
                  <a:close/>
                  <a:moveTo>
                    <a:pt x="13834" y="0"/>
                  </a:moveTo>
                  <a:lnTo>
                    <a:pt x="14198" y="0"/>
                  </a:lnTo>
                  <a:lnTo>
                    <a:pt x="14198" y="324"/>
                  </a:lnTo>
                  <a:lnTo>
                    <a:pt x="14683" y="324"/>
                  </a:lnTo>
                  <a:lnTo>
                    <a:pt x="14683" y="404"/>
                  </a:lnTo>
                  <a:lnTo>
                    <a:pt x="15047" y="404"/>
                  </a:lnTo>
                  <a:lnTo>
                    <a:pt x="15047" y="728"/>
                  </a:lnTo>
                  <a:lnTo>
                    <a:pt x="15533" y="728"/>
                  </a:lnTo>
                  <a:lnTo>
                    <a:pt x="15654" y="890"/>
                  </a:lnTo>
                  <a:lnTo>
                    <a:pt x="16139" y="890"/>
                  </a:lnTo>
                  <a:lnTo>
                    <a:pt x="16382" y="971"/>
                  </a:lnTo>
                  <a:lnTo>
                    <a:pt x="16503" y="971"/>
                  </a:lnTo>
                  <a:lnTo>
                    <a:pt x="16503" y="1133"/>
                  </a:lnTo>
                  <a:lnTo>
                    <a:pt x="16746" y="1133"/>
                  </a:lnTo>
                  <a:lnTo>
                    <a:pt x="16746" y="1375"/>
                  </a:lnTo>
                  <a:lnTo>
                    <a:pt x="16989" y="1375"/>
                  </a:lnTo>
                  <a:lnTo>
                    <a:pt x="16989" y="1537"/>
                  </a:lnTo>
                  <a:lnTo>
                    <a:pt x="16746" y="1537"/>
                  </a:lnTo>
                  <a:lnTo>
                    <a:pt x="16746" y="1699"/>
                  </a:lnTo>
                  <a:lnTo>
                    <a:pt x="16503" y="1699"/>
                  </a:lnTo>
                  <a:lnTo>
                    <a:pt x="16503" y="1861"/>
                  </a:lnTo>
                  <a:lnTo>
                    <a:pt x="16382" y="1861"/>
                  </a:lnTo>
                  <a:lnTo>
                    <a:pt x="16382" y="2103"/>
                  </a:lnTo>
                  <a:lnTo>
                    <a:pt x="16139" y="2103"/>
                  </a:lnTo>
                  <a:lnTo>
                    <a:pt x="16382" y="2265"/>
                  </a:lnTo>
                  <a:lnTo>
                    <a:pt x="16139" y="2265"/>
                  </a:lnTo>
                  <a:lnTo>
                    <a:pt x="16139" y="2427"/>
                  </a:lnTo>
                  <a:lnTo>
                    <a:pt x="16382" y="2427"/>
                  </a:lnTo>
                  <a:lnTo>
                    <a:pt x="16139" y="2508"/>
                  </a:lnTo>
                  <a:lnTo>
                    <a:pt x="16139" y="2670"/>
                  </a:lnTo>
                  <a:lnTo>
                    <a:pt x="15533" y="2670"/>
                  </a:lnTo>
                  <a:lnTo>
                    <a:pt x="15290" y="2831"/>
                  </a:lnTo>
                  <a:lnTo>
                    <a:pt x="15290" y="2993"/>
                  </a:lnTo>
                  <a:lnTo>
                    <a:pt x="15533" y="2831"/>
                  </a:lnTo>
                  <a:lnTo>
                    <a:pt x="15654" y="2993"/>
                  </a:lnTo>
                  <a:lnTo>
                    <a:pt x="15654" y="3398"/>
                  </a:lnTo>
                  <a:lnTo>
                    <a:pt x="15533" y="3398"/>
                  </a:lnTo>
                  <a:lnTo>
                    <a:pt x="15533" y="3640"/>
                  </a:lnTo>
                  <a:lnTo>
                    <a:pt x="15290" y="3640"/>
                  </a:lnTo>
                  <a:lnTo>
                    <a:pt x="15290" y="3964"/>
                  </a:lnTo>
                  <a:lnTo>
                    <a:pt x="15533" y="3964"/>
                  </a:lnTo>
                  <a:lnTo>
                    <a:pt x="15533" y="4126"/>
                  </a:lnTo>
                  <a:lnTo>
                    <a:pt x="15654" y="4207"/>
                  </a:lnTo>
                  <a:lnTo>
                    <a:pt x="15654" y="4530"/>
                  </a:lnTo>
                  <a:lnTo>
                    <a:pt x="16503" y="4530"/>
                  </a:lnTo>
                  <a:lnTo>
                    <a:pt x="16503" y="4692"/>
                  </a:lnTo>
                  <a:lnTo>
                    <a:pt x="16989" y="4692"/>
                  </a:lnTo>
                  <a:lnTo>
                    <a:pt x="17231" y="4773"/>
                  </a:lnTo>
                  <a:lnTo>
                    <a:pt x="17231" y="5097"/>
                  </a:lnTo>
                  <a:lnTo>
                    <a:pt x="17353" y="5097"/>
                  </a:lnTo>
                  <a:lnTo>
                    <a:pt x="17596" y="5258"/>
                  </a:lnTo>
                  <a:lnTo>
                    <a:pt x="17596" y="5339"/>
                  </a:lnTo>
                  <a:lnTo>
                    <a:pt x="17838" y="5339"/>
                  </a:lnTo>
                  <a:lnTo>
                    <a:pt x="17838" y="5501"/>
                  </a:lnTo>
                  <a:lnTo>
                    <a:pt x="17960" y="5501"/>
                  </a:lnTo>
                  <a:lnTo>
                    <a:pt x="18202" y="5663"/>
                  </a:lnTo>
                  <a:lnTo>
                    <a:pt x="18202" y="5825"/>
                  </a:lnTo>
                  <a:lnTo>
                    <a:pt x="17960" y="5825"/>
                  </a:lnTo>
                  <a:lnTo>
                    <a:pt x="17960" y="6067"/>
                  </a:lnTo>
                  <a:lnTo>
                    <a:pt x="17838" y="6229"/>
                  </a:lnTo>
                  <a:lnTo>
                    <a:pt x="17353" y="6229"/>
                  </a:lnTo>
                  <a:lnTo>
                    <a:pt x="17353" y="6391"/>
                  </a:lnTo>
                  <a:lnTo>
                    <a:pt x="17231" y="6391"/>
                  </a:lnTo>
                  <a:lnTo>
                    <a:pt x="17231" y="6472"/>
                  </a:lnTo>
                  <a:lnTo>
                    <a:pt x="16989" y="6472"/>
                  </a:lnTo>
                  <a:lnTo>
                    <a:pt x="16989" y="6796"/>
                  </a:lnTo>
                  <a:lnTo>
                    <a:pt x="16746" y="6796"/>
                  </a:lnTo>
                  <a:lnTo>
                    <a:pt x="16503" y="6957"/>
                  </a:lnTo>
                  <a:lnTo>
                    <a:pt x="16503" y="7038"/>
                  </a:lnTo>
                  <a:lnTo>
                    <a:pt x="16382" y="7038"/>
                  </a:lnTo>
                  <a:lnTo>
                    <a:pt x="16382" y="7362"/>
                  </a:lnTo>
                  <a:lnTo>
                    <a:pt x="16503" y="7362"/>
                  </a:lnTo>
                  <a:lnTo>
                    <a:pt x="16503" y="7524"/>
                  </a:lnTo>
                  <a:lnTo>
                    <a:pt x="16746" y="7524"/>
                  </a:lnTo>
                  <a:lnTo>
                    <a:pt x="16746" y="7604"/>
                  </a:lnTo>
                  <a:lnTo>
                    <a:pt x="16989" y="7604"/>
                  </a:lnTo>
                  <a:lnTo>
                    <a:pt x="16989" y="7766"/>
                  </a:lnTo>
                  <a:lnTo>
                    <a:pt x="17353" y="8090"/>
                  </a:lnTo>
                  <a:lnTo>
                    <a:pt x="17596" y="8333"/>
                  </a:lnTo>
                  <a:lnTo>
                    <a:pt x="17596" y="8899"/>
                  </a:lnTo>
                  <a:lnTo>
                    <a:pt x="17838" y="8899"/>
                  </a:lnTo>
                  <a:lnTo>
                    <a:pt x="17838" y="9061"/>
                  </a:lnTo>
                  <a:lnTo>
                    <a:pt x="17960" y="9142"/>
                  </a:lnTo>
                  <a:lnTo>
                    <a:pt x="17960" y="9303"/>
                  </a:lnTo>
                  <a:lnTo>
                    <a:pt x="18202" y="9303"/>
                  </a:lnTo>
                  <a:lnTo>
                    <a:pt x="18202" y="9627"/>
                  </a:lnTo>
                  <a:lnTo>
                    <a:pt x="18445" y="9708"/>
                  </a:lnTo>
                  <a:lnTo>
                    <a:pt x="18445" y="9870"/>
                  </a:lnTo>
                  <a:lnTo>
                    <a:pt x="17596" y="9870"/>
                  </a:lnTo>
                  <a:lnTo>
                    <a:pt x="17596" y="10031"/>
                  </a:lnTo>
                  <a:lnTo>
                    <a:pt x="17838" y="10031"/>
                  </a:lnTo>
                  <a:lnTo>
                    <a:pt x="17838" y="10274"/>
                  </a:lnTo>
                  <a:lnTo>
                    <a:pt x="17596" y="10274"/>
                  </a:lnTo>
                  <a:lnTo>
                    <a:pt x="17596" y="10598"/>
                  </a:lnTo>
                  <a:lnTo>
                    <a:pt x="17353" y="10598"/>
                  </a:lnTo>
                  <a:lnTo>
                    <a:pt x="17353" y="10840"/>
                  </a:lnTo>
                  <a:lnTo>
                    <a:pt x="17596" y="10840"/>
                  </a:lnTo>
                  <a:lnTo>
                    <a:pt x="17838" y="11002"/>
                  </a:lnTo>
                  <a:lnTo>
                    <a:pt x="17960" y="11002"/>
                  </a:lnTo>
                  <a:lnTo>
                    <a:pt x="17960" y="11164"/>
                  </a:lnTo>
                  <a:lnTo>
                    <a:pt x="17596" y="11164"/>
                  </a:lnTo>
                  <a:lnTo>
                    <a:pt x="17596" y="11326"/>
                  </a:lnTo>
                  <a:lnTo>
                    <a:pt x="17353" y="11326"/>
                  </a:lnTo>
                  <a:lnTo>
                    <a:pt x="17353" y="11569"/>
                  </a:lnTo>
                  <a:lnTo>
                    <a:pt x="17596" y="11569"/>
                  </a:lnTo>
                  <a:lnTo>
                    <a:pt x="17596" y="11730"/>
                  </a:lnTo>
                  <a:lnTo>
                    <a:pt x="17838" y="11730"/>
                  </a:lnTo>
                  <a:lnTo>
                    <a:pt x="17838" y="11892"/>
                  </a:lnTo>
                  <a:lnTo>
                    <a:pt x="18688" y="11892"/>
                  </a:lnTo>
                  <a:lnTo>
                    <a:pt x="18688" y="12135"/>
                  </a:lnTo>
                  <a:lnTo>
                    <a:pt x="18445" y="12135"/>
                  </a:lnTo>
                  <a:lnTo>
                    <a:pt x="18202" y="12297"/>
                  </a:lnTo>
                  <a:lnTo>
                    <a:pt x="18202" y="12458"/>
                  </a:lnTo>
                  <a:lnTo>
                    <a:pt x="18445" y="12458"/>
                  </a:lnTo>
                  <a:lnTo>
                    <a:pt x="18445" y="12701"/>
                  </a:lnTo>
                  <a:lnTo>
                    <a:pt x="18809" y="12701"/>
                  </a:lnTo>
                  <a:lnTo>
                    <a:pt x="19052" y="12863"/>
                  </a:lnTo>
                  <a:lnTo>
                    <a:pt x="19294" y="12863"/>
                  </a:lnTo>
                  <a:lnTo>
                    <a:pt x="19294" y="13025"/>
                  </a:lnTo>
                  <a:lnTo>
                    <a:pt x="19537" y="13025"/>
                  </a:lnTo>
                  <a:lnTo>
                    <a:pt x="19537" y="13267"/>
                  </a:lnTo>
                  <a:lnTo>
                    <a:pt x="19294" y="13267"/>
                  </a:lnTo>
                  <a:lnTo>
                    <a:pt x="19294" y="13429"/>
                  </a:lnTo>
                  <a:lnTo>
                    <a:pt x="18688" y="13834"/>
                  </a:lnTo>
                  <a:lnTo>
                    <a:pt x="18445" y="13834"/>
                  </a:lnTo>
                  <a:lnTo>
                    <a:pt x="18445" y="13996"/>
                  </a:lnTo>
                  <a:lnTo>
                    <a:pt x="18202" y="13996"/>
                  </a:lnTo>
                  <a:lnTo>
                    <a:pt x="18202" y="14157"/>
                  </a:lnTo>
                  <a:lnTo>
                    <a:pt x="18688" y="14157"/>
                  </a:lnTo>
                  <a:lnTo>
                    <a:pt x="18688" y="14238"/>
                  </a:lnTo>
                  <a:lnTo>
                    <a:pt x="19052" y="14238"/>
                  </a:lnTo>
                  <a:lnTo>
                    <a:pt x="19052" y="14400"/>
                  </a:lnTo>
                  <a:lnTo>
                    <a:pt x="19294" y="14562"/>
                  </a:lnTo>
                  <a:lnTo>
                    <a:pt x="19658" y="14562"/>
                  </a:lnTo>
                  <a:lnTo>
                    <a:pt x="19658" y="14724"/>
                  </a:lnTo>
                  <a:lnTo>
                    <a:pt x="19901" y="14724"/>
                  </a:lnTo>
                  <a:lnTo>
                    <a:pt x="20387" y="14966"/>
                  </a:lnTo>
                  <a:lnTo>
                    <a:pt x="20508" y="14966"/>
                  </a:lnTo>
                  <a:lnTo>
                    <a:pt x="20993" y="15290"/>
                  </a:lnTo>
                  <a:lnTo>
                    <a:pt x="20993" y="15371"/>
                  </a:lnTo>
                  <a:lnTo>
                    <a:pt x="21357" y="15371"/>
                  </a:lnTo>
                  <a:lnTo>
                    <a:pt x="21357" y="15533"/>
                  </a:lnTo>
                  <a:lnTo>
                    <a:pt x="21600" y="15533"/>
                  </a:lnTo>
                  <a:lnTo>
                    <a:pt x="21600" y="15694"/>
                  </a:lnTo>
                  <a:lnTo>
                    <a:pt x="21236" y="15694"/>
                  </a:lnTo>
                  <a:lnTo>
                    <a:pt x="21236" y="15937"/>
                  </a:lnTo>
                  <a:lnTo>
                    <a:pt x="20993" y="15937"/>
                  </a:lnTo>
                  <a:lnTo>
                    <a:pt x="20993" y="16261"/>
                  </a:lnTo>
                  <a:lnTo>
                    <a:pt x="20751" y="16342"/>
                  </a:lnTo>
                  <a:lnTo>
                    <a:pt x="20508" y="16342"/>
                  </a:lnTo>
                  <a:lnTo>
                    <a:pt x="20508" y="16665"/>
                  </a:lnTo>
                  <a:lnTo>
                    <a:pt x="20387" y="16665"/>
                  </a:lnTo>
                  <a:lnTo>
                    <a:pt x="20387" y="16827"/>
                  </a:lnTo>
                  <a:lnTo>
                    <a:pt x="19901" y="16827"/>
                  </a:lnTo>
                  <a:lnTo>
                    <a:pt x="19901" y="16908"/>
                  </a:lnTo>
                  <a:lnTo>
                    <a:pt x="19658" y="17070"/>
                  </a:lnTo>
                  <a:lnTo>
                    <a:pt x="19537" y="17070"/>
                  </a:lnTo>
                  <a:lnTo>
                    <a:pt x="19537" y="17231"/>
                  </a:lnTo>
                  <a:lnTo>
                    <a:pt x="19294" y="17393"/>
                  </a:lnTo>
                  <a:lnTo>
                    <a:pt x="19052" y="17393"/>
                  </a:lnTo>
                  <a:lnTo>
                    <a:pt x="19052" y="17474"/>
                  </a:lnTo>
                  <a:lnTo>
                    <a:pt x="18809" y="17636"/>
                  </a:lnTo>
                  <a:lnTo>
                    <a:pt x="18445" y="17798"/>
                  </a:lnTo>
                  <a:lnTo>
                    <a:pt x="18445" y="17960"/>
                  </a:lnTo>
                  <a:lnTo>
                    <a:pt x="18202" y="18040"/>
                  </a:lnTo>
                  <a:lnTo>
                    <a:pt x="17960" y="18040"/>
                  </a:lnTo>
                  <a:lnTo>
                    <a:pt x="17960" y="18202"/>
                  </a:lnTo>
                  <a:lnTo>
                    <a:pt x="17838" y="18202"/>
                  </a:lnTo>
                  <a:lnTo>
                    <a:pt x="17838" y="18364"/>
                  </a:lnTo>
                  <a:lnTo>
                    <a:pt x="17596" y="18364"/>
                  </a:lnTo>
                  <a:lnTo>
                    <a:pt x="17353" y="18526"/>
                  </a:lnTo>
                  <a:lnTo>
                    <a:pt x="17353" y="18607"/>
                  </a:lnTo>
                  <a:lnTo>
                    <a:pt x="17231" y="18607"/>
                  </a:lnTo>
                  <a:lnTo>
                    <a:pt x="17231" y="18769"/>
                  </a:lnTo>
                  <a:lnTo>
                    <a:pt x="16989" y="18769"/>
                  </a:lnTo>
                  <a:lnTo>
                    <a:pt x="16503" y="19092"/>
                  </a:lnTo>
                  <a:lnTo>
                    <a:pt x="16382" y="19092"/>
                  </a:lnTo>
                  <a:lnTo>
                    <a:pt x="15897" y="19335"/>
                  </a:lnTo>
                  <a:lnTo>
                    <a:pt x="15533" y="19335"/>
                  </a:lnTo>
                  <a:lnTo>
                    <a:pt x="15533" y="19497"/>
                  </a:lnTo>
                  <a:lnTo>
                    <a:pt x="15290" y="19658"/>
                  </a:lnTo>
                  <a:lnTo>
                    <a:pt x="15047" y="19658"/>
                  </a:lnTo>
                  <a:lnTo>
                    <a:pt x="15047" y="19739"/>
                  </a:lnTo>
                  <a:lnTo>
                    <a:pt x="14804" y="19739"/>
                  </a:lnTo>
                  <a:lnTo>
                    <a:pt x="14804" y="19901"/>
                  </a:lnTo>
                  <a:lnTo>
                    <a:pt x="14683" y="19901"/>
                  </a:lnTo>
                  <a:lnTo>
                    <a:pt x="14198" y="20225"/>
                  </a:lnTo>
                  <a:lnTo>
                    <a:pt x="13955" y="20225"/>
                  </a:lnTo>
                  <a:lnTo>
                    <a:pt x="13955" y="20306"/>
                  </a:lnTo>
                  <a:lnTo>
                    <a:pt x="13834" y="20306"/>
                  </a:lnTo>
                  <a:lnTo>
                    <a:pt x="13834" y="20467"/>
                  </a:lnTo>
                  <a:lnTo>
                    <a:pt x="13106" y="20467"/>
                  </a:lnTo>
                  <a:lnTo>
                    <a:pt x="12984" y="20306"/>
                  </a:lnTo>
                  <a:lnTo>
                    <a:pt x="11892" y="20306"/>
                  </a:lnTo>
                  <a:lnTo>
                    <a:pt x="11407" y="20467"/>
                  </a:lnTo>
                  <a:lnTo>
                    <a:pt x="11285" y="20629"/>
                  </a:lnTo>
                  <a:lnTo>
                    <a:pt x="10800" y="20629"/>
                  </a:lnTo>
                  <a:lnTo>
                    <a:pt x="10800" y="20467"/>
                  </a:lnTo>
                  <a:lnTo>
                    <a:pt x="10557" y="20467"/>
                  </a:lnTo>
                  <a:lnTo>
                    <a:pt x="10557" y="20629"/>
                  </a:lnTo>
                  <a:lnTo>
                    <a:pt x="10436" y="20629"/>
                  </a:lnTo>
                  <a:lnTo>
                    <a:pt x="10436" y="20872"/>
                  </a:lnTo>
                  <a:lnTo>
                    <a:pt x="10193" y="20872"/>
                  </a:lnTo>
                  <a:lnTo>
                    <a:pt x="10193" y="20791"/>
                  </a:lnTo>
                  <a:lnTo>
                    <a:pt x="9951" y="20791"/>
                  </a:lnTo>
                  <a:lnTo>
                    <a:pt x="9951" y="20629"/>
                  </a:lnTo>
                  <a:lnTo>
                    <a:pt x="9708" y="20629"/>
                  </a:lnTo>
                  <a:lnTo>
                    <a:pt x="9708" y="20872"/>
                  </a:lnTo>
                  <a:lnTo>
                    <a:pt x="9101" y="20872"/>
                  </a:lnTo>
                  <a:lnTo>
                    <a:pt x="8858" y="21034"/>
                  </a:lnTo>
                  <a:lnTo>
                    <a:pt x="7645" y="21034"/>
                  </a:lnTo>
                  <a:lnTo>
                    <a:pt x="7645" y="21438"/>
                  </a:lnTo>
                  <a:lnTo>
                    <a:pt x="7402" y="21438"/>
                  </a:lnTo>
                  <a:lnTo>
                    <a:pt x="7402" y="21357"/>
                  </a:lnTo>
                  <a:lnTo>
                    <a:pt x="6796" y="21357"/>
                  </a:lnTo>
                  <a:lnTo>
                    <a:pt x="6553" y="21438"/>
                  </a:lnTo>
                  <a:lnTo>
                    <a:pt x="5339" y="21438"/>
                  </a:lnTo>
                  <a:lnTo>
                    <a:pt x="5339" y="21600"/>
                  </a:lnTo>
                  <a:lnTo>
                    <a:pt x="5097" y="21600"/>
                  </a:lnTo>
                  <a:lnTo>
                    <a:pt x="5097" y="21357"/>
                  </a:lnTo>
                  <a:lnTo>
                    <a:pt x="4854" y="21196"/>
                  </a:lnTo>
                  <a:lnTo>
                    <a:pt x="4247" y="21196"/>
                  </a:lnTo>
                  <a:lnTo>
                    <a:pt x="4247" y="21357"/>
                  </a:lnTo>
                  <a:lnTo>
                    <a:pt x="4004" y="21438"/>
                  </a:lnTo>
                  <a:lnTo>
                    <a:pt x="3883" y="21357"/>
                  </a:lnTo>
                  <a:lnTo>
                    <a:pt x="3640" y="21357"/>
                  </a:lnTo>
                  <a:lnTo>
                    <a:pt x="3640" y="21034"/>
                  </a:lnTo>
                  <a:lnTo>
                    <a:pt x="3883" y="20872"/>
                  </a:lnTo>
                  <a:lnTo>
                    <a:pt x="3883" y="20629"/>
                  </a:lnTo>
                  <a:lnTo>
                    <a:pt x="3398" y="20629"/>
                  </a:lnTo>
                  <a:lnTo>
                    <a:pt x="3155" y="20467"/>
                  </a:lnTo>
                  <a:lnTo>
                    <a:pt x="2791" y="20467"/>
                  </a:lnTo>
                  <a:lnTo>
                    <a:pt x="2791" y="20306"/>
                  </a:lnTo>
                  <a:lnTo>
                    <a:pt x="2548" y="20306"/>
                  </a:lnTo>
                  <a:lnTo>
                    <a:pt x="2306" y="20225"/>
                  </a:lnTo>
                  <a:lnTo>
                    <a:pt x="2184" y="20225"/>
                  </a:lnTo>
                  <a:lnTo>
                    <a:pt x="2184" y="20467"/>
                  </a:lnTo>
                  <a:lnTo>
                    <a:pt x="1942" y="20467"/>
                  </a:lnTo>
                  <a:lnTo>
                    <a:pt x="1942" y="20306"/>
                  </a:lnTo>
                  <a:lnTo>
                    <a:pt x="1699" y="20306"/>
                  </a:lnTo>
                  <a:lnTo>
                    <a:pt x="1699" y="19658"/>
                  </a:lnTo>
                  <a:lnTo>
                    <a:pt x="1456" y="19658"/>
                  </a:lnTo>
                  <a:lnTo>
                    <a:pt x="1456" y="19173"/>
                  </a:lnTo>
                  <a:lnTo>
                    <a:pt x="1699" y="19092"/>
                  </a:lnTo>
                  <a:lnTo>
                    <a:pt x="1942" y="19092"/>
                  </a:lnTo>
                  <a:lnTo>
                    <a:pt x="1942" y="18769"/>
                  </a:lnTo>
                  <a:lnTo>
                    <a:pt x="1699" y="18769"/>
                  </a:lnTo>
                  <a:lnTo>
                    <a:pt x="1699" y="18364"/>
                  </a:lnTo>
                  <a:lnTo>
                    <a:pt x="2184" y="18364"/>
                  </a:lnTo>
                  <a:lnTo>
                    <a:pt x="2184" y="18040"/>
                  </a:lnTo>
                  <a:lnTo>
                    <a:pt x="1942" y="18040"/>
                  </a:lnTo>
                  <a:lnTo>
                    <a:pt x="1942" y="17960"/>
                  </a:lnTo>
                  <a:lnTo>
                    <a:pt x="1699" y="17960"/>
                  </a:lnTo>
                  <a:lnTo>
                    <a:pt x="1699" y="17798"/>
                  </a:lnTo>
                  <a:lnTo>
                    <a:pt x="1456" y="17636"/>
                  </a:lnTo>
                  <a:lnTo>
                    <a:pt x="1456" y="17231"/>
                  </a:lnTo>
                  <a:lnTo>
                    <a:pt x="1699" y="17231"/>
                  </a:lnTo>
                  <a:lnTo>
                    <a:pt x="1699" y="16908"/>
                  </a:lnTo>
                  <a:lnTo>
                    <a:pt x="1456" y="16908"/>
                  </a:lnTo>
                  <a:lnTo>
                    <a:pt x="1456" y="16827"/>
                  </a:lnTo>
                  <a:lnTo>
                    <a:pt x="1335" y="16827"/>
                  </a:lnTo>
                  <a:lnTo>
                    <a:pt x="1335" y="16665"/>
                  </a:lnTo>
                  <a:lnTo>
                    <a:pt x="1092" y="16665"/>
                  </a:lnTo>
                  <a:lnTo>
                    <a:pt x="1092" y="15937"/>
                  </a:lnTo>
                  <a:lnTo>
                    <a:pt x="1335" y="15694"/>
                  </a:lnTo>
                  <a:lnTo>
                    <a:pt x="1699" y="15371"/>
                  </a:lnTo>
                  <a:lnTo>
                    <a:pt x="2184" y="15371"/>
                  </a:lnTo>
                  <a:lnTo>
                    <a:pt x="2184" y="15290"/>
                  </a:lnTo>
                  <a:lnTo>
                    <a:pt x="1942" y="15128"/>
                  </a:lnTo>
                  <a:lnTo>
                    <a:pt x="1942" y="14966"/>
                  </a:lnTo>
                  <a:lnTo>
                    <a:pt x="2306" y="14804"/>
                  </a:lnTo>
                  <a:lnTo>
                    <a:pt x="2548" y="14804"/>
                  </a:lnTo>
                  <a:lnTo>
                    <a:pt x="2791" y="14966"/>
                  </a:lnTo>
                  <a:lnTo>
                    <a:pt x="3155" y="14966"/>
                  </a:lnTo>
                  <a:lnTo>
                    <a:pt x="3398" y="14804"/>
                  </a:lnTo>
                  <a:lnTo>
                    <a:pt x="3398" y="14562"/>
                  </a:lnTo>
                  <a:lnTo>
                    <a:pt x="3155" y="14562"/>
                  </a:lnTo>
                  <a:lnTo>
                    <a:pt x="3155" y="14400"/>
                  </a:lnTo>
                  <a:lnTo>
                    <a:pt x="3398" y="14400"/>
                  </a:lnTo>
                  <a:lnTo>
                    <a:pt x="3398" y="14238"/>
                  </a:lnTo>
                  <a:lnTo>
                    <a:pt x="3640" y="14238"/>
                  </a:lnTo>
                  <a:lnTo>
                    <a:pt x="3883" y="14157"/>
                  </a:lnTo>
                  <a:lnTo>
                    <a:pt x="4004" y="14157"/>
                  </a:lnTo>
                  <a:lnTo>
                    <a:pt x="4247" y="13996"/>
                  </a:lnTo>
                  <a:lnTo>
                    <a:pt x="4733" y="13996"/>
                  </a:lnTo>
                  <a:lnTo>
                    <a:pt x="4733" y="13834"/>
                  </a:lnTo>
                  <a:lnTo>
                    <a:pt x="4854" y="13834"/>
                  </a:lnTo>
                  <a:lnTo>
                    <a:pt x="4854" y="13672"/>
                  </a:lnTo>
                  <a:lnTo>
                    <a:pt x="5097" y="13591"/>
                  </a:lnTo>
                  <a:lnTo>
                    <a:pt x="5582" y="13591"/>
                  </a:lnTo>
                  <a:lnTo>
                    <a:pt x="5582" y="13429"/>
                  </a:lnTo>
                  <a:lnTo>
                    <a:pt x="5339" y="13267"/>
                  </a:lnTo>
                  <a:lnTo>
                    <a:pt x="5946" y="13267"/>
                  </a:lnTo>
                  <a:lnTo>
                    <a:pt x="5946" y="13106"/>
                  </a:lnTo>
                  <a:lnTo>
                    <a:pt x="6189" y="13025"/>
                  </a:lnTo>
                  <a:lnTo>
                    <a:pt x="6189" y="12863"/>
                  </a:lnTo>
                  <a:lnTo>
                    <a:pt x="6553" y="12701"/>
                  </a:lnTo>
                  <a:lnTo>
                    <a:pt x="6796" y="12701"/>
                  </a:lnTo>
                  <a:lnTo>
                    <a:pt x="6796" y="12539"/>
                  </a:lnTo>
                  <a:lnTo>
                    <a:pt x="7038" y="12539"/>
                  </a:lnTo>
                  <a:lnTo>
                    <a:pt x="7038" y="12458"/>
                  </a:lnTo>
                  <a:lnTo>
                    <a:pt x="7402" y="12135"/>
                  </a:lnTo>
                  <a:lnTo>
                    <a:pt x="7402" y="11892"/>
                  </a:lnTo>
                  <a:lnTo>
                    <a:pt x="7645" y="11892"/>
                  </a:lnTo>
                  <a:lnTo>
                    <a:pt x="8009" y="11569"/>
                  </a:lnTo>
                  <a:lnTo>
                    <a:pt x="8494" y="11407"/>
                  </a:lnTo>
                  <a:lnTo>
                    <a:pt x="8737" y="11407"/>
                  </a:lnTo>
                  <a:lnTo>
                    <a:pt x="8737" y="11569"/>
                  </a:lnTo>
                  <a:lnTo>
                    <a:pt x="9344" y="11569"/>
                  </a:lnTo>
                  <a:lnTo>
                    <a:pt x="9101" y="11407"/>
                  </a:lnTo>
                  <a:lnTo>
                    <a:pt x="9101" y="11326"/>
                  </a:lnTo>
                  <a:lnTo>
                    <a:pt x="9344" y="11326"/>
                  </a:lnTo>
                  <a:lnTo>
                    <a:pt x="9344" y="11164"/>
                  </a:lnTo>
                  <a:lnTo>
                    <a:pt x="9101" y="11164"/>
                  </a:lnTo>
                  <a:lnTo>
                    <a:pt x="9101" y="10193"/>
                  </a:lnTo>
                  <a:lnTo>
                    <a:pt x="8858" y="10193"/>
                  </a:lnTo>
                  <a:lnTo>
                    <a:pt x="8858" y="10031"/>
                  </a:lnTo>
                  <a:lnTo>
                    <a:pt x="8494" y="10031"/>
                  </a:lnTo>
                  <a:lnTo>
                    <a:pt x="8252" y="9870"/>
                  </a:lnTo>
                  <a:lnTo>
                    <a:pt x="7645" y="9870"/>
                  </a:lnTo>
                  <a:lnTo>
                    <a:pt x="7645" y="9708"/>
                  </a:lnTo>
                  <a:lnTo>
                    <a:pt x="7402" y="9708"/>
                  </a:lnTo>
                  <a:lnTo>
                    <a:pt x="7160" y="9627"/>
                  </a:lnTo>
                  <a:lnTo>
                    <a:pt x="7038" y="9627"/>
                  </a:lnTo>
                  <a:lnTo>
                    <a:pt x="7038" y="9465"/>
                  </a:lnTo>
                  <a:lnTo>
                    <a:pt x="6796" y="9465"/>
                  </a:lnTo>
                  <a:lnTo>
                    <a:pt x="6796" y="9303"/>
                  </a:lnTo>
                  <a:lnTo>
                    <a:pt x="6553" y="9303"/>
                  </a:lnTo>
                  <a:lnTo>
                    <a:pt x="6553" y="8899"/>
                  </a:lnTo>
                  <a:lnTo>
                    <a:pt x="6310" y="8899"/>
                  </a:lnTo>
                  <a:lnTo>
                    <a:pt x="6189" y="8737"/>
                  </a:lnTo>
                  <a:lnTo>
                    <a:pt x="6189" y="8494"/>
                  </a:lnTo>
                  <a:lnTo>
                    <a:pt x="5946" y="8494"/>
                  </a:lnTo>
                  <a:lnTo>
                    <a:pt x="5946" y="8171"/>
                  </a:lnTo>
                  <a:lnTo>
                    <a:pt x="6310" y="8171"/>
                  </a:lnTo>
                  <a:lnTo>
                    <a:pt x="6310" y="8090"/>
                  </a:lnTo>
                  <a:lnTo>
                    <a:pt x="6189" y="8090"/>
                  </a:lnTo>
                  <a:lnTo>
                    <a:pt x="6189" y="7928"/>
                  </a:lnTo>
                  <a:lnTo>
                    <a:pt x="6310" y="7928"/>
                  </a:lnTo>
                  <a:lnTo>
                    <a:pt x="6310" y="7604"/>
                  </a:lnTo>
                  <a:lnTo>
                    <a:pt x="6553" y="7604"/>
                  </a:lnTo>
                  <a:lnTo>
                    <a:pt x="6553" y="7524"/>
                  </a:lnTo>
                  <a:lnTo>
                    <a:pt x="6796" y="7524"/>
                  </a:lnTo>
                  <a:lnTo>
                    <a:pt x="6796" y="7362"/>
                  </a:lnTo>
                  <a:lnTo>
                    <a:pt x="6310" y="7362"/>
                  </a:lnTo>
                  <a:lnTo>
                    <a:pt x="6310" y="7200"/>
                  </a:lnTo>
                  <a:lnTo>
                    <a:pt x="6189" y="7200"/>
                  </a:lnTo>
                  <a:lnTo>
                    <a:pt x="6189" y="6957"/>
                  </a:lnTo>
                  <a:lnTo>
                    <a:pt x="5946" y="6957"/>
                  </a:lnTo>
                  <a:lnTo>
                    <a:pt x="5703" y="6796"/>
                  </a:lnTo>
                  <a:lnTo>
                    <a:pt x="5703" y="6634"/>
                  </a:lnTo>
                  <a:lnTo>
                    <a:pt x="5946" y="6472"/>
                  </a:lnTo>
                  <a:lnTo>
                    <a:pt x="6189" y="6472"/>
                  </a:lnTo>
                  <a:lnTo>
                    <a:pt x="6189" y="6229"/>
                  </a:lnTo>
                  <a:lnTo>
                    <a:pt x="5946" y="6229"/>
                  </a:lnTo>
                  <a:lnTo>
                    <a:pt x="5946" y="6067"/>
                  </a:lnTo>
                  <a:lnTo>
                    <a:pt x="5582" y="6067"/>
                  </a:lnTo>
                  <a:lnTo>
                    <a:pt x="5582" y="5663"/>
                  </a:lnTo>
                  <a:lnTo>
                    <a:pt x="5703" y="5663"/>
                  </a:lnTo>
                  <a:lnTo>
                    <a:pt x="5703" y="5097"/>
                  </a:lnTo>
                  <a:lnTo>
                    <a:pt x="5946" y="5097"/>
                  </a:lnTo>
                  <a:lnTo>
                    <a:pt x="5946" y="4773"/>
                  </a:lnTo>
                  <a:lnTo>
                    <a:pt x="5703" y="4773"/>
                  </a:lnTo>
                  <a:lnTo>
                    <a:pt x="5582" y="4692"/>
                  </a:lnTo>
                  <a:lnTo>
                    <a:pt x="5339" y="4692"/>
                  </a:lnTo>
                  <a:lnTo>
                    <a:pt x="5339" y="4530"/>
                  </a:lnTo>
                  <a:lnTo>
                    <a:pt x="5097" y="4530"/>
                  </a:lnTo>
                  <a:lnTo>
                    <a:pt x="5097" y="4369"/>
                  </a:lnTo>
                  <a:lnTo>
                    <a:pt x="4733" y="4369"/>
                  </a:lnTo>
                  <a:lnTo>
                    <a:pt x="4733" y="4207"/>
                  </a:lnTo>
                  <a:lnTo>
                    <a:pt x="4490" y="4207"/>
                  </a:lnTo>
                  <a:lnTo>
                    <a:pt x="4490" y="4126"/>
                  </a:lnTo>
                  <a:lnTo>
                    <a:pt x="4004" y="4126"/>
                  </a:lnTo>
                  <a:lnTo>
                    <a:pt x="4004" y="3964"/>
                  </a:lnTo>
                  <a:lnTo>
                    <a:pt x="3883" y="3964"/>
                  </a:lnTo>
                  <a:lnTo>
                    <a:pt x="3883" y="3802"/>
                  </a:lnTo>
                  <a:lnTo>
                    <a:pt x="3640" y="3802"/>
                  </a:lnTo>
                  <a:lnTo>
                    <a:pt x="3398" y="3640"/>
                  </a:lnTo>
                  <a:lnTo>
                    <a:pt x="3155" y="3640"/>
                  </a:lnTo>
                  <a:lnTo>
                    <a:pt x="3034" y="3560"/>
                  </a:lnTo>
                  <a:lnTo>
                    <a:pt x="2548" y="3560"/>
                  </a:lnTo>
                  <a:lnTo>
                    <a:pt x="2548" y="3398"/>
                  </a:lnTo>
                  <a:lnTo>
                    <a:pt x="2184" y="3398"/>
                  </a:lnTo>
                  <a:lnTo>
                    <a:pt x="2184" y="3236"/>
                  </a:lnTo>
                  <a:lnTo>
                    <a:pt x="1942" y="3236"/>
                  </a:lnTo>
                  <a:lnTo>
                    <a:pt x="1942" y="3074"/>
                  </a:lnTo>
                  <a:lnTo>
                    <a:pt x="1456" y="3074"/>
                  </a:lnTo>
                  <a:lnTo>
                    <a:pt x="1456" y="2993"/>
                  </a:lnTo>
                  <a:lnTo>
                    <a:pt x="1335" y="2993"/>
                  </a:lnTo>
                  <a:lnTo>
                    <a:pt x="1092" y="2831"/>
                  </a:lnTo>
                  <a:lnTo>
                    <a:pt x="849" y="2831"/>
                  </a:lnTo>
                  <a:lnTo>
                    <a:pt x="607" y="2670"/>
                  </a:lnTo>
                  <a:lnTo>
                    <a:pt x="0" y="2670"/>
                  </a:lnTo>
                  <a:lnTo>
                    <a:pt x="243" y="2508"/>
                  </a:lnTo>
                  <a:lnTo>
                    <a:pt x="243" y="2427"/>
                  </a:lnTo>
                  <a:lnTo>
                    <a:pt x="1092" y="2427"/>
                  </a:lnTo>
                  <a:lnTo>
                    <a:pt x="1092" y="2265"/>
                  </a:lnTo>
                  <a:lnTo>
                    <a:pt x="849" y="2265"/>
                  </a:lnTo>
                  <a:lnTo>
                    <a:pt x="849" y="1942"/>
                  </a:lnTo>
                  <a:lnTo>
                    <a:pt x="1335" y="1942"/>
                  </a:lnTo>
                  <a:lnTo>
                    <a:pt x="1335" y="1861"/>
                  </a:lnTo>
                  <a:lnTo>
                    <a:pt x="1456" y="1861"/>
                  </a:lnTo>
                  <a:lnTo>
                    <a:pt x="1456" y="1942"/>
                  </a:lnTo>
                  <a:lnTo>
                    <a:pt x="2184" y="1942"/>
                  </a:lnTo>
                  <a:lnTo>
                    <a:pt x="2184" y="2265"/>
                  </a:lnTo>
                  <a:lnTo>
                    <a:pt x="2306" y="2265"/>
                  </a:lnTo>
                  <a:lnTo>
                    <a:pt x="2306" y="2427"/>
                  </a:lnTo>
                  <a:lnTo>
                    <a:pt x="2548" y="2427"/>
                  </a:lnTo>
                  <a:lnTo>
                    <a:pt x="2548" y="2508"/>
                  </a:lnTo>
                  <a:lnTo>
                    <a:pt x="3034" y="2508"/>
                  </a:lnTo>
                  <a:lnTo>
                    <a:pt x="3034" y="2670"/>
                  </a:lnTo>
                  <a:lnTo>
                    <a:pt x="3155" y="2670"/>
                  </a:lnTo>
                  <a:lnTo>
                    <a:pt x="3155" y="2993"/>
                  </a:lnTo>
                  <a:lnTo>
                    <a:pt x="3398" y="2993"/>
                  </a:lnTo>
                  <a:lnTo>
                    <a:pt x="3398" y="3236"/>
                  </a:lnTo>
                  <a:lnTo>
                    <a:pt x="4490" y="3236"/>
                  </a:lnTo>
                  <a:lnTo>
                    <a:pt x="4490" y="3074"/>
                  </a:lnTo>
                  <a:lnTo>
                    <a:pt x="4733" y="3074"/>
                  </a:lnTo>
                  <a:lnTo>
                    <a:pt x="4733" y="3236"/>
                  </a:lnTo>
                  <a:lnTo>
                    <a:pt x="5339" y="3236"/>
                  </a:lnTo>
                  <a:lnTo>
                    <a:pt x="5582" y="3074"/>
                  </a:lnTo>
                  <a:lnTo>
                    <a:pt x="6189" y="3074"/>
                  </a:lnTo>
                  <a:lnTo>
                    <a:pt x="6189" y="2993"/>
                  </a:lnTo>
                  <a:lnTo>
                    <a:pt x="6553" y="2993"/>
                  </a:lnTo>
                  <a:lnTo>
                    <a:pt x="6796" y="3074"/>
                  </a:lnTo>
                  <a:lnTo>
                    <a:pt x="7160" y="3074"/>
                  </a:lnTo>
                  <a:lnTo>
                    <a:pt x="7160" y="3236"/>
                  </a:lnTo>
                  <a:lnTo>
                    <a:pt x="7402" y="3236"/>
                  </a:lnTo>
                  <a:lnTo>
                    <a:pt x="7402" y="3398"/>
                  </a:lnTo>
                  <a:lnTo>
                    <a:pt x="8009" y="3398"/>
                  </a:lnTo>
                  <a:lnTo>
                    <a:pt x="8009" y="3560"/>
                  </a:lnTo>
                  <a:lnTo>
                    <a:pt x="8252" y="3560"/>
                  </a:lnTo>
                  <a:lnTo>
                    <a:pt x="8252" y="3640"/>
                  </a:lnTo>
                  <a:lnTo>
                    <a:pt x="8494" y="3640"/>
                  </a:lnTo>
                  <a:lnTo>
                    <a:pt x="8494" y="3560"/>
                  </a:lnTo>
                  <a:lnTo>
                    <a:pt x="8737" y="3560"/>
                  </a:lnTo>
                  <a:lnTo>
                    <a:pt x="8737" y="3236"/>
                  </a:lnTo>
                  <a:lnTo>
                    <a:pt x="8858" y="3236"/>
                  </a:lnTo>
                  <a:lnTo>
                    <a:pt x="8858" y="3074"/>
                  </a:lnTo>
                  <a:lnTo>
                    <a:pt x="9101" y="3074"/>
                  </a:lnTo>
                  <a:lnTo>
                    <a:pt x="9101" y="2993"/>
                  </a:lnTo>
                  <a:lnTo>
                    <a:pt x="9344" y="2993"/>
                  </a:lnTo>
                  <a:lnTo>
                    <a:pt x="9344" y="2831"/>
                  </a:lnTo>
                  <a:lnTo>
                    <a:pt x="9951" y="2831"/>
                  </a:lnTo>
                  <a:lnTo>
                    <a:pt x="10193" y="2670"/>
                  </a:lnTo>
                  <a:lnTo>
                    <a:pt x="10193" y="2427"/>
                  </a:lnTo>
                  <a:lnTo>
                    <a:pt x="9951" y="2265"/>
                  </a:lnTo>
                  <a:lnTo>
                    <a:pt x="9951" y="2103"/>
                  </a:lnTo>
                  <a:lnTo>
                    <a:pt x="10193" y="1942"/>
                  </a:lnTo>
                  <a:lnTo>
                    <a:pt x="10193" y="1375"/>
                  </a:lnTo>
                  <a:lnTo>
                    <a:pt x="10436" y="1294"/>
                  </a:lnTo>
                  <a:lnTo>
                    <a:pt x="10436" y="1133"/>
                  </a:lnTo>
                  <a:lnTo>
                    <a:pt x="10800" y="890"/>
                  </a:lnTo>
                  <a:lnTo>
                    <a:pt x="11043" y="890"/>
                  </a:lnTo>
                  <a:lnTo>
                    <a:pt x="11043" y="728"/>
                  </a:lnTo>
                  <a:lnTo>
                    <a:pt x="11285" y="728"/>
                  </a:lnTo>
                  <a:lnTo>
                    <a:pt x="11285" y="566"/>
                  </a:lnTo>
                  <a:lnTo>
                    <a:pt x="11407" y="566"/>
                  </a:lnTo>
                  <a:lnTo>
                    <a:pt x="11407" y="404"/>
                  </a:lnTo>
                  <a:lnTo>
                    <a:pt x="12984" y="404"/>
                  </a:lnTo>
                  <a:lnTo>
                    <a:pt x="12984" y="324"/>
                  </a:lnTo>
                  <a:lnTo>
                    <a:pt x="13106" y="324"/>
                  </a:lnTo>
                  <a:lnTo>
                    <a:pt x="13348" y="162"/>
                  </a:lnTo>
                  <a:lnTo>
                    <a:pt x="13834" y="162"/>
                  </a:lnTo>
                  <a:lnTo>
                    <a:pt x="13834" y="0"/>
                  </a:lnTo>
                  <a:close/>
                  <a:moveTo>
                    <a:pt x="13834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11" name="Freeform 63"/>
            <p:cNvSpPr>
              <a:spLocks/>
            </p:cNvSpPr>
            <p:nvPr/>
          </p:nvSpPr>
          <p:spPr bwMode="auto">
            <a:xfrm>
              <a:off x="8237280" y="3086597"/>
              <a:ext cx="55707" cy="44322"/>
            </a:xfrm>
            <a:custGeom>
              <a:avLst/>
              <a:gdLst/>
              <a:ahLst/>
              <a:cxnLst>
                <a:cxn ang="0">
                  <a:pos x="13745" y="0"/>
                </a:cxn>
                <a:cxn ang="0">
                  <a:pos x="17673" y="4800"/>
                </a:cxn>
                <a:cxn ang="0">
                  <a:pos x="17673" y="9600"/>
                </a:cxn>
                <a:cxn ang="0">
                  <a:pos x="21600" y="9600"/>
                </a:cxn>
                <a:cxn ang="0">
                  <a:pos x="21600" y="16800"/>
                </a:cxn>
                <a:cxn ang="0">
                  <a:pos x="13745" y="16800"/>
                </a:cxn>
                <a:cxn ang="0">
                  <a:pos x="11782" y="21600"/>
                </a:cxn>
                <a:cxn ang="0">
                  <a:pos x="7855" y="21600"/>
                </a:cxn>
                <a:cxn ang="0">
                  <a:pos x="7855" y="14400"/>
                </a:cxn>
                <a:cxn ang="0">
                  <a:pos x="3927" y="14400"/>
                </a:cxn>
                <a:cxn ang="0">
                  <a:pos x="0" y="9600"/>
                </a:cxn>
                <a:cxn ang="0">
                  <a:pos x="3927" y="9600"/>
                </a:cxn>
                <a:cxn ang="0">
                  <a:pos x="3927" y="4800"/>
                </a:cxn>
                <a:cxn ang="0">
                  <a:pos x="11782" y="4800"/>
                </a:cxn>
                <a:cxn ang="0">
                  <a:pos x="13745" y="0"/>
                </a:cxn>
                <a:cxn ang="0">
                  <a:pos x="13745" y="0"/>
                </a:cxn>
              </a:cxnLst>
              <a:rect l="0" t="0" r="r" b="b"/>
              <a:pathLst>
                <a:path w="21600" h="21600">
                  <a:moveTo>
                    <a:pt x="13745" y="0"/>
                  </a:moveTo>
                  <a:lnTo>
                    <a:pt x="17673" y="4800"/>
                  </a:lnTo>
                  <a:lnTo>
                    <a:pt x="17673" y="9600"/>
                  </a:lnTo>
                  <a:lnTo>
                    <a:pt x="21600" y="9600"/>
                  </a:lnTo>
                  <a:lnTo>
                    <a:pt x="21600" y="16800"/>
                  </a:lnTo>
                  <a:lnTo>
                    <a:pt x="13745" y="16800"/>
                  </a:lnTo>
                  <a:lnTo>
                    <a:pt x="11782" y="21600"/>
                  </a:lnTo>
                  <a:lnTo>
                    <a:pt x="7855" y="21600"/>
                  </a:lnTo>
                  <a:lnTo>
                    <a:pt x="7855" y="14400"/>
                  </a:lnTo>
                  <a:lnTo>
                    <a:pt x="3927" y="14400"/>
                  </a:lnTo>
                  <a:lnTo>
                    <a:pt x="0" y="9600"/>
                  </a:lnTo>
                  <a:lnTo>
                    <a:pt x="3927" y="9600"/>
                  </a:lnTo>
                  <a:lnTo>
                    <a:pt x="3927" y="4800"/>
                  </a:lnTo>
                  <a:lnTo>
                    <a:pt x="11782" y="4800"/>
                  </a:lnTo>
                  <a:lnTo>
                    <a:pt x="13745" y="0"/>
                  </a:lnTo>
                  <a:close/>
                  <a:moveTo>
                    <a:pt x="13745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12" name="Freeform 64"/>
            <p:cNvSpPr>
              <a:spLocks/>
            </p:cNvSpPr>
            <p:nvPr/>
          </p:nvSpPr>
          <p:spPr bwMode="auto">
            <a:xfrm>
              <a:off x="8200142" y="3130919"/>
              <a:ext cx="129985" cy="82601"/>
            </a:xfrm>
            <a:custGeom>
              <a:avLst/>
              <a:gdLst/>
              <a:ahLst/>
              <a:cxnLst>
                <a:cxn ang="0">
                  <a:pos x="12096" y="0"/>
                </a:cxn>
                <a:cxn ang="0">
                  <a:pos x="15552" y="0"/>
                </a:cxn>
                <a:cxn ang="0">
                  <a:pos x="17280" y="1271"/>
                </a:cxn>
                <a:cxn ang="0">
                  <a:pos x="18144" y="1271"/>
                </a:cxn>
                <a:cxn ang="0">
                  <a:pos x="18144" y="0"/>
                </a:cxn>
                <a:cxn ang="0">
                  <a:pos x="21600" y="0"/>
                </a:cxn>
                <a:cxn ang="0">
                  <a:pos x="21600" y="1271"/>
                </a:cxn>
                <a:cxn ang="0">
                  <a:pos x="19872" y="1271"/>
                </a:cxn>
                <a:cxn ang="0">
                  <a:pos x="19872" y="3812"/>
                </a:cxn>
                <a:cxn ang="0">
                  <a:pos x="21600" y="3812"/>
                </a:cxn>
                <a:cxn ang="0">
                  <a:pos x="19872" y="6353"/>
                </a:cxn>
                <a:cxn ang="0">
                  <a:pos x="15552" y="6353"/>
                </a:cxn>
                <a:cxn ang="0">
                  <a:pos x="15552" y="8894"/>
                </a:cxn>
                <a:cxn ang="0">
                  <a:pos x="13824" y="10165"/>
                </a:cxn>
                <a:cxn ang="0">
                  <a:pos x="9504" y="10165"/>
                </a:cxn>
                <a:cxn ang="0">
                  <a:pos x="7776" y="12706"/>
                </a:cxn>
                <a:cxn ang="0">
                  <a:pos x="6048" y="17788"/>
                </a:cxn>
                <a:cxn ang="0">
                  <a:pos x="5184" y="17788"/>
                </a:cxn>
                <a:cxn ang="0">
                  <a:pos x="5184" y="21600"/>
                </a:cxn>
                <a:cxn ang="0">
                  <a:pos x="3456" y="21600"/>
                </a:cxn>
                <a:cxn ang="0">
                  <a:pos x="3456" y="17788"/>
                </a:cxn>
                <a:cxn ang="0">
                  <a:pos x="5184" y="15247"/>
                </a:cxn>
                <a:cxn ang="0">
                  <a:pos x="5184" y="12706"/>
                </a:cxn>
                <a:cxn ang="0">
                  <a:pos x="3456" y="12706"/>
                </a:cxn>
                <a:cxn ang="0">
                  <a:pos x="3456" y="10165"/>
                </a:cxn>
                <a:cxn ang="0">
                  <a:pos x="0" y="10165"/>
                </a:cxn>
                <a:cxn ang="0">
                  <a:pos x="0" y="8894"/>
                </a:cxn>
                <a:cxn ang="0">
                  <a:pos x="1728" y="8894"/>
                </a:cxn>
                <a:cxn ang="0">
                  <a:pos x="1728" y="3812"/>
                </a:cxn>
                <a:cxn ang="0">
                  <a:pos x="6048" y="3812"/>
                </a:cxn>
                <a:cxn ang="0">
                  <a:pos x="6048" y="1271"/>
                </a:cxn>
                <a:cxn ang="0">
                  <a:pos x="11232" y="1271"/>
                </a:cxn>
                <a:cxn ang="0">
                  <a:pos x="12096" y="0"/>
                </a:cxn>
                <a:cxn ang="0">
                  <a:pos x="12096" y="0"/>
                </a:cxn>
              </a:cxnLst>
              <a:rect l="0" t="0" r="r" b="b"/>
              <a:pathLst>
                <a:path w="21600" h="21600">
                  <a:moveTo>
                    <a:pt x="12096" y="0"/>
                  </a:moveTo>
                  <a:lnTo>
                    <a:pt x="15552" y="0"/>
                  </a:lnTo>
                  <a:lnTo>
                    <a:pt x="17280" y="1271"/>
                  </a:lnTo>
                  <a:lnTo>
                    <a:pt x="18144" y="1271"/>
                  </a:lnTo>
                  <a:lnTo>
                    <a:pt x="18144" y="0"/>
                  </a:lnTo>
                  <a:lnTo>
                    <a:pt x="21600" y="0"/>
                  </a:lnTo>
                  <a:lnTo>
                    <a:pt x="21600" y="1271"/>
                  </a:lnTo>
                  <a:lnTo>
                    <a:pt x="19872" y="1271"/>
                  </a:lnTo>
                  <a:lnTo>
                    <a:pt x="19872" y="3812"/>
                  </a:lnTo>
                  <a:lnTo>
                    <a:pt x="21600" y="3812"/>
                  </a:lnTo>
                  <a:lnTo>
                    <a:pt x="19872" y="6353"/>
                  </a:lnTo>
                  <a:lnTo>
                    <a:pt x="15552" y="6353"/>
                  </a:lnTo>
                  <a:lnTo>
                    <a:pt x="15552" y="8894"/>
                  </a:lnTo>
                  <a:lnTo>
                    <a:pt x="13824" y="10165"/>
                  </a:lnTo>
                  <a:lnTo>
                    <a:pt x="9504" y="10165"/>
                  </a:lnTo>
                  <a:lnTo>
                    <a:pt x="7776" y="12706"/>
                  </a:lnTo>
                  <a:lnTo>
                    <a:pt x="6048" y="17788"/>
                  </a:lnTo>
                  <a:lnTo>
                    <a:pt x="5184" y="17788"/>
                  </a:lnTo>
                  <a:lnTo>
                    <a:pt x="5184" y="21600"/>
                  </a:lnTo>
                  <a:lnTo>
                    <a:pt x="3456" y="21600"/>
                  </a:lnTo>
                  <a:lnTo>
                    <a:pt x="3456" y="17788"/>
                  </a:lnTo>
                  <a:lnTo>
                    <a:pt x="5184" y="15247"/>
                  </a:lnTo>
                  <a:lnTo>
                    <a:pt x="5184" y="12706"/>
                  </a:lnTo>
                  <a:lnTo>
                    <a:pt x="3456" y="12706"/>
                  </a:lnTo>
                  <a:lnTo>
                    <a:pt x="3456" y="10165"/>
                  </a:lnTo>
                  <a:lnTo>
                    <a:pt x="0" y="10165"/>
                  </a:lnTo>
                  <a:lnTo>
                    <a:pt x="0" y="8894"/>
                  </a:lnTo>
                  <a:lnTo>
                    <a:pt x="1728" y="8894"/>
                  </a:lnTo>
                  <a:lnTo>
                    <a:pt x="1728" y="3812"/>
                  </a:lnTo>
                  <a:lnTo>
                    <a:pt x="6048" y="3812"/>
                  </a:lnTo>
                  <a:lnTo>
                    <a:pt x="6048" y="1271"/>
                  </a:lnTo>
                  <a:lnTo>
                    <a:pt x="11232" y="1271"/>
                  </a:lnTo>
                  <a:lnTo>
                    <a:pt x="12096" y="0"/>
                  </a:lnTo>
                  <a:close/>
                  <a:moveTo>
                    <a:pt x="12096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13" name="Freeform 65"/>
            <p:cNvSpPr>
              <a:spLocks/>
            </p:cNvSpPr>
            <p:nvPr/>
          </p:nvSpPr>
          <p:spPr bwMode="auto">
            <a:xfrm>
              <a:off x="8340255" y="3018099"/>
              <a:ext cx="378139" cy="249816"/>
            </a:xfrm>
            <a:custGeom>
              <a:avLst/>
              <a:gdLst/>
              <a:ahLst/>
              <a:cxnLst>
                <a:cxn ang="0">
                  <a:pos x="10060" y="847"/>
                </a:cxn>
                <a:cxn ang="0">
                  <a:pos x="13315" y="1694"/>
                </a:cxn>
                <a:cxn ang="0">
                  <a:pos x="15978" y="2541"/>
                </a:cxn>
                <a:cxn ang="0">
                  <a:pos x="21600" y="3812"/>
                </a:cxn>
                <a:cxn ang="0">
                  <a:pos x="21008" y="5506"/>
                </a:cxn>
                <a:cxn ang="0">
                  <a:pos x="20121" y="5929"/>
                </a:cxn>
                <a:cxn ang="0">
                  <a:pos x="19529" y="7624"/>
                </a:cxn>
                <a:cxn ang="0">
                  <a:pos x="18937" y="8471"/>
                </a:cxn>
                <a:cxn ang="0">
                  <a:pos x="18345" y="8894"/>
                </a:cxn>
                <a:cxn ang="0">
                  <a:pos x="18937" y="10588"/>
                </a:cxn>
                <a:cxn ang="0">
                  <a:pos x="18345" y="13553"/>
                </a:cxn>
                <a:cxn ang="0">
                  <a:pos x="18937" y="13976"/>
                </a:cxn>
                <a:cxn ang="0">
                  <a:pos x="19529" y="15671"/>
                </a:cxn>
                <a:cxn ang="0">
                  <a:pos x="20121" y="16941"/>
                </a:cxn>
                <a:cxn ang="0">
                  <a:pos x="20416" y="18635"/>
                </a:cxn>
                <a:cxn ang="0">
                  <a:pos x="18937" y="19482"/>
                </a:cxn>
                <a:cxn ang="0">
                  <a:pos x="18345" y="21600"/>
                </a:cxn>
                <a:cxn ang="0">
                  <a:pos x="18049" y="20753"/>
                </a:cxn>
                <a:cxn ang="0">
                  <a:pos x="16274" y="19906"/>
                </a:cxn>
                <a:cxn ang="0">
                  <a:pos x="14795" y="21600"/>
                </a:cxn>
                <a:cxn ang="0">
                  <a:pos x="14203" y="20753"/>
                </a:cxn>
                <a:cxn ang="0">
                  <a:pos x="13315" y="19906"/>
                </a:cxn>
                <a:cxn ang="0">
                  <a:pos x="12723" y="18635"/>
                </a:cxn>
                <a:cxn ang="0">
                  <a:pos x="12132" y="17788"/>
                </a:cxn>
                <a:cxn ang="0">
                  <a:pos x="10652" y="16941"/>
                </a:cxn>
                <a:cxn ang="0">
                  <a:pos x="10060" y="16518"/>
                </a:cxn>
                <a:cxn ang="0">
                  <a:pos x="7693" y="15671"/>
                </a:cxn>
                <a:cxn ang="0">
                  <a:pos x="6510" y="16518"/>
                </a:cxn>
                <a:cxn ang="0">
                  <a:pos x="5030" y="16941"/>
                </a:cxn>
                <a:cxn ang="0">
                  <a:pos x="3847" y="17788"/>
                </a:cxn>
                <a:cxn ang="0">
                  <a:pos x="4438" y="16518"/>
                </a:cxn>
                <a:cxn ang="0">
                  <a:pos x="5030" y="13976"/>
                </a:cxn>
                <a:cxn ang="0">
                  <a:pos x="3847" y="13553"/>
                </a:cxn>
                <a:cxn ang="0">
                  <a:pos x="3551" y="13976"/>
                </a:cxn>
                <a:cxn ang="0">
                  <a:pos x="1775" y="13553"/>
                </a:cxn>
                <a:cxn ang="0">
                  <a:pos x="0" y="11012"/>
                </a:cxn>
                <a:cxn ang="0">
                  <a:pos x="296" y="10588"/>
                </a:cxn>
                <a:cxn ang="0">
                  <a:pos x="0" y="8894"/>
                </a:cxn>
                <a:cxn ang="0">
                  <a:pos x="296" y="7624"/>
                </a:cxn>
                <a:cxn ang="0">
                  <a:pos x="0" y="6776"/>
                </a:cxn>
                <a:cxn ang="0">
                  <a:pos x="1479" y="4659"/>
                </a:cxn>
                <a:cxn ang="0">
                  <a:pos x="2959" y="3812"/>
                </a:cxn>
                <a:cxn ang="0">
                  <a:pos x="3847" y="2965"/>
                </a:cxn>
                <a:cxn ang="0">
                  <a:pos x="5622" y="2541"/>
                </a:cxn>
                <a:cxn ang="0">
                  <a:pos x="9764" y="1694"/>
                </a:cxn>
                <a:cxn ang="0">
                  <a:pos x="9764" y="0"/>
                </a:cxn>
              </a:cxnLst>
              <a:rect l="0" t="0" r="r" b="b"/>
              <a:pathLst>
                <a:path w="21600" h="21600">
                  <a:moveTo>
                    <a:pt x="9764" y="0"/>
                  </a:moveTo>
                  <a:lnTo>
                    <a:pt x="10060" y="847"/>
                  </a:lnTo>
                  <a:lnTo>
                    <a:pt x="12723" y="847"/>
                  </a:lnTo>
                  <a:lnTo>
                    <a:pt x="13315" y="1694"/>
                  </a:lnTo>
                  <a:lnTo>
                    <a:pt x="15978" y="1694"/>
                  </a:lnTo>
                  <a:lnTo>
                    <a:pt x="15978" y="2541"/>
                  </a:lnTo>
                  <a:lnTo>
                    <a:pt x="21600" y="2541"/>
                  </a:lnTo>
                  <a:lnTo>
                    <a:pt x="21600" y="3812"/>
                  </a:lnTo>
                  <a:lnTo>
                    <a:pt x="21008" y="3812"/>
                  </a:lnTo>
                  <a:lnTo>
                    <a:pt x="21008" y="5506"/>
                  </a:lnTo>
                  <a:lnTo>
                    <a:pt x="20416" y="5506"/>
                  </a:lnTo>
                  <a:lnTo>
                    <a:pt x="20121" y="5929"/>
                  </a:lnTo>
                  <a:lnTo>
                    <a:pt x="20121" y="7624"/>
                  </a:lnTo>
                  <a:lnTo>
                    <a:pt x="19529" y="7624"/>
                  </a:lnTo>
                  <a:lnTo>
                    <a:pt x="19529" y="8471"/>
                  </a:lnTo>
                  <a:lnTo>
                    <a:pt x="18937" y="8471"/>
                  </a:lnTo>
                  <a:lnTo>
                    <a:pt x="18937" y="8894"/>
                  </a:lnTo>
                  <a:lnTo>
                    <a:pt x="18345" y="8894"/>
                  </a:lnTo>
                  <a:lnTo>
                    <a:pt x="18345" y="10588"/>
                  </a:lnTo>
                  <a:lnTo>
                    <a:pt x="18937" y="10588"/>
                  </a:lnTo>
                  <a:lnTo>
                    <a:pt x="18937" y="12706"/>
                  </a:lnTo>
                  <a:lnTo>
                    <a:pt x="18345" y="13553"/>
                  </a:lnTo>
                  <a:lnTo>
                    <a:pt x="18345" y="13976"/>
                  </a:lnTo>
                  <a:lnTo>
                    <a:pt x="18937" y="13976"/>
                  </a:lnTo>
                  <a:lnTo>
                    <a:pt x="18937" y="15671"/>
                  </a:lnTo>
                  <a:lnTo>
                    <a:pt x="19529" y="15671"/>
                  </a:lnTo>
                  <a:lnTo>
                    <a:pt x="19529" y="16518"/>
                  </a:lnTo>
                  <a:lnTo>
                    <a:pt x="20121" y="16941"/>
                  </a:lnTo>
                  <a:lnTo>
                    <a:pt x="20416" y="16941"/>
                  </a:lnTo>
                  <a:lnTo>
                    <a:pt x="20416" y="18635"/>
                  </a:lnTo>
                  <a:lnTo>
                    <a:pt x="18937" y="18635"/>
                  </a:lnTo>
                  <a:lnTo>
                    <a:pt x="18937" y="19482"/>
                  </a:lnTo>
                  <a:lnTo>
                    <a:pt x="18345" y="19482"/>
                  </a:lnTo>
                  <a:lnTo>
                    <a:pt x="18345" y="21600"/>
                  </a:lnTo>
                  <a:lnTo>
                    <a:pt x="18049" y="21600"/>
                  </a:lnTo>
                  <a:lnTo>
                    <a:pt x="18049" y="20753"/>
                  </a:lnTo>
                  <a:lnTo>
                    <a:pt x="16274" y="20753"/>
                  </a:lnTo>
                  <a:lnTo>
                    <a:pt x="16274" y="19906"/>
                  </a:lnTo>
                  <a:lnTo>
                    <a:pt x="15978" y="19906"/>
                  </a:lnTo>
                  <a:lnTo>
                    <a:pt x="14795" y="21600"/>
                  </a:lnTo>
                  <a:lnTo>
                    <a:pt x="14203" y="21600"/>
                  </a:lnTo>
                  <a:lnTo>
                    <a:pt x="14203" y="20753"/>
                  </a:lnTo>
                  <a:lnTo>
                    <a:pt x="13907" y="20753"/>
                  </a:lnTo>
                  <a:lnTo>
                    <a:pt x="13315" y="19906"/>
                  </a:lnTo>
                  <a:lnTo>
                    <a:pt x="12723" y="19906"/>
                  </a:lnTo>
                  <a:lnTo>
                    <a:pt x="12723" y="18635"/>
                  </a:lnTo>
                  <a:lnTo>
                    <a:pt x="12132" y="18635"/>
                  </a:lnTo>
                  <a:lnTo>
                    <a:pt x="12132" y="17788"/>
                  </a:lnTo>
                  <a:lnTo>
                    <a:pt x="10652" y="17788"/>
                  </a:lnTo>
                  <a:lnTo>
                    <a:pt x="10652" y="16941"/>
                  </a:lnTo>
                  <a:lnTo>
                    <a:pt x="10060" y="16941"/>
                  </a:lnTo>
                  <a:lnTo>
                    <a:pt x="10060" y="16518"/>
                  </a:lnTo>
                  <a:lnTo>
                    <a:pt x="7693" y="16518"/>
                  </a:lnTo>
                  <a:lnTo>
                    <a:pt x="7693" y="15671"/>
                  </a:lnTo>
                  <a:lnTo>
                    <a:pt x="7101" y="16518"/>
                  </a:lnTo>
                  <a:lnTo>
                    <a:pt x="6510" y="16518"/>
                  </a:lnTo>
                  <a:lnTo>
                    <a:pt x="6510" y="16941"/>
                  </a:lnTo>
                  <a:lnTo>
                    <a:pt x="5030" y="16941"/>
                  </a:lnTo>
                  <a:lnTo>
                    <a:pt x="4438" y="17788"/>
                  </a:lnTo>
                  <a:lnTo>
                    <a:pt x="3847" y="17788"/>
                  </a:lnTo>
                  <a:lnTo>
                    <a:pt x="3847" y="16518"/>
                  </a:lnTo>
                  <a:lnTo>
                    <a:pt x="4438" y="16518"/>
                  </a:lnTo>
                  <a:lnTo>
                    <a:pt x="4438" y="13976"/>
                  </a:lnTo>
                  <a:lnTo>
                    <a:pt x="5030" y="13976"/>
                  </a:lnTo>
                  <a:lnTo>
                    <a:pt x="5030" y="13553"/>
                  </a:lnTo>
                  <a:lnTo>
                    <a:pt x="3847" y="13553"/>
                  </a:lnTo>
                  <a:lnTo>
                    <a:pt x="3847" y="13976"/>
                  </a:lnTo>
                  <a:lnTo>
                    <a:pt x="3551" y="13976"/>
                  </a:lnTo>
                  <a:lnTo>
                    <a:pt x="2959" y="13553"/>
                  </a:lnTo>
                  <a:lnTo>
                    <a:pt x="1775" y="13553"/>
                  </a:lnTo>
                  <a:lnTo>
                    <a:pt x="296" y="11012"/>
                  </a:lnTo>
                  <a:lnTo>
                    <a:pt x="0" y="11012"/>
                  </a:lnTo>
                  <a:lnTo>
                    <a:pt x="0" y="10588"/>
                  </a:lnTo>
                  <a:lnTo>
                    <a:pt x="296" y="10588"/>
                  </a:lnTo>
                  <a:lnTo>
                    <a:pt x="296" y="8894"/>
                  </a:lnTo>
                  <a:lnTo>
                    <a:pt x="0" y="8894"/>
                  </a:lnTo>
                  <a:lnTo>
                    <a:pt x="0" y="8471"/>
                  </a:lnTo>
                  <a:lnTo>
                    <a:pt x="296" y="7624"/>
                  </a:lnTo>
                  <a:lnTo>
                    <a:pt x="296" y="6776"/>
                  </a:lnTo>
                  <a:lnTo>
                    <a:pt x="0" y="6776"/>
                  </a:lnTo>
                  <a:lnTo>
                    <a:pt x="0" y="4659"/>
                  </a:lnTo>
                  <a:lnTo>
                    <a:pt x="1479" y="4659"/>
                  </a:lnTo>
                  <a:lnTo>
                    <a:pt x="1775" y="3812"/>
                  </a:lnTo>
                  <a:lnTo>
                    <a:pt x="2959" y="3812"/>
                  </a:lnTo>
                  <a:lnTo>
                    <a:pt x="2959" y="2965"/>
                  </a:lnTo>
                  <a:lnTo>
                    <a:pt x="3847" y="2965"/>
                  </a:lnTo>
                  <a:lnTo>
                    <a:pt x="3847" y="2541"/>
                  </a:lnTo>
                  <a:lnTo>
                    <a:pt x="5622" y="2541"/>
                  </a:lnTo>
                  <a:lnTo>
                    <a:pt x="5918" y="1694"/>
                  </a:lnTo>
                  <a:lnTo>
                    <a:pt x="9764" y="1694"/>
                  </a:lnTo>
                  <a:lnTo>
                    <a:pt x="9764" y="0"/>
                  </a:lnTo>
                  <a:close/>
                  <a:moveTo>
                    <a:pt x="9764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14" name="Freeform 66"/>
            <p:cNvSpPr>
              <a:spLocks/>
            </p:cNvSpPr>
            <p:nvPr/>
          </p:nvSpPr>
          <p:spPr bwMode="auto">
            <a:xfrm>
              <a:off x="7305438" y="3558025"/>
              <a:ext cx="64149" cy="30220"/>
            </a:xfrm>
            <a:custGeom>
              <a:avLst/>
              <a:gdLst/>
              <a:ahLst/>
              <a:cxnLst>
                <a:cxn ang="0">
                  <a:pos x="1800" y="0"/>
                </a:cxn>
                <a:cxn ang="0">
                  <a:pos x="12600" y="0"/>
                </a:cxn>
                <a:cxn ang="0">
                  <a:pos x="12600" y="7200"/>
                </a:cxn>
                <a:cxn ang="0">
                  <a:pos x="21600" y="7200"/>
                </a:cxn>
                <a:cxn ang="0">
                  <a:pos x="21600" y="21600"/>
                </a:cxn>
                <a:cxn ang="0">
                  <a:pos x="18000" y="14400"/>
                </a:cxn>
                <a:cxn ang="0">
                  <a:pos x="14400" y="14400"/>
                </a:cxn>
                <a:cxn ang="0">
                  <a:pos x="14400" y="21600"/>
                </a:cxn>
                <a:cxn ang="0">
                  <a:pos x="9000" y="21600"/>
                </a:cxn>
                <a:cxn ang="0">
                  <a:pos x="5400" y="14400"/>
                </a:cxn>
                <a:cxn ang="0">
                  <a:pos x="0" y="14400"/>
                </a:cxn>
                <a:cxn ang="0">
                  <a:pos x="0" y="7200"/>
                </a:cxn>
                <a:cxn ang="0">
                  <a:pos x="1800" y="0"/>
                </a:cxn>
                <a:cxn ang="0">
                  <a:pos x="1800" y="0"/>
                </a:cxn>
              </a:cxnLst>
              <a:rect l="0" t="0" r="r" b="b"/>
              <a:pathLst>
                <a:path w="21600" h="21600">
                  <a:moveTo>
                    <a:pt x="1800" y="0"/>
                  </a:moveTo>
                  <a:lnTo>
                    <a:pt x="12600" y="0"/>
                  </a:lnTo>
                  <a:lnTo>
                    <a:pt x="12600" y="7200"/>
                  </a:lnTo>
                  <a:lnTo>
                    <a:pt x="21600" y="7200"/>
                  </a:lnTo>
                  <a:lnTo>
                    <a:pt x="21600" y="21600"/>
                  </a:lnTo>
                  <a:lnTo>
                    <a:pt x="18000" y="14400"/>
                  </a:lnTo>
                  <a:lnTo>
                    <a:pt x="14400" y="14400"/>
                  </a:lnTo>
                  <a:lnTo>
                    <a:pt x="14400" y="21600"/>
                  </a:lnTo>
                  <a:lnTo>
                    <a:pt x="9000" y="21600"/>
                  </a:lnTo>
                  <a:lnTo>
                    <a:pt x="5400" y="14400"/>
                  </a:lnTo>
                  <a:lnTo>
                    <a:pt x="0" y="14400"/>
                  </a:lnTo>
                  <a:lnTo>
                    <a:pt x="0" y="7200"/>
                  </a:lnTo>
                  <a:lnTo>
                    <a:pt x="1800" y="0"/>
                  </a:lnTo>
                  <a:close/>
                  <a:moveTo>
                    <a:pt x="180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15" name="AutoShape 67"/>
            <p:cNvSpPr>
              <a:spLocks/>
            </p:cNvSpPr>
            <p:nvPr/>
          </p:nvSpPr>
          <p:spPr bwMode="auto">
            <a:xfrm>
              <a:off x="7295309" y="3421029"/>
              <a:ext cx="135050" cy="171246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2462" y="5554"/>
                  </a:moveTo>
                  <a:lnTo>
                    <a:pt x="12462" y="6789"/>
                  </a:lnTo>
                  <a:lnTo>
                    <a:pt x="14123" y="6789"/>
                  </a:lnTo>
                  <a:lnTo>
                    <a:pt x="14123" y="5554"/>
                  </a:lnTo>
                  <a:lnTo>
                    <a:pt x="12462" y="5554"/>
                  </a:lnTo>
                  <a:close/>
                  <a:moveTo>
                    <a:pt x="15785" y="0"/>
                  </a:moveTo>
                  <a:lnTo>
                    <a:pt x="19938" y="0"/>
                  </a:lnTo>
                  <a:lnTo>
                    <a:pt x="19938" y="1234"/>
                  </a:lnTo>
                  <a:lnTo>
                    <a:pt x="21600" y="1234"/>
                  </a:lnTo>
                  <a:lnTo>
                    <a:pt x="21600" y="6789"/>
                  </a:lnTo>
                  <a:lnTo>
                    <a:pt x="19938" y="6789"/>
                  </a:lnTo>
                  <a:lnTo>
                    <a:pt x="19938" y="8023"/>
                  </a:lnTo>
                  <a:lnTo>
                    <a:pt x="18277" y="8023"/>
                  </a:lnTo>
                  <a:lnTo>
                    <a:pt x="18277" y="8640"/>
                  </a:lnTo>
                  <a:lnTo>
                    <a:pt x="17446" y="8640"/>
                  </a:lnTo>
                  <a:lnTo>
                    <a:pt x="17446" y="9874"/>
                  </a:lnTo>
                  <a:lnTo>
                    <a:pt x="18277" y="11109"/>
                  </a:lnTo>
                  <a:lnTo>
                    <a:pt x="19938" y="11109"/>
                  </a:lnTo>
                  <a:lnTo>
                    <a:pt x="19938" y="12960"/>
                  </a:lnTo>
                  <a:lnTo>
                    <a:pt x="15785" y="12960"/>
                  </a:lnTo>
                  <a:lnTo>
                    <a:pt x="15785" y="16663"/>
                  </a:lnTo>
                  <a:lnTo>
                    <a:pt x="12462" y="16663"/>
                  </a:lnTo>
                  <a:lnTo>
                    <a:pt x="12462" y="17280"/>
                  </a:lnTo>
                  <a:lnTo>
                    <a:pt x="15785" y="17280"/>
                  </a:lnTo>
                  <a:lnTo>
                    <a:pt x="15785" y="18514"/>
                  </a:lnTo>
                  <a:lnTo>
                    <a:pt x="14123" y="19749"/>
                  </a:lnTo>
                  <a:lnTo>
                    <a:pt x="14123" y="21600"/>
                  </a:lnTo>
                  <a:lnTo>
                    <a:pt x="12462" y="21600"/>
                  </a:lnTo>
                  <a:lnTo>
                    <a:pt x="12462" y="19749"/>
                  </a:lnTo>
                  <a:lnTo>
                    <a:pt x="11631" y="18514"/>
                  </a:lnTo>
                  <a:lnTo>
                    <a:pt x="11631" y="17280"/>
                  </a:lnTo>
                  <a:lnTo>
                    <a:pt x="9969" y="17280"/>
                  </a:lnTo>
                  <a:lnTo>
                    <a:pt x="9969" y="16663"/>
                  </a:lnTo>
                  <a:lnTo>
                    <a:pt x="11631" y="16663"/>
                  </a:lnTo>
                  <a:lnTo>
                    <a:pt x="11631" y="15429"/>
                  </a:lnTo>
                  <a:lnTo>
                    <a:pt x="9969" y="15429"/>
                  </a:lnTo>
                  <a:lnTo>
                    <a:pt x="8308" y="14194"/>
                  </a:lnTo>
                  <a:lnTo>
                    <a:pt x="11631" y="14194"/>
                  </a:lnTo>
                  <a:lnTo>
                    <a:pt x="11631" y="12960"/>
                  </a:lnTo>
                  <a:lnTo>
                    <a:pt x="7477" y="12960"/>
                  </a:lnTo>
                  <a:lnTo>
                    <a:pt x="5815" y="12343"/>
                  </a:lnTo>
                  <a:lnTo>
                    <a:pt x="2492" y="12343"/>
                  </a:lnTo>
                  <a:lnTo>
                    <a:pt x="2492" y="11109"/>
                  </a:lnTo>
                  <a:lnTo>
                    <a:pt x="4154" y="11109"/>
                  </a:lnTo>
                  <a:lnTo>
                    <a:pt x="4154" y="9874"/>
                  </a:lnTo>
                  <a:lnTo>
                    <a:pt x="2492" y="9874"/>
                  </a:lnTo>
                  <a:lnTo>
                    <a:pt x="2492" y="8023"/>
                  </a:lnTo>
                  <a:lnTo>
                    <a:pt x="1662" y="8023"/>
                  </a:lnTo>
                  <a:lnTo>
                    <a:pt x="1662" y="6789"/>
                  </a:lnTo>
                  <a:lnTo>
                    <a:pt x="0" y="6789"/>
                  </a:lnTo>
                  <a:lnTo>
                    <a:pt x="0" y="5554"/>
                  </a:lnTo>
                  <a:lnTo>
                    <a:pt x="1662" y="5554"/>
                  </a:lnTo>
                  <a:lnTo>
                    <a:pt x="2492" y="6789"/>
                  </a:lnTo>
                  <a:lnTo>
                    <a:pt x="4154" y="5554"/>
                  </a:lnTo>
                  <a:lnTo>
                    <a:pt x="5815" y="5554"/>
                  </a:lnTo>
                  <a:lnTo>
                    <a:pt x="7477" y="4320"/>
                  </a:lnTo>
                  <a:lnTo>
                    <a:pt x="7477" y="3703"/>
                  </a:lnTo>
                  <a:lnTo>
                    <a:pt x="5815" y="2469"/>
                  </a:lnTo>
                  <a:lnTo>
                    <a:pt x="11631" y="2469"/>
                  </a:lnTo>
                  <a:lnTo>
                    <a:pt x="9969" y="3703"/>
                  </a:lnTo>
                  <a:lnTo>
                    <a:pt x="8308" y="3703"/>
                  </a:lnTo>
                  <a:lnTo>
                    <a:pt x="8308" y="5554"/>
                  </a:lnTo>
                  <a:lnTo>
                    <a:pt x="9969" y="5554"/>
                  </a:lnTo>
                  <a:lnTo>
                    <a:pt x="9969" y="6789"/>
                  </a:lnTo>
                  <a:lnTo>
                    <a:pt x="11631" y="6789"/>
                  </a:lnTo>
                  <a:lnTo>
                    <a:pt x="11631" y="5554"/>
                  </a:lnTo>
                  <a:lnTo>
                    <a:pt x="12462" y="4320"/>
                  </a:lnTo>
                  <a:lnTo>
                    <a:pt x="12462" y="3703"/>
                  </a:lnTo>
                  <a:lnTo>
                    <a:pt x="14123" y="3703"/>
                  </a:lnTo>
                  <a:lnTo>
                    <a:pt x="14123" y="2469"/>
                  </a:lnTo>
                  <a:lnTo>
                    <a:pt x="12462" y="2469"/>
                  </a:lnTo>
                  <a:lnTo>
                    <a:pt x="12462" y="1234"/>
                  </a:lnTo>
                  <a:lnTo>
                    <a:pt x="15785" y="1234"/>
                  </a:lnTo>
                  <a:lnTo>
                    <a:pt x="15785" y="0"/>
                  </a:lnTo>
                  <a:close/>
                  <a:moveTo>
                    <a:pt x="15785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16" name="Freeform 68"/>
            <p:cNvSpPr>
              <a:spLocks/>
            </p:cNvSpPr>
            <p:nvPr/>
          </p:nvSpPr>
          <p:spPr bwMode="auto">
            <a:xfrm>
              <a:off x="7197399" y="3485497"/>
              <a:ext cx="87782" cy="58425"/>
            </a:xfrm>
            <a:custGeom>
              <a:avLst/>
              <a:gdLst/>
              <a:ahLst/>
              <a:cxnLst>
                <a:cxn ang="0">
                  <a:pos x="6353" y="0"/>
                </a:cxn>
                <a:cxn ang="0">
                  <a:pos x="15247" y="0"/>
                </a:cxn>
                <a:cxn ang="0">
                  <a:pos x="15247" y="5400"/>
                </a:cxn>
                <a:cxn ang="0">
                  <a:pos x="17788" y="1800"/>
                </a:cxn>
                <a:cxn ang="0">
                  <a:pos x="17788" y="0"/>
                </a:cxn>
                <a:cxn ang="0">
                  <a:pos x="19059" y="0"/>
                </a:cxn>
                <a:cxn ang="0">
                  <a:pos x="19059" y="5400"/>
                </a:cxn>
                <a:cxn ang="0">
                  <a:pos x="21600" y="9000"/>
                </a:cxn>
                <a:cxn ang="0">
                  <a:pos x="21600" y="18000"/>
                </a:cxn>
                <a:cxn ang="0">
                  <a:pos x="19059" y="21600"/>
                </a:cxn>
                <a:cxn ang="0">
                  <a:pos x="10165" y="21600"/>
                </a:cxn>
                <a:cxn ang="0">
                  <a:pos x="10165" y="18000"/>
                </a:cxn>
                <a:cxn ang="0">
                  <a:pos x="6353" y="18000"/>
                </a:cxn>
                <a:cxn ang="0">
                  <a:pos x="6353" y="14400"/>
                </a:cxn>
                <a:cxn ang="0">
                  <a:pos x="3812" y="14400"/>
                </a:cxn>
                <a:cxn ang="0">
                  <a:pos x="3812" y="12600"/>
                </a:cxn>
                <a:cxn ang="0">
                  <a:pos x="1271" y="9000"/>
                </a:cxn>
                <a:cxn ang="0">
                  <a:pos x="1271" y="5400"/>
                </a:cxn>
                <a:cxn ang="0">
                  <a:pos x="0" y="5400"/>
                </a:cxn>
                <a:cxn ang="0">
                  <a:pos x="0" y="1800"/>
                </a:cxn>
                <a:cxn ang="0">
                  <a:pos x="6353" y="1800"/>
                </a:cxn>
                <a:cxn ang="0">
                  <a:pos x="6353" y="0"/>
                </a:cxn>
                <a:cxn ang="0">
                  <a:pos x="6353" y="0"/>
                </a:cxn>
              </a:cxnLst>
              <a:rect l="0" t="0" r="r" b="b"/>
              <a:pathLst>
                <a:path w="21600" h="21600">
                  <a:moveTo>
                    <a:pt x="6353" y="0"/>
                  </a:moveTo>
                  <a:lnTo>
                    <a:pt x="15247" y="0"/>
                  </a:lnTo>
                  <a:lnTo>
                    <a:pt x="15247" y="5400"/>
                  </a:lnTo>
                  <a:lnTo>
                    <a:pt x="17788" y="1800"/>
                  </a:lnTo>
                  <a:lnTo>
                    <a:pt x="17788" y="0"/>
                  </a:lnTo>
                  <a:lnTo>
                    <a:pt x="19059" y="0"/>
                  </a:lnTo>
                  <a:lnTo>
                    <a:pt x="19059" y="5400"/>
                  </a:lnTo>
                  <a:lnTo>
                    <a:pt x="21600" y="9000"/>
                  </a:lnTo>
                  <a:lnTo>
                    <a:pt x="21600" y="18000"/>
                  </a:lnTo>
                  <a:lnTo>
                    <a:pt x="19059" y="21600"/>
                  </a:lnTo>
                  <a:lnTo>
                    <a:pt x="10165" y="21600"/>
                  </a:lnTo>
                  <a:lnTo>
                    <a:pt x="10165" y="18000"/>
                  </a:lnTo>
                  <a:lnTo>
                    <a:pt x="6353" y="18000"/>
                  </a:lnTo>
                  <a:lnTo>
                    <a:pt x="6353" y="14400"/>
                  </a:lnTo>
                  <a:lnTo>
                    <a:pt x="3812" y="14400"/>
                  </a:lnTo>
                  <a:lnTo>
                    <a:pt x="3812" y="12600"/>
                  </a:lnTo>
                  <a:lnTo>
                    <a:pt x="1271" y="9000"/>
                  </a:lnTo>
                  <a:lnTo>
                    <a:pt x="1271" y="5400"/>
                  </a:lnTo>
                  <a:lnTo>
                    <a:pt x="0" y="5400"/>
                  </a:lnTo>
                  <a:lnTo>
                    <a:pt x="0" y="1800"/>
                  </a:lnTo>
                  <a:lnTo>
                    <a:pt x="6353" y="1800"/>
                  </a:lnTo>
                  <a:lnTo>
                    <a:pt x="6353" y="0"/>
                  </a:lnTo>
                  <a:close/>
                  <a:moveTo>
                    <a:pt x="6353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17" name="AutoShape 69"/>
            <p:cNvSpPr>
              <a:spLocks/>
            </p:cNvSpPr>
            <p:nvPr/>
          </p:nvSpPr>
          <p:spPr bwMode="auto">
            <a:xfrm>
              <a:off x="7057284" y="3243740"/>
              <a:ext cx="238025" cy="324359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2678" y="19964"/>
                  </a:moveTo>
                  <a:lnTo>
                    <a:pt x="14087" y="19964"/>
                  </a:lnTo>
                  <a:lnTo>
                    <a:pt x="14087" y="20618"/>
                  </a:lnTo>
                  <a:lnTo>
                    <a:pt x="15026" y="20618"/>
                  </a:lnTo>
                  <a:lnTo>
                    <a:pt x="14087" y="20945"/>
                  </a:lnTo>
                  <a:lnTo>
                    <a:pt x="13148" y="20945"/>
                  </a:lnTo>
                  <a:lnTo>
                    <a:pt x="13148" y="20618"/>
                  </a:lnTo>
                  <a:lnTo>
                    <a:pt x="12678" y="20618"/>
                  </a:lnTo>
                  <a:lnTo>
                    <a:pt x="12678" y="19964"/>
                  </a:lnTo>
                  <a:close/>
                  <a:moveTo>
                    <a:pt x="7513" y="7855"/>
                  </a:moveTo>
                  <a:lnTo>
                    <a:pt x="7513" y="8509"/>
                  </a:lnTo>
                  <a:lnTo>
                    <a:pt x="9391" y="8509"/>
                  </a:lnTo>
                  <a:lnTo>
                    <a:pt x="9391" y="7855"/>
                  </a:lnTo>
                  <a:lnTo>
                    <a:pt x="7513" y="7855"/>
                  </a:lnTo>
                  <a:close/>
                  <a:moveTo>
                    <a:pt x="10800" y="4909"/>
                  </a:moveTo>
                  <a:lnTo>
                    <a:pt x="11739" y="5564"/>
                  </a:lnTo>
                  <a:lnTo>
                    <a:pt x="12678" y="5564"/>
                  </a:lnTo>
                  <a:lnTo>
                    <a:pt x="12678" y="4909"/>
                  </a:lnTo>
                  <a:lnTo>
                    <a:pt x="10800" y="4909"/>
                  </a:lnTo>
                  <a:close/>
                  <a:moveTo>
                    <a:pt x="7513" y="4909"/>
                  </a:moveTo>
                  <a:lnTo>
                    <a:pt x="6574" y="5564"/>
                  </a:lnTo>
                  <a:lnTo>
                    <a:pt x="6574" y="6218"/>
                  </a:lnTo>
                  <a:lnTo>
                    <a:pt x="6104" y="6218"/>
                  </a:lnTo>
                  <a:lnTo>
                    <a:pt x="6104" y="7200"/>
                  </a:lnTo>
                  <a:lnTo>
                    <a:pt x="5165" y="7855"/>
                  </a:lnTo>
                  <a:lnTo>
                    <a:pt x="6104" y="7855"/>
                  </a:lnTo>
                  <a:lnTo>
                    <a:pt x="6104" y="7200"/>
                  </a:lnTo>
                  <a:lnTo>
                    <a:pt x="6574" y="7200"/>
                  </a:lnTo>
                  <a:lnTo>
                    <a:pt x="6574" y="6873"/>
                  </a:lnTo>
                  <a:lnTo>
                    <a:pt x="7513" y="6873"/>
                  </a:lnTo>
                  <a:lnTo>
                    <a:pt x="7513" y="7200"/>
                  </a:lnTo>
                  <a:lnTo>
                    <a:pt x="8452" y="7200"/>
                  </a:lnTo>
                  <a:lnTo>
                    <a:pt x="8452" y="6873"/>
                  </a:lnTo>
                  <a:lnTo>
                    <a:pt x="9391" y="6218"/>
                  </a:lnTo>
                  <a:lnTo>
                    <a:pt x="9391" y="5564"/>
                  </a:lnTo>
                  <a:lnTo>
                    <a:pt x="9861" y="5564"/>
                  </a:lnTo>
                  <a:lnTo>
                    <a:pt x="9861" y="4909"/>
                  </a:lnTo>
                  <a:lnTo>
                    <a:pt x="7513" y="4909"/>
                  </a:lnTo>
                  <a:close/>
                  <a:moveTo>
                    <a:pt x="16435" y="327"/>
                  </a:moveTo>
                  <a:lnTo>
                    <a:pt x="18313" y="327"/>
                  </a:lnTo>
                  <a:lnTo>
                    <a:pt x="18313" y="3927"/>
                  </a:lnTo>
                  <a:lnTo>
                    <a:pt x="17374" y="4582"/>
                  </a:lnTo>
                  <a:lnTo>
                    <a:pt x="17374" y="4909"/>
                  </a:lnTo>
                  <a:lnTo>
                    <a:pt x="15965" y="4909"/>
                  </a:lnTo>
                  <a:lnTo>
                    <a:pt x="15965" y="5564"/>
                  </a:lnTo>
                  <a:lnTo>
                    <a:pt x="17374" y="5564"/>
                  </a:lnTo>
                  <a:lnTo>
                    <a:pt x="17374" y="7200"/>
                  </a:lnTo>
                  <a:lnTo>
                    <a:pt x="16435" y="7200"/>
                  </a:lnTo>
                  <a:lnTo>
                    <a:pt x="16435" y="8509"/>
                  </a:lnTo>
                  <a:lnTo>
                    <a:pt x="18313" y="8509"/>
                  </a:lnTo>
                  <a:lnTo>
                    <a:pt x="18313" y="9164"/>
                  </a:lnTo>
                  <a:lnTo>
                    <a:pt x="20661" y="9164"/>
                  </a:lnTo>
                  <a:lnTo>
                    <a:pt x="20661" y="9491"/>
                  </a:lnTo>
                  <a:lnTo>
                    <a:pt x="21600" y="9491"/>
                  </a:lnTo>
                  <a:lnTo>
                    <a:pt x="21600" y="10145"/>
                  </a:lnTo>
                  <a:lnTo>
                    <a:pt x="20661" y="10145"/>
                  </a:lnTo>
                  <a:lnTo>
                    <a:pt x="20661" y="11455"/>
                  </a:lnTo>
                  <a:lnTo>
                    <a:pt x="19722" y="11455"/>
                  </a:lnTo>
                  <a:lnTo>
                    <a:pt x="19252" y="11782"/>
                  </a:lnTo>
                  <a:lnTo>
                    <a:pt x="17374" y="11782"/>
                  </a:lnTo>
                  <a:lnTo>
                    <a:pt x="17374" y="11455"/>
                  </a:lnTo>
                  <a:lnTo>
                    <a:pt x="18313" y="11455"/>
                  </a:lnTo>
                  <a:lnTo>
                    <a:pt x="18313" y="10800"/>
                  </a:lnTo>
                  <a:lnTo>
                    <a:pt x="17374" y="10800"/>
                  </a:lnTo>
                  <a:lnTo>
                    <a:pt x="17374" y="11455"/>
                  </a:lnTo>
                  <a:lnTo>
                    <a:pt x="16435" y="11455"/>
                  </a:lnTo>
                  <a:lnTo>
                    <a:pt x="16435" y="13745"/>
                  </a:lnTo>
                  <a:lnTo>
                    <a:pt x="15965" y="14073"/>
                  </a:lnTo>
                  <a:lnTo>
                    <a:pt x="15026" y="13745"/>
                  </a:lnTo>
                  <a:lnTo>
                    <a:pt x="15026" y="14727"/>
                  </a:lnTo>
                  <a:lnTo>
                    <a:pt x="14087" y="14727"/>
                  </a:lnTo>
                  <a:lnTo>
                    <a:pt x="14087" y="15382"/>
                  </a:lnTo>
                  <a:lnTo>
                    <a:pt x="12678" y="15382"/>
                  </a:lnTo>
                  <a:lnTo>
                    <a:pt x="12678" y="14727"/>
                  </a:lnTo>
                  <a:lnTo>
                    <a:pt x="11739" y="14727"/>
                  </a:lnTo>
                  <a:lnTo>
                    <a:pt x="11739" y="15382"/>
                  </a:lnTo>
                  <a:lnTo>
                    <a:pt x="12678" y="15382"/>
                  </a:lnTo>
                  <a:lnTo>
                    <a:pt x="12678" y="16036"/>
                  </a:lnTo>
                  <a:lnTo>
                    <a:pt x="11739" y="16036"/>
                  </a:lnTo>
                  <a:lnTo>
                    <a:pt x="11739" y="18327"/>
                  </a:lnTo>
                  <a:lnTo>
                    <a:pt x="12678" y="18327"/>
                  </a:lnTo>
                  <a:lnTo>
                    <a:pt x="12678" y="18655"/>
                  </a:lnTo>
                  <a:lnTo>
                    <a:pt x="10800" y="18655"/>
                  </a:lnTo>
                  <a:lnTo>
                    <a:pt x="10800" y="19964"/>
                  </a:lnTo>
                  <a:lnTo>
                    <a:pt x="11739" y="19964"/>
                  </a:lnTo>
                  <a:lnTo>
                    <a:pt x="11739" y="20945"/>
                  </a:lnTo>
                  <a:lnTo>
                    <a:pt x="10800" y="20945"/>
                  </a:lnTo>
                  <a:lnTo>
                    <a:pt x="10800" y="21600"/>
                  </a:lnTo>
                  <a:lnTo>
                    <a:pt x="9391" y="21600"/>
                  </a:lnTo>
                  <a:lnTo>
                    <a:pt x="9391" y="20945"/>
                  </a:lnTo>
                  <a:lnTo>
                    <a:pt x="6574" y="20945"/>
                  </a:lnTo>
                  <a:lnTo>
                    <a:pt x="6104" y="20618"/>
                  </a:lnTo>
                  <a:lnTo>
                    <a:pt x="5165" y="20618"/>
                  </a:lnTo>
                  <a:lnTo>
                    <a:pt x="5165" y="20945"/>
                  </a:lnTo>
                  <a:lnTo>
                    <a:pt x="4226" y="20945"/>
                  </a:lnTo>
                  <a:lnTo>
                    <a:pt x="4226" y="19309"/>
                  </a:lnTo>
                  <a:lnTo>
                    <a:pt x="2817" y="19309"/>
                  </a:lnTo>
                  <a:lnTo>
                    <a:pt x="2817" y="18655"/>
                  </a:lnTo>
                  <a:lnTo>
                    <a:pt x="4226" y="18655"/>
                  </a:lnTo>
                  <a:lnTo>
                    <a:pt x="4226" y="17018"/>
                  </a:lnTo>
                  <a:lnTo>
                    <a:pt x="3287" y="17018"/>
                  </a:lnTo>
                  <a:lnTo>
                    <a:pt x="3287" y="16364"/>
                  </a:lnTo>
                  <a:lnTo>
                    <a:pt x="2817" y="16364"/>
                  </a:lnTo>
                  <a:lnTo>
                    <a:pt x="2817" y="16036"/>
                  </a:lnTo>
                  <a:lnTo>
                    <a:pt x="1878" y="16036"/>
                  </a:lnTo>
                  <a:lnTo>
                    <a:pt x="1878" y="17018"/>
                  </a:lnTo>
                  <a:lnTo>
                    <a:pt x="939" y="17018"/>
                  </a:lnTo>
                  <a:lnTo>
                    <a:pt x="939" y="16364"/>
                  </a:lnTo>
                  <a:lnTo>
                    <a:pt x="0" y="16364"/>
                  </a:lnTo>
                  <a:lnTo>
                    <a:pt x="0" y="16036"/>
                  </a:lnTo>
                  <a:lnTo>
                    <a:pt x="939" y="15382"/>
                  </a:lnTo>
                  <a:lnTo>
                    <a:pt x="939" y="13745"/>
                  </a:lnTo>
                  <a:lnTo>
                    <a:pt x="1878" y="13745"/>
                  </a:lnTo>
                  <a:lnTo>
                    <a:pt x="1878" y="12436"/>
                  </a:lnTo>
                  <a:lnTo>
                    <a:pt x="939" y="12436"/>
                  </a:lnTo>
                  <a:lnTo>
                    <a:pt x="939" y="13745"/>
                  </a:lnTo>
                  <a:lnTo>
                    <a:pt x="0" y="13745"/>
                  </a:lnTo>
                  <a:lnTo>
                    <a:pt x="0" y="8509"/>
                  </a:lnTo>
                  <a:lnTo>
                    <a:pt x="939" y="8509"/>
                  </a:lnTo>
                  <a:lnTo>
                    <a:pt x="939" y="7855"/>
                  </a:lnTo>
                  <a:lnTo>
                    <a:pt x="1878" y="7855"/>
                  </a:lnTo>
                  <a:lnTo>
                    <a:pt x="1878" y="8509"/>
                  </a:lnTo>
                  <a:lnTo>
                    <a:pt x="2817" y="8509"/>
                  </a:lnTo>
                  <a:lnTo>
                    <a:pt x="2817" y="7855"/>
                  </a:lnTo>
                  <a:lnTo>
                    <a:pt x="3287" y="7855"/>
                  </a:lnTo>
                  <a:lnTo>
                    <a:pt x="3287" y="9164"/>
                  </a:lnTo>
                  <a:lnTo>
                    <a:pt x="5165" y="9164"/>
                  </a:lnTo>
                  <a:lnTo>
                    <a:pt x="5165" y="8509"/>
                  </a:lnTo>
                  <a:lnTo>
                    <a:pt x="4226" y="8509"/>
                  </a:lnTo>
                  <a:lnTo>
                    <a:pt x="4226" y="7200"/>
                  </a:lnTo>
                  <a:lnTo>
                    <a:pt x="2817" y="7200"/>
                  </a:lnTo>
                  <a:lnTo>
                    <a:pt x="2817" y="7855"/>
                  </a:lnTo>
                  <a:lnTo>
                    <a:pt x="1878" y="7855"/>
                  </a:lnTo>
                  <a:lnTo>
                    <a:pt x="1878" y="6218"/>
                  </a:lnTo>
                  <a:lnTo>
                    <a:pt x="4226" y="4582"/>
                  </a:lnTo>
                  <a:lnTo>
                    <a:pt x="9861" y="4582"/>
                  </a:lnTo>
                  <a:lnTo>
                    <a:pt x="9861" y="3927"/>
                  </a:lnTo>
                  <a:lnTo>
                    <a:pt x="10800" y="3927"/>
                  </a:lnTo>
                  <a:lnTo>
                    <a:pt x="11739" y="3273"/>
                  </a:lnTo>
                  <a:lnTo>
                    <a:pt x="11739" y="2618"/>
                  </a:lnTo>
                  <a:lnTo>
                    <a:pt x="13148" y="1636"/>
                  </a:lnTo>
                  <a:lnTo>
                    <a:pt x="14087" y="1636"/>
                  </a:lnTo>
                  <a:lnTo>
                    <a:pt x="15026" y="982"/>
                  </a:lnTo>
                  <a:lnTo>
                    <a:pt x="15965" y="982"/>
                  </a:lnTo>
                  <a:lnTo>
                    <a:pt x="16435" y="327"/>
                  </a:lnTo>
                  <a:close/>
                  <a:moveTo>
                    <a:pt x="18313" y="0"/>
                  </a:moveTo>
                  <a:lnTo>
                    <a:pt x="19252" y="0"/>
                  </a:lnTo>
                  <a:lnTo>
                    <a:pt x="19252" y="327"/>
                  </a:lnTo>
                  <a:lnTo>
                    <a:pt x="18313" y="327"/>
                  </a:lnTo>
                  <a:lnTo>
                    <a:pt x="18313" y="0"/>
                  </a:lnTo>
                  <a:close/>
                  <a:moveTo>
                    <a:pt x="18313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18" name="AutoShape 70"/>
            <p:cNvSpPr>
              <a:spLocks/>
            </p:cNvSpPr>
            <p:nvPr/>
          </p:nvSpPr>
          <p:spPr bwMode="auto">
            <a:xfrm>
              <a:off x="7384779" y="3971028"/>
              <a:ext cx="570585" cy="255860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0" y="5815"/>
                  </a:moveTo>
                  <a:lnTo>
                    <a:pt x="785" y="5815"/>
                  </a:lnTo>
                  <a:lnTo>
                    <a:pt x="785" y="7062"/>
                  </a:lnTo>
                  <a:lnTo>
                    <a:pt x="393" y="7062"/>
                  </a:lnTo>
                  <a:lnTo>
                    <a:pt x="393" y="6646"/>
                  </a:lnTo>
                  <a:lnTo>
                    <a:pt x="0" y="5815"/>
                  </a:lnTo>
                  <a:close/>
                  <a:moveTo>
                    <a:pt x="15513" y="4985"/>
                  </a:moveTo>
                  <a:lnTo>
                    <a:pt x="15905" y="4985"/>
                  </a:lnTo>
                  <a:lnTo>
                    <a:pt x="15905" y="5815"/>
                  </a:lnTo>
                  <a:lnTo>
                    <a:pt x="15513" y="4985"/>
                  </a:lnTo>
                  <a:close/>
                  <a:moveTo>
                    <a:pt x="7265" y="0"/>
                  </a:moveTo>
                  <a:lnTo>
                    <a:pt x="8247" y="0"/>
                  </a:lnTo>
                  <a:lnTo>
                    <a:pt x="8247" y="1662"/>
                  </a:lnTo>
                  <a:lnTo>
                    <a:pt x="9622" y="1662"/>
                  </a:lnTo>
                  <a:lnTo>
                    <a:pt x="9622" y="0"/>
                  </a:lnTo>
                  <a:lnTo>
                    <a:pt x="10015" y="0"/>
                  </a:lnTo>
                  <a:lnTo>
                    <a:pt x="10015" y="831"/>
                  </a:lnTo>
                  <a:lnTo>
                    <a:pt x="10407" y="831"/>
                  </a:lnTo>
                  <a:lnTo>
                    <a:pt x="10407" y="1662"/>
                  </a:lnTo>
                  <a:lnTo>
                    <a:pt x="10604" y="1662"/>
                  </a:lnTo>
                  <a:lnTo>
                    <a:pt x="10604" y="2077"/>
                  </a:lnTo>
                  <a:lnTo>
                    <a:pt x="11389" y="2077"/>
                  </a:lnTo>
                  <a:lnTo>
                    <a:pt x="11389" y="2908"/>
                  </a:lnTo>
                  <a:lnTo>
                    <a:pt x="12371" y="2908"/>
                  </a:lnTo>
                  <a:lnTo>
                    <a:pt x="12371" y="3738"/>
                  </a:lnTo>
                  <a:lnTo>
                    <a:pt x="13353" y="3738"/>
                  </a:lnTo>
                  <a:lnTo>
                    <a:pt x="13353" y="2908"/>
                  </a:lnTo>
                  <a:lnTo>
                    <a:pt x="13745" y="2908"/>
                  </a:lnTo>
                  <a:lnTo>
                    <a:pt x="13745" y="3738"/>
                  </a:lnTo>
                  <a:lnTo>
                    <a:pt x="14138" y="3738"/>
                  </a:lnTo>
                  <a:lnTo>
                    <a:pt x="14138" y="4569"/>
                  </a:lnTo>
                  <a:lnTo>
                    <a:pt x="13745" y="4569"/>
                  </a:lnTo>
                  <a:lnTo>
                    <a:pt x="13745" y="4985"/>
                  </a:lnTo>
                  <a:lnTo>
                    <a:pt x="13353" y="4985"/>
                  </a:lnTo>
                  <a:lnTo>
                    <a:pt x="13353" y="5815"/>
                  </a:lnTo>
                  <a:lnTo>
                    <a:pt x="13745" y="5815"/>
                  </a:lnTo>
                  <a:lnTo>
                    <a:pt x="13745" y="6646"/>
                  </a:lnTo>
                  <a:lnTo>
                    <a:pt x="14531" y="6646"/>
                  </a:lnTo>
                  <a:lnTo>
                    <a:pt x="14531" y="7892"/>
                  </a:lnTo>
                  <a:lnTo>
                    <a:pt x="15120" y="7892"/>
                  </a:lnTo>
                  <a:lnTo>
                    <a:pt x="15120" y="7062"/>
                  </a:lnTo>
                  <a:lnTo>
                    <a:pt x="15905" y="7062"/>
                  </a:lnTo>
                  <a:lnTo>
                    <a:pt x="15905" y="5815"/>
                  </a:lnTo>
                  <a:lnTo>
                    <a:pt x="16887" y="5815"/>
                  </a:lnTo>
                  <a:lnTo>
                    <a:pt x="16887" y="6646"/>
                  </a:lnTo>
                  <a:lnTo>
                    <a:pt x="17869" y="6646"/>
                  </a:lnTo>
                  <a:lnTo>
                    <a:pt x="17869" y="7062"/>
                  </a:lnTo>
                  <a:lnTo>
                    <a:pt x="17476" y="7062"/>
                  </a:lnTo>
                  <a:lnTo>
                    <a:pt x="17476" y="7892"/>
                  </a:lnTo>
                  <a:lnTo>
                    <a:pt x="18262" y="7892"/>
                  </a:lnTo>
                  <a:lnTo>
                    <a:pt x="18262" y="9554"/>
                  </a:lnTo>
                  <a:lnTo>
                    <a:pt x="18851" y="9554"/>
                  </a:lnTo>
                  <a:lnTo>
                    <a:pt x="18851" y="8723"/>
                  </a:lnTo>
                  <a:lnTo>
                    <a:pt x="19244" y="8723"/>
                  </a:lnTo>
                  <a:lnTo>
                    <a:pt x="19244" y="9554"/>
                  </a:lnTo>
                  <a:lnTo>
                    <a:pt x="19833" y="9554"/>
                  </a:lnTo>
                  <a:lnTo>
                    <a:pt x="19833" y="9969"/>
                  </a:lnTo>
                  <a:lnTo>
                    <a:pt x="20618" y="9969"/>
                  </a:lnTo>
                  <a:lnTo>
                    <a:pt x="20618" y="11631"/>
                  </a:lnTo>
                  <a:lnTo>
                    <a:pt x="21011" y="11631"/>
                  </a:lnTo>
                  <a:lnTo>
                    <a:pt x="21011" y="12462"/>
                  </a:lnTo>
                  <a:lnTo>
                    <a:pt x="21600" y="12462"/>
                  </a:lnTo>
                  <a:lnTo>
                    <a:pt x="21600" y="12877"/>
                  </a:lnTo>
                  <a:lnTo>
                    <a:pt x="21011" y="12877"/>
                  </a:lnTo>
                  <a:lnTo>
                    <a:pt x="20225" y="14538"/>
                  </a:lnTo>
                  <a:lnTo>
                    <a:pt x="19833" y="14538"/>
                  </a:lnTo>
                  <a:lnTo>
                    <a:pt x="19833" y="15369"/>
                  </a:lnTo>
                  <a:lnTo>
                    <a:pt x="19636" y="15369"/>
                  </a:lnTo>
                  <a:lnTo>
                    <a:pt x="19244" y="15785"/>
                  </a:lnTo>
                  <a:lnTo>
                    <a:pt x="19244" y="17446"/>
                  </a:lnTo>
                  <a:lnTo>
                    <a:pt x="18851" y="17446"/>
                  </a:lnTo>
                  <a:lnTo>
                    <a:pt x="18851" y="18277"/>
                  </a:lnTo>
                  <a:lnTo>
                    <a:pt x="18262" y="18277"/>
                  </a:lnTo>
                  <a:lnTo>
                    <a:pt x="18262" y="18692"/>
                  </a:lnTo>
                  <a:lnTo>
                    <a:pt x="17869" y="18692"/>
                  </a:lnTo>
                  <a:lnTo>
                    <a:pt x="17869" y="19523"/>
                  </a:lnTo>
                  <a:lnTo>
                    <a:pt x="16495" y="19523"/>
                  </a:lnTo>
                  <a:lnTo>
                    <a:pt x="16495" y="18692"/>
                  </a:lnTo>
                  <a:lnTo>
                    <a:pt x="15905" y="20354"/>
                  </a:lnTo>
                  <a:lnTo>
                    <a:pt x="15905" y="21185"/>
                  </a:lnTo>
                  <a:lnTo>
                    <a:pt x="15513" y="21185"/>
                  </a:lnTo>
                  <a:lnTo>
                    <a:pt x="15513" y="20354"/>
                  </a:lnTo>
                  <a:lnTo>
                    <a:pt x="14727" y="20354"/>
                  </a:lnTo>
                  <a:lnTo>
                    <a:pt x="14727" y="19523"/>
                  </a:lnTo>
                  <a:lnTo>
                    <a:pt x="14138" y="19523"/>
                  </a:lnTo>
                  <a:lnTo>
                    <a:pt x="14138" y="20354"/>
                  </a:lnTo>
                  <a:lnTo>
                    <a:pt x="12764" y="20354"/>
                  </a:lnTo>
                  <a:lnTo>
                    <a:pt x="12371" y="19523"/>
                  </a:lnTo>
                  <a:lnTo>
                    <a:pt x="11978" y="19523"/>
                  </a:lnTo>
                  <a:lnTo>
                    <a:pt x="11978" y="18692"/>
                  </a:lnTo>
                  <a:lnTo>
                    <a:pt x="10604" y="18692"/>
                  </a:lnTo>
                  <a:lnTo>
                    <a:pt x="10604" y="18277"/>
                  </a:lnTo>
                  <a:lnTo>
                    <a:pt x="10407" y="18277"/>
                  </a:lnTo>
                  <a:lnTo>
                    <a:pt x="10015" y="18692"/>
                  </a:lnTo>
                  <a:lnTo>
                    <a:pt x="10015" y="18277"/>
                  </a:lnTo>
                  <a:lnTo>
                    <a:pt x="9229" y="18277"/>
                  </a:lnTo>
                  <a:lnTo>
                    <a:pt x="9229" y="20354"/>
                  </a:lnTo>
                  <a:lnTo>
                    <a:pt x="8640" y="20354"/>
                  </a:lnTo>
                  <a:lnTo>
                    <a:pt x="8640" y="21185"/>
                  </a:lnTo>
                  <a:lnTo>
                    <a:pt x="8247" y="21600"/>
                  </a:lnTo>
                  <a:lnTo>
                    <a:pt x="7855" y="21600"/>
                  </a:lnTo>
                  <a:lnTo>
                    <a:pt x="7855" y="21185"/>
                  </a:lnTo>
                  <a:lnTo>
                    <a:pt x="7658" y="21185"/>
                  </a:lnTo>
                  <a:lnTo>
                    <a:pt x="7658" y="21600"/>
                  </a:lnTo>
                  <a:lnTo>
                    <a:pt x="6480" y="21600"/>
                  </a:lnTo>
                  <a:lnTo>
                    <a:pt x="6480" y="21185"/>
                  </a:lnTo>
                  <a:lnTo>
                    <a:pt x="6284" y="21185"/>
                  </a:lnTo>
                  <a:lnTo>
                    <a:pt x="6284" y="20354"/>
                  </a:lnTo>
                  <a:lnTo>
                    <a:pt x="5891" y="20354"/>
                  </a:lnTo>
                  <a:lnTo>
                    <a:pt x="5891" y="19523"/>
                  </a:lnTo>
                  <a:lnTo>
                    <a:pt x="5498" y="18692"/>
                  </a:lnTo>
                  <a:lnTo>
                    <a:pt x="5105" y="18692"/>
                  </a:lnTo>
                  <a:lnTo>
                    <a:pt x="5105" y="18277"/>
                  </a:lnTo>
                  <a:lnTo>
                    <a:pt x="4516" y="18277"/>
                  </a:lnTo>
                  <a:lnTo>
                    <a:pt x="4516" y="17446"/>
                  </a:lnTo>
                  <a:lnTo>
                    <a:pt x="4124" y="17446"/>
                  </a:lnTo>
                  <a:lnTo>
                    <a:pt x="4124" y="16615"/>
                  </a:lnTo>
                  <a:lnTo>
                    <a:pt x="3535" y="16615"/>
                  </a:lnTo>
                  <a:lnTo>
                    <a:pt x="3535" y="15369"/>
                  </a:lnTo>
                  <a:lnTo>
                    <a:pt x="3142" y="15369"/>
                  </a:lnTo>
                  <a:lnTo>
                    <a:pt x="2749" y="14538"/>
                  </a:lnTo>
                  <a:lnTo>
                    <a:pt x="2356" y="14538"/>
                  </a:lnTo>
                  <a:lnTo>
                    <a:pt x="2356" y="13708"/>
                  </a:lnTo>
                  <a:lnTo>
                    <a:pt x="2160" y="13708"/>
                  </a:lnTo>
                  <a:lnTo>
                    <a:pt x="2160" y="12877"/>
                  </a:lnTo>
                  <a:lnTo>
                    <a:pt x="1767" y="12877"/>
                  </a:lnTo>
                  <a:lnTo>
                    <a:pt x="1767" y="12462"/>
                  </a:lnTo>
                  <a:lnTo>
                    <a:pt x="1375" y="12462"/>
                  </a:lnTo>
                  <a:lnTo>
                    <a:pt x="1375" y="10800"/>
                  </a:lnTo>
                  <a:lnTo>
                    <a:pt x="982" y="10800"/>
                  </a:lnTo>
                  <a:lnTo>
                    <a:pt x="1375" y="9969"/>
                  </a:lnTo>
                  <a:lnTo>
                    <a:pt x="1767" y="9969"/>
                  </a:lnTo>
                  <a:lnTo>
                    <a:pt x="1767" y="9554"/>
                  </a:lnTo>
                  <a:lnTo>
                    <a:pt x="1375" y="9554"/>
                  </a:lnTo>
                  <a:lnTo>
                    <a:pt x="1375" y="8723"/>
                  </a:lnTo>
                  <a:lnTo>
                    <a:pt x="982" y="8723"/>
                  </a:lnTo>
                  <a:lnTo>
                    <a:pt x="982" y="7892"/>
                  </a:lnTo>
                  <a:lnTo>
                    <a:pt x="785" y="7892"/>
                  </a:lnTo>
                  <a:lnTo>
                    <a:pt x="785" y="7062"/>
                  </a:lnTo>
                  <a:lnTo>
                    <a:pt x="982" y="7062"/>
                  </a:lnTo>
                  <a:lnTo>
                    <a:pt x="982" y="6646"/>
                  </a:lnTo>
                  <a:lnTo>
                    <a:pt x="1375" y="6646"/>
                  </a:lnTo>
                  <a:lnTo>
                    <a:pt x="1375" y="5815"/>
                  </a:lnTo>
                  <a:lnTo>
                    <a:pt x="1767" y="5815"/>
                  </a:lnTo>
                  <a:lnTo>
                    <a:pt x="1767" y="4985"/>
                  </a:lnTo>
                  <a:lnTo>
                    <a:pt x="2356" y="4985"/>
                  </a:lnTo>
                  <a:lnTo>
                    <a:pt x="2356" y="5815"/>
                  </a:lnTo>
                  <a:lnTo>
                    <a:pt x="2749" y="5815"/>
                  </a:lnTo>
                  <a:lnTo>
                    <a:pt x="3535" y="4569"/>
                  </a:lnTo>
                  <a:lnTo>
                    <a:pt x="4124" y="4569"/>
                  </a:lnTo>
                  <a:lnTo>
                    <a:pt x="4124" y="3738"/>
                  </a:lnTo>
                  <a:lnTo>
                    <a:pt x="4909" y="3738"/>
                  </a:lnTo>
                  <a:lnTo>
                    <a:pt x="4909" y="2908"/>
                  </a:lnTo>
                  <a:lnTo>
                    <a:pt x="5105" y="2908"/>
                  </a:lnTo>
                  <a:lnTo>
                    <a:pt x="5105" y="2077"/>
                  </a:lnTo>
                  <a:lnTo>
                    <a:pt x="6284" y="2077"/>
                  </a:lnTo>
                  <a:lnTo>
                    <a:pt x="6284" y="1662"/>
                  </a:lnTo>
                  <a:lnTo>
                    <a:pt x="7658" y="1662"/>
                  </a:lnTo>
                  <a:lnTo>
                    <a:pt x="7658" y="831"/>
                  </a:lnTo>
                  <a:lnTo>
                    <a:pt x="7265" y="831"/>
                  </a:lnTo>
                  <a:lnTo>
                    <a:pt x="7265" y="0"/>
                  </a:lnTo>
                  <a:close/>
                  <a:moveTo>
                    <a:pt x="7265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19" name="AutoShape 71"/>
            <p:cNvSpPr>
              <a:spLocks/>
            </p:cNvSpPr>
            <p:nvPr/>
          </p:nvSpPr>
          <p:spPr bwMode="auto">
            <a:xfrm>
              <a:off x="7622805" y="4658022"/>
              <a:ext cx="28698" cy="28205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8100" y="8100"/>
                  </a:moveTo>
                  <a:lnTo>
                    <a:pt x="13500" y="13500"/>
                  </a:lnTo>
                  <a:lnTo>
                    <a:pt x="18900" y="13500"/>
                  </a:lnTo>
                  <a:lnTo>
                    <a:pt x="21600" y="18900"/>
                  </a:lnTo>
                  <a:lnTo>
                    <a:pt x="21600" y="21600"/>
                  </a:lnTo>
                  <a:lnTo>
                    <a:pt x="18900" y="18900"/>
                  </a:lnTo>
                  <a:lnTo>
                    <a:pt x="8100" y="13500"/>
                  </a:lnTo>
                  <a:lnTo>
                    <a:pt x="8100" y="8100"/>
                  </a:lnTo>
                  <a:close/>
                  <a:moveTo>
                    <a:pt x="2700" y="2700"/>
                  </a:moveTo>
                  <a:lnTo>
                    <a:pt x="8100" y="8100"/>
                  </a:lnTo>
                  <a:lnTo>
                    <a:pt x="2700" y="8100"/>
                  </a:lnTo>
                  <a:lnTo>
                    <a:pt x="2700" y="2700"/>
                  </a:lnTo>
                  <a:close/>
                  <a:moveTo>
                    <a:pt x="0" y="0"/>
                  </a:moveTo>
                  <a:lnTo>
                    <a:pt x="2700" y="0"/>
                  </a:lnTo>
                  <a:lnTo>
                    <a:pt x="2700" y="2700"/>
                  </a:lnTo>
                  <a:lnTo>
                    <a:pt x="0" y="0"/>
                  </a:lnTo>
                  <a:close/>
                  <a:moveTo>
                    <a:pt x="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20" name="Freeform 72"/>
            <p:cNvSpPr>
              <a:spLocks/>
            </p:cNvSpPr>
            <p:nvPr/>
          </p:nvSpPr>
          <p:spPr bwMode="auto">
            <a:xfrm>
              <a:off x="7577225" y="4567364"/>
              <a:ext cx="13505" cy="4835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400" y="0"/>
                </a:cxn>
                <a:cxn ang="0">
                  <a:pos x="14400" y="6480"/>
                </a:cxn>
                <a:cxn ang="0">
                  <a:pos x="21600" y="10800"/>
                </a:cxn>
                <a:cxn ang="0">
                  <a:pos x="21600" y="21600"/>
                </a:cxn>
                <a:cxn ang="0">
                  <a:pos x="14400" y="21600"/>
                </a:cxn>
                <a:cxn ang="0">
                  <a:pos x="14400" y="15120"/>
                </a:cxn>
                <a:cxn ang="0">
                  <a:pos x="0" y="1080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14400" y="0"/>
                  </a:lnTo>
                  <a:lnTo>
                    <a:pt x="14400" y="6480"/>
                  </a:lnTo>
                  <a:lnTo>
                    <a:pt x="21600" y="10800"/>
                  </a:lnTo>
                  <a:lnTo>
                    <a:pt x="21600" y="21600"/>
                  </a:lnTo>
                  <a:lnTo>
                    <a:pt x="14400" y="21600"/>
                  </a:lnTo>
                  <a:lnTo>
                    <a:pt x="14400" y="15120"/>
                  </a:lnTo>
                  <a:lnTo>
                    <a:pt x="0" y="10800"/>
                  </a:lnTo>
                  <a:lnTo>
                    <a:pt x="0" y="0"/>
                  </a:lnTo>
                  <a:close/>
                  <a:moveTo>
                    <a:pt x="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21" name="AutoShape 73"/>
            <p:cNvSpPr>
              <a:spLocks/>
            </p:cNvSpPr>
            <p:nvPr/>
          </p:nvSpPr>
          <p:spPr bwMode="auto">
            <a:xfrm>
              <a:off x="7757854" y="4742637"/>
              <a:ext cx="47267" cy="18132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2000" y="10800"/>
                  </a:moveTo>
                  <a:lnTo>
                    <a:pt x="21600" y="10800"/>
                  </a:lnTo>
                  <a:lnTo>
                    <a:pt x="21600" y="21600"/>
                  </a:lnTo>
                  <a:lnTo>
                    <a:pt x="16800" y="21600"/>
                  </a:lnTo>
                  <a:lnTo>
                    <a:pt x="12000" y="10800"/>
                  </a:lnTo>
                  <a:close/>
                  <a:moveTo>
                    <a:pt x="0" y="0"/>
                  </a:moveTo>
                  <a:lnTo>
                    <a:pt x="4800" y="0"/>
                  </a:lnTo>
                  <a:lnTo>
                    <a:pt x="4800" y="10800"/>
                  </a:lnTo>
                  <a:lnTo>
                    <a:pt x="0" y="10800"/>
                  </a:lnTo>
                  <a:lnTo>
                    <a:pt x="0" y="0"/>
                  </a:lnTo>
                  <a:close/>
                  <a:moveTo>
                    <a:pt x="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22" name="AutoShape 74"/>
            <p:cNvSpPr>
              <a:spLocks/>
            </p:cNvSpPr>
            <p:nvPr/>
          </p:nvSpPr>
          <p:spPr bwMode="auto">
            <a:xfrm>
              <a:off x="7794993" y="4760770"/>
              <a:ext cx="62460" cy="26190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2600" y="12960"/>
                  </a:moveTo>
                  <a:lnTo>
                    <a:pt x="21600" y="12960"/>
                  </a:lnTo>
                  <a:lnTo>
                    <a:pt x="21600" y="21600"/>
                  </a:lnTo>
                  <a:lnTo>
                    <a:pt x="16200" y="21600"/>
                  </a:lnTo>
                  <a:lnTo>
                    <a:pt x="12600" y="12960"/>
                  </a:lnTo>
                  <a:close/>
                  <a:moveTo>
                    <a:pt x="9000" y="4320"/>
                  </a:moveTo>
                  <a:lnTo>
                    <a:pt x="12600" y="4320"/>
                  </a:lnTo>
                  <a:lnTo>
                    <a:pt x="12600" y="12960"/>
                  </a:lnTo>
                  <a:lnTo>
                    <a:pt x="9000" y="12960"/>
                  </a:lnTo>
                  <a:lnTo>
                    <a:pt x="9000" y="4320"/>
                  </a:lnTo>
                  <a:close/>
                  <a:moveTo>
                    <a:pt x="0" y="0"/>
                  </a:moveTo>
                  <a:lnTo>
                    <a:pt x="3600" y="0"/>
                  </a:lnTo>
                  <a:lnTo>
                    <a:pt x="3600" y="4320"/>
                  </a:lnTo>
                  <a:lnTo>
                    <a:pt x="0" y="4320"/>
                  </a:lnTo>
                  <a:lnTo>
                    <a:pt x="0" y="0"/>
                  </a:lnTo>
                  <a:close/>
                  <a:moveTo>
                    <a:pt x="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23" name="AutoShape 75"/>
            <p:cNvSpPr>
              <a:spLocks/>
            </p:cNvSpPr>
            <p:nvPr/>
          </p:nvSpPr>
          <p:spPr bwMode="auto">
            <a:xfrm>
              <a:off x="7854077" y="4776887"/>
              <a:ext cx="87782" cy="52381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8900" y="17673"/>
                  </a:moveTo>
                  <a:lnTo>
                    <a:pt x="21600" y="21600"/>
                  </a:lnTo>
                  <a:lnTo>
                    <a:pt x="18900" y="21600"/>
                  </a:lnTo>
                  <a:lnTo>
                    <a:pt x="18900" y="17673"/>
                  </a:lnTo>
                  <a:close/>
                  <a:moveTo>
                    <a:pt x="0" y="0"/>
                  </a:moveTo>
                  <a:lnTo>
                    <a:pt x="2700" y="0"/>
                  </a:lnTo>
                  <a:lnTo>
                    <a:pt x="4050" y="3927"/>
                  </a:lnTo>
                  <a:lnTo>
                    <a:pt x="6750" y="3927"/>
                  </a:lnTo>
                  <a:lnTo>
                    <a:pt x="6750" y="7855"/>
                  </a:lnTo>
                  <a:lnTo>
                    <a:pt x="12150" y="7855"/>
                  </a:lnTo>
                  <a:lnTo>
                    <a:pt x="12150" y="9818"/>
                  </a:lnTo>
                  <a:lnTo>
                    <a:pt x="16200" y="9818"/>
                  </a:lnTo>
                  <a:lnTo>
                    <a:pt x="16200" y="17673"/>
                  </a:lnTo>
                  <a:lnTo>
                    <a:pt x="13500" y="13745"/>
                  </a:lnTo>
                  <a:lnTo>
                    <a:pt x="9450" y="13745"/>
                  </a:lnTo>
                  <a:lnTo>
                    <a:pt x="9450" y="9818"/>
                  </a:lnTo>
                  <a:lnTo>
                    <a:pt x="4050" y="9818"/>
                  </a:lnTo>
                  <a:lnTo>
                    <a:pt x="4050" y="7855"/>
                  </a:lnTo>
                  <a:lnTo>
                    <a:pt x="2700" y="7855"/>
                  </a:lnTo>
                  <a:lnTo>
                    <a:pt x="2700" y="3927"/>
                  </a:lnTo>
                  <a:lnTo>
                    <a:pt x="0" y="3927"/>
                  </a:lnTo>
                  <a:lnTo>
                    <a:pt x="0" y="0"/>
                  </a:lnTo>
                  <a:close/>
                  <a:moveTo>
                    <a:pt x="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24" name="AutoShape 76"/>
            <p:cNvSpPr>
              <a:spLocks/>
            </p:cNvSpPr>
            <p:nvPr/>
          </p:nvSpPr>
          <p:spPr bwMode="auto">
            <a:xfrm>
              <a:off x="7514765" y="4428352"/>
              <a:ext cx="476050" cy="348535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4791" y="20687"/>
                  </a:moveTo>
                  <a:lnTo>
                    <a:pt x="15496" y="20687"/>
                  </a:lnTo>
                  <a:lnTo>
                    <a:pt x="15496" y="20992"/>
                  </a:lnTo>
                  <a:lnTo>
                    <a:pt x="15026" y="20992"/>
                  </a:lnTo>
                  <a:lnTo>
                    <a:pt x="15026" y="21600"/>
                  </a:lnTo>
                  <a:lnTo>
                    <a:pt x="14791" y="20992"/>
                  </a:lnTo>
                  <a:lnTo>
                    <a:pt x="14791" y="20687"/>
                  </a:lnTo>
                  <a:close/>
                  <a:moveTo>
                    <a:pt x="10096" y="0"/>
                  </a:moveTo>
                  <a:lnTo>
                    <a:pt x="10565" y="0"/>
                  </a:lnTo>
                  <a:lnTo>
                    <a:pt x="10565" y="304"/>
                  </a:lnTo>
                  <a:lnTo>
                    <a:pt x="11504" y="304"/>
                  </a:lnTo>
                  <a:lnTo>
                    <a:pt x="11504" y="913"/>
                  </a:lnTo>
                  <a:lnTo>
                    <a:pt x="12209" y="913"/>
                  </a:lnTo>
                  <a:lnTo>
                    <a:pt x="12209" y="1521"/>
                  </a:lnTo>
                  <a:lnTo>
                    <a:pt x="12678" y="1521"/>
                  </a:lnTo>
                  <a:lnTo>
                    <a:pt x="12678" y="2130"/>
                  </a:lnTo>
                  <a:lnTo>
                    <a:pt x="13383" y="2130"/>
                  </a:lnTo>
                  <a:lnTo>
                    <a:pt x="13383" y="2434"/>
                  </a:lnTo>
                  <a:lnTo>
                    <a:pt x="13852" y="2434"/>
                  </a:lnTo>
                  <a:lnTo>
                    <a:pt x="13852" y="3042"/>
                  </a:lnTo>
                  <a:lnTo>
                    <a:pt x="14322" y="3651"/>
                  </a:lnTo>
                  <a:lnTo>
                    <a:pt x="15026" y="3651"/>
                  </a:lnTo>
                  <a:lnTo>
                    <a:pt x="15026" y="4259"/>
                  </a:lnTo>
                  <a:lnTo>
                    <a:pt x="15496" y="4259"/>
                  </a:lnTo>
                  <a:lnTo>
                    <a:pt x="15965" y="4563"/>
                  </a:lnTo>
                  <a:lnTo>
                    <a:pt x="18313" y="4563"/>
                  </a:lnTo>
                  <a:lnTo>
                    <a:pt x="18313" y="4259"/>
                  </a:lnTo>
                  <a:lnTo>
                    <a:pt x="18783" y="4259"/>
                  </a:lnTo>
                  <a:lnTo>
                    <a:pt x="18783" y="3651"/>
                  </a:lnTo>
                  <a:lnTo>
                    <a:pt x="19252" y="3651"/>
                  </a:lnTo>
                  <a:lnTo>
                    <a:pt x="19252" y="4259"/>
                  </a:lnTo>
                  <a:lnTo>
                    <a:pt x="19957" y="4259"/>
                  </a:lnTo>
                  <a:lnTo>
                    <a:pt x="19957" y="5780"/>
                  </a:lnTo>
                  <a:lnTo>
                    <a:pt x="20426" y="5780"/>
                  </a:lnTo>
                  <a:lnTo>
                    <a:pt x="20426" y="7301"/>
                  </a:lnTo>
                  <a:lnTo>
                    <a:pt x="21130" y="7301"/>
                  </a:lnTo>
                  <a:lnTo>
                    <a:pt x="21600" y="7910"/>
                  </a:lnTo>
                  <a:lnTo>
                    <a:pt x="20896" y="7910"/>
                  </a:lnTo>
                  <a:lnTo>
                    <a:pt x="20896" y="9431"/>
                  </a:lnTo>
                  <a:lnTo>
                    <a:pt x="20426" y="9431"/>
                  </a:lnTo>
                  <a:lnTo>
                    <a:pt x="20426" y="10039"/>
                  </a:lnTo>
                  <a:lnTo>
                    <a:pt x="19487" y="10039"/>
                  </a:lnTo>
                  <a:lnTo>
                    <a:pt x="19487" y="8823"/>
                  </a:lnTo>
                  <a:lnTo>
                    <a:pt x="19252" y="8823"/>
                  </a:lnTo>
                  <a:lnTo>
                    <a:pt x="19252" y="8214"/>
                  </a:lnTo>
                  <a:lnTo>
                    <a:pt x="18783" y="8214"/>
                  </a:lnTo>
                  <a:lnTo>
                    <a:pt x="18783" y="8823"/>
                  </a:lnTo>
                  <a:lnTo>
                    <a:pt x="18313" y="8823"/>
                  </a:lnTo>
                  <a:lnTo>
                    <a:pt x="18313" y="8214"/>
                  </a:lnTo>
                  <a:lnTo>
                    <a:pt x="17609" y="8214"/>
                  </a:lnTo>
                  <a:lnTo>
                    <a:pt x="17139" y="8823"/>
                  </a:lnTo>
                  <a:lnTo>
                    <a:pt x="17139" y="8214"/>
                  </a:lnTo>
                  <a:lnTo>
                    <a:pt x="16200" y="8214"/>
                  </a:lnTo>
                  <a:lnTo>
                    <a:pt x="16200" y="8823"/>
                  </a:lnTo>
                  <a:lnTo>
                    <a:pt x="15965" y="8823"/>
                  </a:lnTo>
                  <a:lnTo>
                    <a:pt x="15496" y="8214"/>
                  </a:lnTo>
                  <a:lnTo>
                    <a:pt x="13383" y="8214"/>
                  </a:lnTo>
                  <a:lnTo>
                    <a:pt x="13383" y="7910"/>
                  </a:lnTo>
                  <a:lnTo>
                    <a:pt x="12678" y="7910"/>
                  </a:lnTo>
                  <a:lnTo>
                    <a:pt x="12678" y="7301"/>
                  </a:lnTo>
                  <a:lnTo>
                    <a:pt x="12209" y="7301"/>
                  </a:lnTo>
                  <a:lnTo>
                    <a:pt x="12209" y="7910"/>
                  </a:lnTo>
                  <a:lnTo>
                    <a:pt x="11504" y="7910"/>
                  </a:lnTo>
                  <a:lnTo>
                    <a:pt x="11504" y="8214"/>
                  </a:lnTo>
                  <a:lnTo>
                    <a:pt x="10565" y="8214"/>
                  </a:lnTo>
                  <a:lnTo>
                    <a:pt x="10565" y="8823"/>
                  </a:lnTo>
                  <a:lnTo>
                    <a:pt x="9861" y="8823"/>
                  </a:lnTo>
                  <a:lnTo>
                    <a:pt x="9861" y="8214"/>
                  </a:lnTo>
                  <a:lnTo>
                    <a:pt x="9391" y="8214"/>
                  </a:lnTo>
                  <a:lnTo>
                    <a:pt x="9391" y="7910"/>
                  </a:lnTo>
                  <a:lnTo>
                    <a:pt x="8217" y="7910"/>
                  </a:lnTo>
                  <a:lnTo>
                    <a:pt x="8217" y="10952"/>
                  </a:lnTo>
                  <a:lnTo>
                    <a:pt x="8922" y="10952"/>
                  </a:lnTo>
                  <a:lnTo>
                    <a:pt x="8922" y="12169"/>
                  </a:lnTo>
                  <a:lnTo>
                    <a:pt x="9861" y="12169"/>
                  </a:lnTo>
                  <a:lnTo>
                    <a:pt x="9861" y="12473"/>
                  </a:lnTo>
                  <a:lnTo>
                    <a:pt x="10096" y="12473"/>
                  </a:lnTo>
                  <a:lnTo>
                    <a:pt x="10096" y="13082"/>
                  </a:lnTo>
                  <a:lnTo>
                    <a:pt x="9861" y="13082"/>
                  </a:lnTo>
                  <a:lnTo>
                    <a:pt x="9861" y="13690"/>
                  </a:lnTo>
                  <a:lnTo>
                    <a:pt x="10096" y="13690"/>
                  </a:lnTo>
                  <a:lnTo>
                    <a:pt x="10096" y="14299"/>
                  </a:lnTo>
                  <a:lnTo>
                    <a:pt x="10565" y="14603"/>
                  </a:lnTo>
                  <a:lnTo>
                    <a:pt x="11035" y="14603"/>
                  </a:lnTo>
                  <a:lnTo>
                    <a:pt x="11035" y="15211"/>
                  </a:lnTo>
                  <a:lnTo>
                    <a:pt x="11504" y="15211"/>
                  </a:lnTo>
                  <a:lnTo>
                    <a:pt x="11504" y="15820"/>
                  </a:lnTo>
                  <a:lnTo>
                    <a:pt x="11739" y="15820"/>
                  </a:lnTo>
                  <a:lnTo>
                    <a:pt x="11739" y="16428"/>
                  </a:lnTo>
                  <a:lnTo>
                    <a:pt x="12209" y="16732"/>
                  </a:lnTo>
                  <a:lnTo>
                    <a:pt x="12678" y="16732"/>
                  </a:lnTo>
                  <a:lnTo>
                    <a:pt x="12678" y="17341"/>
                  </a:lnTo>
                  <a:lnTo>
                    <a:pt x="13148" y="17341"/>
                  </a:lnTo>
                  <a:lnTo>
                    <a:pt x="13383" y="17949"/>
                  </a:lnTo>
                  <a:lnTo>
                    <a:pt x="13852" y="17949"/>
                  </a:lnTo>
                  <a:lnTo>
                    <a:pt x="13852" y="18558"/>
                  </a:lnTo>
                  <a:lnTo>
                    <a:pt x="14322" y="18558"/>
                  </a:lnTo>
                  <a:lnTo>
                    <a:pt x="14322" y="19470"/>
                  </a:lnTo>
                  <a:lnTo>
                    <a:pt x="14791" y="19470"/>
                  </a:lnTo>
                  <a:lnTo>
                    <a:pt x="14791" y="20687"/>
                  </a:lnTo>
                  <a:lnTo>
                    <a:pt x="13852" y="20687"/>
                  </a:lnTo>
                  <a:lnTo>
                    <a:pt x="13383" y="20079"/>
                  </a:lnTo>
                  <a:lnTo>
                    <a:pt x="13148" y="20079"/>
                  </a:lnTo>
                  <a:lnTo>
                    <a:pt x="13148" y="19470"/>
                  </a:lnTo>
                  <a:lnTo>
                    <a:pt x="12209" y="19470"/>
                  </a:lnTo>
                  <a:lnTo>
                    <a:pt x="12209" y="18862"/>
                  </a:lnTo>
                  <a:lnTo>
                    <a:pt x="11739" y="18862"/>
                  </a:lnTo>
                  <a:lnTo>
                    <a:pt x="11739" y="18558"/>
                  </a:lnTo>
                  <a:lnTo>
                    <a:pt x="11504" y="18558"/>
                  </a:lnTo>
                  <a:lnTo>
                    <a:pt x="11035" y="17949"/>
                  </a:lnTo>
                  <a:lnTo>
                    <a:pt x="9391" y="17949"/>
                  </a:lnTo>
                  <a:lnTo>
                    <a:pt x="9391" y="17341"/>
                  </a:lnTo>
                  <a:lnTo>
                    <a:pt x="8922" y="17341"/>
                  </a:lnTo>
                  <a:lnTo>
                    <a:pt x="8922" y="16732"/>
                  </a:lnTo>
                  <a:lnTo>
                    <a:pt x="8452" y="16732"/>
                  </a:lnTo>
                  <a:lnTo>
                    <a:pt x="8452" y="16428"/>
                  </a:lnTo>
                  <a:lnTo>
                    <a:pt x="7748" y="16428"/>
                  </a:lnTo>
                  <a:lnTo>
                    <a:pt x="7278" y="15820"/>
                  </a:lnTo>
                  <a:lnTo>
                    <a:pt x="6809" y="15820"/>
                  </a:lnTo>
                  <a:lnTo>
                    <a:pt x="6809" y="15211"/>
                  </a:lnTo>
                  <a:lnTo>
                    <a:pt x="6574" y="14603"/>
                  </a:lnTo>
                  <a:lnTo>
                    <a:pt x="6574" y="14299"/>
                  </a:lnTo>
                  <a:lnTo>
                    <a:pt x="6104" y="14299"/>
                  </a:lnTo>
                  <a:lnTo>
                    <a:pt x="6104" y="13082"/>
                  </a:lnTo>
                  <a:lnTo>
                    <a:pt x="6574" y="13082"/>
                  </a:lnTo>
                  <a:lnTo>
                    <a:pt x="6574" y="13690"/>
                  </a:lnTo>
                  <a:lnTo>
                    <a:pt x="7278" y="13690"/>
                  </a:lnTo>
                  <a:lnTo>
                    <a:pt x="6809" y="13082"/>
                  </a:lnTo>
                  <a:lnTo>
                    <a:pt x="6574" y="13082"/>
                  </a:lnTo>
                  <a:lnTo>
                    <a:pt x="6104" y="12473"/>
                  </a:lnTo>
                  <a:lnTo>
                    <a:pt x="5635" y="12473"/>
                  </a:lnTo>
                  <a:lnTo>
                    <a:pt x="5635" y="11561"/>
                  </a:lnTo>
                  <a:lnTo>
                    <a:pt x="5165" y="11561"/>
                  </a:lnTo>
                  <a:lnTo>
                    <a:pt x="5165" y="10039"/>
                  </a:lnTo>
                  <a:lnTo>
                    <a:pt x="4930" y="9431"/>
                  </a:lnTo>
                  <a:lnTo>
                    <a:pt x="4930" y="8823"/>
                  </a:lnTo>
                  <a:lnTo>
                    <a:pt x="4461" y="8214"/>
                  </a:lnTo>
                  <a:lnTo>
                    <a:pt x="3991" y="8214"/>
                  </a:lnTo>
                  <a:lnTo>
                    <a:pt x="3991" y="7910"/>
                  </a:lnTo>
                  <a:lnTo>
                    <a:pt x="3287" y="7910"/>
                  </a:lnTo>
                  <a:lnTo>
                    <a:pt x="3287" y="7301"/>
                  </a:lnTo>
                  <a:lnTo>
                    <a:pt x="2817" y="7301"/>
                  </a:lnTo>
                  <a:lnTo>
                    <a:pt x="2817" y="7910"/>
                  </a:lnTo>
                  <a:lnTo>
                    <a:pt x="2348" y="8214"/>
                  </a:lnTo>
                  <a:lnTo>
                    <a:pt x="2348" y="8823"/>
                  </a:lnTo>
                  <a:lnTo>
                    <a:pt x="1878" y="8823"/>
                  </a:lnTo>
                  <a:lnTo>
                    <a:pt x="1643" y="9431"/>
                  </a:lnTo>
                  <a:lnTo>
                    <a:pt x="1643" y="10344"/>
                  </a:lnTo>
                  <a:lnTo>
                    <a:pt x="1174" y="10344"/>
                  </a:lnTo>
                  <a:lnTo>
                    <a:pt x="1174" y="10039"/>
                  </a:lnTo>
                  <a:lnTo>
                    <a:pt x="704" y="10039"/>
                  </a:lnTo>
                  <a:lnTo>
                    <a:pt x="704" y="9431"/>
                  </a:lnTo>
                  <a:lnTo>
                    <a:pt x="235" y="9431"/>
                  </a:lnTo>
                  <a:lnTo>
                    <a:pt x="235" y="8214"/>
                  </a:lnTo>
                  <a:lnTo>
                    <a:pt x="0" y="8214"/>
                  </a:lnTo>
                  <a:lnTo>
                    <a:pt x="0" y="6085"/>
                  </a:lnTo>
                  <a:lnTo>
                    <a:pt x="3287" y="6085"/>
                  </a:lnTo>
                  <a:lnTo>
                    <a:pt x="3522" y="5780"/>
                  </a:lnTo>
                  <a:lnTo>
                    <a:pt x="3522" y="5172"/>
                  </a:lnTo>
                  <a:lnTo>
                    <a:pt x="3991" y="5172"/>
                  </a:lnTo>
                  <a:lnTo>
                    <a:pt x="3991" y="5780"/>
                  </a:lnTo>
                  <a:lnTo>
                    <a:pt x="4461" y="6085"/>
                  </a:lnTo>
                  <a:lnTo>
                    <a:pt x="5635" y="6085"/>
                  </a:lnTo>
                  <a:lnTo>
                    <a:pt x="6104" y="6693"/>
                  </a:lnTo>
                  <a:lnTo>
                    <a:pt x="6574" y="6085"/>
                  </a:lnTo>
                  <a:lnTo>
                    <a:pt x="6574" y="5780"/>
                  </a:lnTo>
                  <a:lnTo>
                    <a:pt x="6809" y="5172"/>
                  </a:lnTo>
                  <a:lnTo>
                    <a:pt x="6574" y="5172"/>
                  </a:lnTo>
                  <a:lnTo>
                    <a:pt x="6574" y="4563"/>
                  </a:lnTo>
                  <a:lnTo>
                    <a:pt x="6809" y="4563"/>
                  </a:lnTo>
                  <a:lnTo>
                    <a:pt x="6809" y="4259"/>
                  </a:lnTo>
                  <a:lnTo>
                    <a:pt x="7748" y="4259"/>
                  </a:lnTo>
                  <a:lnTo>
                    <a:pt x="7748" y="3651"/>
                  </a:lnTo>
                  <a:lnTo>
                    <a:pt x="8217" y="3651"/>
                  </a:lnTo>
                  <a:lnTo>
                    <a:pt x="8217" y="2434"/>
                  </a:lnTo>
                  <a:lnTo>
                    <a:pt x="7748" y="2434"/>
                  </a:lnTo>
                  <a:lnTo>
                    <a:pt x="7748" y="2130"/>
                  </a:lnTo>
                  <a:lnTo>
                    <a:pt x="8452" y="2130"/>
                  </a:lnTo>
                  <a:lnTo>
                    <a:pt x="8452" y="1521"/>
                  </a:lnTo>
                  <a:lnTo>
                    <a:pt x="9391" y="1521"/>
                  </a:lnTo>
                  <a:lnTo>
                    <a:pt x="9391" y="913"/>
                  </a:lnTo>
                  <a:lnTo>
                    <a:pt x="10096" y="913"/>
                  </a:lnTo>
                  <a:lnTo>
                    <a:pt x="10096" y="0"/>
                  </a:lnTo>
                  <a:close/>
                  <a:moveTo>
                    <a:pt x="10096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25" name="Freeform 77"/>
            <p:cNvSpPr>
              <a:spLocks/>
            </p:cNvSpPr>
            <p:nvPr/>
          </p:nvSpPr>
          <p:spPr bwMode="auto">
            <a:xfrm>
              <a:off x="8245721" y="4647949"/>
              <a:ext cx="519941" cy="284065"/>
            </a:xfrm>
            <a:custGeom>
              <a:avLst/>
              <a:gdLst/>
              <a:ahLst/>
              <a:cxnLst>
                <a:cxn ang="0">
                  <a:pos x="1080" y="745"/>
                </a:cxn>
                <a:cxn ang="0">
                  <a:pos x="2376" y="1117"/>
                </a:cxn>
                <a:cxn ang="0">
                  <a:pos x="1944" y="2607"/>
                </a:cxn>
                <a:cxn ang="0">
                  <a:pos x="3888" y="3352"/>
                </a:cxn>
                <a:cxn ang="0">
                  <a:pos x="5616" y="4469"/>
                </a:cxn>
                <a:cxn ang="0">
                  <a:pos x="7560" y="3724"/>
                </a:cxn>
                <a:cxn ang="0">
                  <a:pos x="8640" y="3724"/>
                </a:cxn>
                <a:cxn ang="0">
                  <a:pos x="10152" y="4469"/>
                </a:cxn>
                <a:cxn ang="0">
                  <a:pos x="10584" y="4469"/>
                </a:cxn>
                <a:cxn ang="0">
                  <a:pos x="13608" y="2607"/>
                </a:cxn>
                <a:cxn ang="0">
                  <a:pos x="15552" y="1117"/>
                </a:cxn>
                <a:cxn ang="0">
                  <a:pos x="18792" y="1862"/>
                </a:cxn>
                <a:cxn ang="0">
                  <a:pos x="20088" y="3352"/>
                </a:cxn>
                <a:cxn ang="0">
                  <a:pos x="21600" y="3724"/>
                </a:cxn>
                <a:cxn ang="0">
                  <a:pos x="21168" y="6331"/>
                </a:cxn>
                <a:cxn ang="0">
                  <a:pos x="19656" y="7076"/>
                </a:cxn>
                <a:cxn ang="0">
                  <a:pos x="19224" y="11545"/>
                </a:cxn>
                <a:cxn ang="0">
                  <a:pos x="18144" y="12290"/>
                </a:cxn>
                <a:cxn ang="0">
                  <a:pos x="18576" y="14152"/>
                </a:cxn>
                <a:cxn ang="0">
                  <a:pos x="19224" y="15641"/>
                </a:cxn>
                <a:cxn ang="0">
                  <a:pos x="18576" y="16759"/>
                </a:cxn>
                <a:cxn ang="0">
                  <a:pos x="17280" y="16386"/>
                </a:cxn>
                <a:cxn ang="0">
                  <a:pos x="16200" y="16386"/>
                </a:cxn>
                <a:cxn ang="0">
                  <a:pos x="14688" y="16386"/>
                </a:cxn>
                <a:cxn ang="0">
                  <a:pos x="14040" y="18248"/>
                </a:cxn>
                <a:cxn ang="0">
                  <a:pos x="13176" y="18993"/>
                </a:cxn>
                <a:cxn ang="0">
                  <a:pos x="12744" y="21600"/>
                </a:cxn>
                <a:cxn ang="0">
                  <a:pos x="8208" y="20855"/>
                </a:cxn>
                <a:cxn ang="0">
                  <a:pos x="7560" y="19366"/>
                </a:cxn>
                <a:cxn ang="0">
                  <a:pos x="6048" y="19366"/>
                </a:cxn>
                <a:cxn ang="0">
                  <a:pos x="4968" y="20855"/>
                </a:cxn>
                <a:cxn ang="0">
                  <a:pos x="2592" y="21600"/>
                </a:cxn>
                <a:cxn ang="0">
                  <a:pos x="2376" y="19366"/>
                </a:cxn>
                <a:cxn ang="0">
                  <a:pos x="2376" y="18993"/>
                </a:cxn>
                <a:cxn ang="0">
                  <a:pos x="1944" y="16386"/>
                </a:cxn>
                <a:cxn ang="0">
                  <a:pos x="432" y="15641"/>
                </a:cxn>
                <a:cxn ang="0">
                  <a:pos x="432" y="14152"/>
                </a:cxn>
                <a:cxn ang="0">
                  <a:pos x="864" y="12290"/>
                </a:cxn>
                <a:cxn ang="0">
                  <a:pos x="432" y="10428"/>
                </a:cxn>
                <a:cxn ang="0">
                  <a:pos x="1512" y="9683"/>
                </a:cxn>
                <a:cxn ang="0">
                  <a:pos x="1944" y="8566"/>
                </a:cxn>
                <a:cxn ang="0">
                  <a:pos x="1944" y="7821"/>
                </a:cxn>
                <a:cxn ang="0">
                  <a:pos x="1512" y="6331"/>
                </a:cxn>
                <a:cxn ang="0">
                  <a:pos x="432" y="5959"/>
                </a:cxn>
                <a:cxn ang="0">
                  <a:pos x="0" y="3352"/>
                </a:cxn>
                <a:cxn ang="0">
                  <a:pos x="864" y="1862"/>
                </a:cxn>
              </a:cxnLst>
              <a:rect l="0" t="0" r="r" b="b"/>
              <a:pathLst>
                <a:path w="21600" h="21600">
                  <a:moveTo>
                    <a:pt x="864" y="0"/>
                  </a:moveTo>
                  <a:lnTo>
                    <a:pt x="1080" y="0"/>
                  </a:lnTo>
                  <a:lnTo>
                    <a:pt x="1080" y="745"/>
                  </a:lnTo>
                  <a:lnTo>
                    <a:pt x="1944" y="745"/>
                  </a:lnTo>
                  <a:lnTo>
                    <a:pt x="1944" y="1117"/>
                  </a:lnTo>
                  <a:lnTo>
                    <a:pt x="2376" y="1117"/>
                  </a:lnTo>
                  <a:lnTo>
                    <a:pt x="2376" y="1862"/>
                  </a:lnTo>
                  <a:lnTo>
                    <a:pt x="1944" y="1862"/>
                  </a:lnTo>
                  <a:lnTo>
                    <a:pt x="1944" y="2607"/>
                  </a:lnTo>
                  <a:lnTo>
                    <a:pt x="1512" y="2607"/>
                  </a:lnTo>
                  <a:lnTo>
                    <a:pt x="1512" y="3352"/>
                  </a:lnTo>
                  <a:lnTo>
                    <a:pt x="3888" y="3352"/>
                  </a:lnTo>
                  <a:lnTo>
                    <a:pt x="3888" y="3724"/>
                  </a:lnTo>
                  <a:lnTo>
                    <a:pt x="5184" y="3724"/>
                  </a:lnTo>
                  <a:lnTo>
                    <a:pt x="5616" y="4469"/>
                  </a:lnTo>
                  <a:lnTo>
                    <a:pt x="6696" y="4469"/>
                  </a:lnTo>
                  <a:lnTo>
                    <a:pt x="6696" y="3724"/>
                  </a:lnTo>
                  <a:lnTo>
                    <a:pt x="7560" y="3724"/>
                  </a:lnTo>
                  <a:lnTo>
                    <a:pt x="7560" y="4469"/>
                  </a:lnTo>
                  <a:lnTo>
                    <a:pt x="8640" y="4469"/>
                  </a:lnTo>
                  <a:lnTo>
                    <a:pt x="8640" y="3724"/>
                  </a:lnTo>
                  <a:lnTo>
                    <a:pt x="9072" y="3724"/>
                  </a:lnTo>
                  <a:lnTo>
                    <a:pt x="9072" y="4469"/>
                  </a:lnTo>
                  <a:lnTo>
                    <a:pt x="10152" y="4469"/>
                  </a:lnTo>
                  <a:lnTo>
                    <a:pt x="10152" y="5214"/>
                  </a:lnTo>
                  <a:lnTo>
                    <a:pt x="10584" y="5214"/>
                  </a:lnTo>
                  <a:lnTo>
                    <a:pt x="10584" y="4469"/>
                  </a:lnTo>
                  <a:lnTo>
                    <a:pt x="11664" y="4469"/>
                  </a:lnTo>
                  <a:lnTo>
                    <a:pt x="12744" y="2607"/>
                  </a:lnTo>
                  <a:lnTo>
                    <a:pt x="13608" y="2607"/>
                  </a:lnTo>
                  <a:lnTo>
                    <a:pt x="13608" y="1862"/>
                  </a:lnTo>
                  <a:lnTo>
                    <a:pt x="15552" y="1862"/>
                  </a:lnTo>
                  <a:lnTo>
                    <a:pt x="15552" y="1117"/>
                  </a:lnTo>
                  <a:lnTo>
                    <a:pt x="17280" y="1117"/>
                  </a:lnTo>
                  <a:lnTo>
                    <a:pt x="17280" y="1862"/>
                  </a:lnTo>
                  <a:lnTo>
                    <a:pt x="18792" y="1862"/>
                  </a:lnTo>
                  <a:lnTo>
                    <a:pt x="18792" y="2607"/>
                  </a:lnTo>
                  <a:lnTo>
                    <a:pt x="20088" y="2607"/>
                  </a:lnTo>
                  <a:lnTo>
                    <a:pt x="20088" y="3352"/>
                  </a:lnTo>
                  <a:lnTo>
                    <a:pt x="21168" y="3352"/>
                  </a:lnTo>
                  <a:lnTo>
                    <a:pt x="21168" y="3724"/>
                  </a:lnTo>
                  <a:lnTo>
                    <a:pt x="21600" y="3724"/>
                  </a:lnTo>
                  <a:lnTo>
                    <a:pt x="21600" y="5959"/>
                  </a:lnTo>
                  <a:lnTo>
                    <a:pt x="21168" y="5959"/>
                  </a:lnTo>
                  <a:lnTo>
                    <a:pt x="21168" y="6331"/>
                  </a:lnTo>
                  <a:lnTo>
                    <a:pt x="20304" y="6331"/>
                  </a:lnTo>
                  <a:lnTo>
                    <a:pt x="20304" y="7076"/>
                  </a:lnTo>
                  <a:lnTo>
                    <a:pt x="19656" y="7076"/>
                  </a:lnTo>
                  <a:lnTo>
                    <a:pt x="19656" y="7821"/>
                  </a:lnTo>
                  <a:lnTo>
                    <a:pt x="19224" y="8566"/>
                  </a:lnTo>
                  <a:lnTo>
                    <a:pt x="19224" y="11545"/>
                  </a:lnTo>
                  <a:lnTo>
                    <a:pt x="18792" y="11545"/>
                  </a:lnTo>
                  <a:lnTo>
                    <a:pt x="18576" y="12290"/>
                  </a:lnTo>
                  <a:lnTo>
                    <a:pt x="18144" y="12290"/>
                  </a:lnTo>
                  <a:lnTo>
                    <a:pt x="18144" y="13034"/>
                  </a:lnTo>
                  <a:lnTo>
                    <a:pt x="18576" y="13034"/>
                  </a:lnTo>
                  <a:lnTo>
                    <a:pt x="18576" y="14152"/>
                  </a:lnTo>
                  <a:lnTo>
                    <a:pt x="18792" y="14152"/>
                  </a:lnTo>
                  <a:lnTo>
                    <a:pt x="19224" y="14897"/>
                  </a:lnTo>
                  <a:lnTo>
                    <a:pt x="19224" y="15641"/>
                  </a:lnTo>
                  <a:lnTo>
                    <a:pt x="19656" y="16386"/>
                  </a:lnTo>
                  <a:lnTo>
                    <a:pt x="18576" y="16386"/>
                  </a:lnTo>
                  <a:lnTo>
                    <a:pt x="18576" y="16759"/>
                  </a:lnTo>
                  <a:lnTo>
                    <a:pt x="17712" y="16759"/>
                  </a:lnTo>
                  <a:lnTo>
                    <a:pt x="17712" y="16386"/>
                  </a:lnTo>
                  <a:lnTo>
                    <a:pt x="17280" y="16386"/>
                  </a:lnTo>
                  <a:lnTo>
                    <a:pt x="17280" y="15641"/>
                  </a:lnTo>
                  <a:lnTo>
                    <a:pt x="16200" y="15641"/>
                  </a:lnTo>
                  <a:lnTo>
                    <a:pt x="16200" y="16386"/>
                  </a:lnTo>
                  <a:lnTo>
                    <a:pt x="15120" y="16386"/>
                  </a:lnTo>
                  <a:lnTo>
                    <a:pt x="15120" y="16759"/>
                  </a:lnTo>
                  <a:lnTo>
                    <a:pt x="14688" y="16386"/>
                  </a:lnTo>
                  <a:lnTo>
                    <a:pt x="14688" y="17503"/>
                  </a:lnTo>
                  <a:lnTo>
                    <a:pt x="14040" y="17503"/>
                  </a:lnTo>
                  <a:lnTo>
                    <a:pt x="14040" y="18248"/>
                  </a:lnTo>
                  <a:lnTo>
                    <a:pt x="12744" y="18248"/>
                  </a:lnTo>
                  <a:lnTo>
                    <a:pt x="12744" y="18993"/>
                  </a:lnTo>
                  <a:lnTo>
                    <a:pt x="13176" y="18993"/>
                  </a:lnTo>
                  <a:lnTo>
                    <a:pt x="13176" y="20855"/>
                  </a:lnTo>
                  <a:lnTo>
                    <a:pt x="12744" y="20855"/>
                  </a:lnTo>
                  <a:lnTo>
                    <a:pt x="12744" y="21600"/>
                  </a:lnTo>
                  <a:lnTo>
                    <a:pt x="9504" y="21600"/>
                  </a:lnTo>
                  <a:lnTo>
                    <a:pt x="9072" y="20855"/>
                  </a:lnTo>
                  <a:lnTo>
                    <a:pt x="8208" y="20855"/>
                  </a:lnTo>
                  <a:lnTo>
                    <a:pt x="8208" y="20110"/>
                  </a:lnTo>
                  <a:lnTo>
                    <a:pt x="7560" y="20110"/>
                  </a:lnTo>
                  <a:lnTo>
                    <a:pt x="7560" y="19366"/>
                  </a:lnTo>
                  <a:lnTo>
                    <a:pt x="6480" y="19366"/>
                  </a:lnTo>
                  <a:lnTo>
                    <a:pt x="6480" y="20110"/>
                  </a:lnTo>
                  <a:lnTo>
                    <a:pt x="6048" y="19366"/>
                  </a:lnTo>
                  <a:lnTo>
                    <a:pt x="6048" y="20110"/>
                  </a:lnTo>
                  <a:lnTo>
                    <a:pt x="4968" y="20110"/>
                  </a:lnTo>
                  <a:lnTo>
                    <a:pt x="4968" y="20855"/>
                  </a:lnTo>
                  <a:lnTo>
                    <a:pt x="3024" y="20855"/>
                  </a:lnTo>
                  <a:lnTo>
                    <a:pt x="3024" y="21600"/>
                  </a:lnTo>
                  <a:lnTo>
                    <a:pt x="2592" y="21600"/>
                  </a:lnTo>
                  <a:lnTo>
                    <a:pt x="2592" y="20855"/>
                  </a:lnTo>
                  <a:lnTo>
                    <a:pt x="2376" y="20855"/>
                  </a:lnTo>
                  <a:lnTo>
                    <a:pt x="2376" y="19366"/>
                  </a:lnTo>
                  <a:lnTo>
                    <a:pt x="1944" y="19366"/>
                  </a:lnTo>
                  <a:lnTo>
                    <a:pt x="1944" y="18993"/>
                  </a:lnTo>
                  <a:lnTo>
                    <a:pt x="2376" y="18993"/>
                  </a:lnTo>
                  <a:lnTo>
                    <a:pt x="2376" y="17503"/>
                  </a:lnTo>
                  <a:lnTo>
                    <a:pt x="1944" y="17503"/>
                  </a:lnTo>
                  <a:lnTo>
                    <a:pt x="1944" y="16386"/>
                  </a:lnTo>
                  <a:lnTo>
                    <a:pt x="1080" y="16386"/>
                  </a:lnTo>
                  <a:lnTo>
                    <a:pt x="1080" y="15641"/>
                  </a:lnTo>
                  <a:lnTo>
                    <a:pt x="432" y="15641"/>
                  </a:lnTo>
                  <a:lnTo>
                    <a:pt x="432" y="14897"/>
                  </a:lnTo>
                  <a:lnTo>
                    <a:pt x="0" y="14152"/>
                  </a:lnTo>
                  <a:lnTo>
                    <a:pt x="432" y="14152"/>
                  </a:lnTo>
                  <a:lnTo>
                    <a:pt x="432" y="13779"/>
                  </a:lnTo>
                  <a:lnTo>
                    <a:pt x="864" y="13779"/>
                  </a:lnTo>
                  <a:lnTo>
                    <a:pt x="864" y="12290"/>
                  </a:lnTo>
                  <a:lnTo>
                    <a:pt x="0" y="12290"/>
                  </a:lnTo>
                  <a:lnTo>
                    <a:pt x="432" y="11545"/>
                  </a:lnTo>
                  <a:lnTo>
                    <a:pt x="432" y="10428"/>
                  </a:lnTo>
                  <a:lnTo>
                    <a:pt x="864" y="10428"/>
                  </a:lnTo>
                  <a:lnTo>
                    <a:pt x="864" y="9683"/>
                  </a:lnTo>
                  <a:lnTo>
                    <a:pt x="1512" y="9683"/>
                  </a:lnTo>
                  <a:lnTo>
                    <a:pt x="1512" y="8938"/>
                  </a:lnTo>
                  <a:lnTo>
                    <a:pt x="1944" y="8938"/>
                  </a:lnTo>
                  <a:lnTo>
                    <a:pt x="1944" y="8566"/>
                  </a:lnTo>
                  <a:lnTo>
                    <a:pt x="2376" y="8566"/>
                  </a:lnTo>
                  <a:lnTo>
                    <a:pt x="2376" y="7821"/>
                  </a:lnTo>
                  <a:lnTo>
                    <a:pt x="1944" y="7821"/>
                  </a:lnTo>
                  <a:lnTo>
                    <a:pt x="1944" y="7076"/>
                  </a:lnTo>
                  <a:lnTo>
                    <a:pt x="1512" y="7076"/>
                  </a:lnTo>
                  <a:lnTo>
                    <a:pt x="1512" y="6331"/>
                  </a:lnTo>
                  <a:lnTo>
                    <a:pt x="1080" y="6331"/>
                  </a:lnTo>
                  <a:lnTo>
                    <a:pt x="864" y="5959"/>
                  </a:lnTo>
                  <a:lnTo>
                    <a:pt x="432" y="5959"/>
                  </a:lnTo>
                  <a:lnTo>
                    <a:pt x="432" y="4469"/>
                  </a:lnTo>
                  <a:lnTo>
                    <a:pt x="0" y="4469"/>
                  </a:lnTo>
                  <a:lnTo>
                    <a:pt x="0" y="3352"/>
                  </a:lnTo>
                  <a:lnTo>
                    <a:pt x="432" y="2607"/>
                  </a:lnTo>
                  <a:lnTo>
                    <a:pt x="432" y="1862"/>
                  </a:lnTo>
                  <a:lnTo>
                    <a:pt x="864" y="1862"/>
                  </a:lnTo>
                  <a:lnTo>
                    <a:pt x="864" y="0"/>
                  </a:lnTo>
                  <a:close/>
                  <a:moveTo>
                    <a:pt x="864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26" name="Freeform 78"/>
            <p:cNvSpPr>
              <a:spLocks/>
            </p:cNvSpPr>
            <p:nvPr/>
          </p:nvSpPr>
          <p:spPr bwMode="auto">
            <a:xfrm>
              <a:off x="7697082" y="4567364"/>
              <a:ext cx="320743" cy="255860"/>
            </a:xfrm>
            <a:custGeom>
              <a:avLst/>
              <a:gdLst/>
              <a:ahLst/>
              <a:cxnLst>
                <a:cxn ang="0">
                  <a:pos x="1742" y="0"/>
                </a:cxn>
                <a:cxn ang="0">
                  <a:pos x="2439" y="415"/>
                </a:cxn>
                <a:cxn ang="0">
                  <a:pos x="4181" y="1246"/>
                </a:cxn>
                <a:cxn ang="0">
                  <a:pos x="4877" y="415"/>
                </a:cxn>
                <a:cxn ang="0">
                  <a:pos x="5226" y="0"/>
                </a:cxn>
                <a:cxn ang="0">
                  <a:pos x="5923" y="415"/>
                </a:cxn>
                <a:cxn ang="0">
                  <a:pos x="7316" y="0"/>
                </a:cxn>
                <a:cxn ang="0">
                  <a:pos x="10800" y="415"/>
                </a:cxn>
                <a:cxn ang="0">
                  <a:pos x="11845" y="1246"/>
                </a:cxn>
                <a:cxn ang="0">
                  <a:pos x="12542" y="415"/>
                </a:cxn>
                <a:cxn ang="0">
                  <a:pos x="13935" y="1246"/>
                </a:cxn>
                <a:cxn ang="0">
                  <a:pos x="14981" y="415"/>
                </a:cxn>
                <a:cxn ang="0">
                  <a:pos x="16723" y="1246"/>
                </a:cxn>
                <a:cxn ang="0">
                  <a:pos x="18813" y="2908"/>
                </a:cxn>
                <a:cxn ang="0">
                  <a:pos x="19161" y="2077"/>
                </a:cxn>
                <a:cxn ang="0">
                  <a:pos x="19858" y="2908"/>
                </a:cxn>
                <a:cxn ang="0">
                  <a:pos x="19161" y="4154"/>
                </a:cxn>
                <a:cxn ang="0">
                  <a:pos x="18813" y="5815"/>
                </a:cxn>
                <a:cxn ang="0">
                  <a:pos x="19161" y="7062"/>
                </a:cxn>
                <a:cxn ang="0">
                  <a:pos x="20555" y="7892"/>
                </a:cxn>
                <a:cxn ang="0">
                  <a:pos x="21252" y="8723"/>
                </a:cxn>
                <a:cxn ang="0">
                  <a:pos x="21600" y="9138"/>
                </a:cxn>
                <a:cxn ang="0">
                  <a:pos x="19858" y="9969"/>
                </a:cxn>
                <a:cxn ang="0">
                  <a:pos x="20555" y="10800"/>
                </a:cxn>
                <a:cxn ang="0">
                  <a:pos x="21252" y="12046"/>
                </a:cxn>
                <a:cxn ang="0">
                  <a:pos x="19858" y="12877"/>
                </a:cxn>
                <a:cxn ang="0">
                  <a:pos x="18116" y="13708"/>
                </a:cxn>
                <a:cxn ang="0">
                  <a:pos x="18813" y="14954"/>
                </a:cxn>
                <a:cxn ang="0">
                  <a:pos x="18116" y="15785"/>
                </a:cxn>
                <a:cxn ang="0">
                  <a:pos x="16723" y="14954"/>
                </a:cxn>
                <a:cxn ang="0">
                  <a:pos x="16374" y="15785"/>
                </a:cxn>
                <a:cxn ang="0">
                  <a:pos x="14981" y="17446"/>
                </a:cxn>
                <a:cxn ang="0">
                  <a:pos x="15677" y="19523"/>
                </a:cxn>
                <a:cxn ang="0">
                  <a:pos x="16374" y="20769"/>
                </a:cxn>
                <a:cxn ang="0">
                  <a:pos x="15677" y="21600"/>
                </a:cxn>
                <a:cxn ang="0">
                  <a:pos x="14981" y="20769"/>
                </a:cxn>
                <a:cxn ang="0">
                  <a:pos x="13935" y="20354"/>
                </a:cxn>
                <a:cxn ang="0">
                  <a:pos x="12542" y="19523"/>
                </a:cxn>
                <a:cxn ang="0">
                  <a:pos x="11845" y="18692"/>
                </a:cxn>
                <a:cxn ang="0">
                  <a:pos x="10800" y="17446"/>
                </a:cxn>
                <a:cxn ang="0">
                  <a:pos x="10103" y="16615"/>
                </a:cxn>
                <a:cxn ang="0">
                  <a:pos x="9755" y="15785"/>
                </a:cxn>
                <a:cxn ang="0">
                  <a:pos x="9058" y="14538"/>
                </a:cxn>
                <a:cxn ang="0">
                  <a:pos x="7665" y="13708"/>
                </a:cxn>
                <a:cxn ang="0">
                  <a:pos x="5923" y="12046"/>
                </a:cxn>
                <a:cxn ang="0">
                  <a:pos x="5226" y="11631"/>
                </a:cxn>
                <a:cxn ang="0">
                  <a:pos x="4877" y="10800"/>
                </a:cxn>
                <a:cxn ang="0">
                  <a:pos x="4181" y="9969"/>
                </a:cxn>
                <a:cxn ang="0">
                  <a:pos x="3484" y="9138"/>
                </a:cxn>
                <a:cxn ang="0">
                  <a:pos x="2787" y="8723"/>
                </a:cxn>
                <a:cxn ang="0">
                  <a:pos x="2439" y="7892"/>
                </a:cxn>
                <a:cxn ang="0">
                  <a:pos x="2787" y="7062"/>
                </a:cxn>
                <a:cxn ang="0">
                  <a:pos x="2439" y="6231"/>
                </a:cxn>
                <a:cxn ang="0">
                  <a:pos x="1742" y="4985"/>
                </a:cxn>
                <a:cxn ang="0">
                  <a:pos x="0" y="4154"/>
                </a:cxn>
                <a:cxn ang="0">
                  <a:pos x="0" y="0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1742" y="0"/>
                  </a:lnTo>
                  <a:lnTo>
                    <a:pt x="1742" y="415"/>
                  </a:lnTo>
                  <a:lnTo>
                    <a:pt x="2439" y="415"/>
                  </a:lnTo>
                  <a:lnTo>
                    <a:pt x="2439" y="1246"/>
                  </a:lnTo>
                  <a:lnTo>
                    <a:pt x="4181" y="1246"/>
                  </a:lnTo>
                  <a:lnTo>
                    <a:pt x="4181" y="415"/>
                  </a:lnTo>
                  <a:lnTo>
                    <a:pt x="4877" y="415"/>
                  </a:lnTo>
                  <a:lnTo>
                    <a:pt x="4877" y="0"/>
                  </a:lnTo>
                  <a:lnTo>
                    <a:pt x="5226" y="0"/>
                  </a:lnTo>
                  <a:lnTo>
                    <a:pt x="5226" y="415"/>
                  </a:lnTo>
                  <a:lnTo>
                    <a:pt x="5923" y="415"/>
                  </a:lnTo>
                  <a:lnTo>
                    <a:pt x="5923" y="0"/>
                  </a:lnTo>
                  <a:lnTo>
                    <a:pt x="7316" y="0"/>
                  </a:lnTo>
                  <a:lnTo>
                    <a:pt x="7665" y="415"/>
                  </a:lnTo>
                  <a:lnTo>
                    <a:pt x="10800" y="415"/>
                  </a:lnTo>
                  <a:lnTo>
                    <a:pt x="10800" y="1246"/>
                  </a:lnTo>
                  <a:lnTo>
                    <a:pt x="11845" y="1246"/>
                  </a:lnTo>
                  <a:lnTo>
                    <a:pt x="11845" y="415"/>
                  </a:lnTo>
                  <a:lnTo>
                    <a:pt x="12542" y="415"/>
                  </a:lnTo>
                  <a:lnTo>
                    <a:pt x="13239" y="1246"/>
                  </a:lnTo>
                  <a:lnTo>
                    <a:pt x="13935" y="1246"/>
                  </a:lnTo>
                  <a:lnTo>
                    <a:pt x="13935" y="415"/>
                  </a:lnTo>
                  <a:lnTo>
                    <a:pt x="14981" y="415"/>
                  </a:lnTo>
                  <a:lnTo>
                    <a:pt x="14981" y="1246"/>
                  </a:lnTo>
                  <a:lnTo>
                    <a:pt x="16723" y="1246"/>
                  </a:lnTo>
                  <a:lnTo>
                    <a:pt x="16723" y="2908"/>
                  </a:lnTo>
                  <a:lnTo>
                    <a:pt x="18813" y="2908"/>
                  </a:lnTo>
                  <a:lnTo>
                    <a:pt x="18813" y="2077"/>
                  </a:lnTo>
                  <a:lnTo>
                    <a:pt x="19161" y="2077"/>
                  </a:lnTo>
                  <a:lnTo>
                    <a:pt x="19161" y="2908"/>
                  </a:lnTo>
                  <a:lnTo>
                    <a:pt x="19858" y="2908"/>
                  </a:lnTo>
                  <a:lnTo>
                    <a:pt x="19858" y="4154"/>
                  </a:lnTo>
                  <a:lnTo>
                    <a:pt x="19161" y="4154"/>
                  </a:lnTo>
                  <a:lnTo>
                    <a:pt x="19161" y="5815"/>
                  </a:lnTo>
                  <a:lnTo>
                    <a:pt x="18813" y="5815"/>
                  </a:lnTo>
                  <a:lnTo>
                    <a:pt x="18813" y="7062"/>
                  </a:lnTo>
                  <a:lnTo>
                    <a:pt x="19161" y="7062"/>
                  </a:lnTo>
                  <a:lnTo>
                    <a:pt x="19161" y="7892"/>
                  </a:lnTo>
                  <a:lnTo>
                    <a:pt x="20555" y="7892"/>
                  </a:lnTo>
                  <a:lnTo>
                    <a:pt x="20555" y="8723"/>
                  </a:lnTo>
                  <a:lnTo>
                    <a:pt x="21252" y="8723"/>
                  </a:lnTo>
                  <a:lnTo>
                    <a:pt x="21252" y="9138"/>
                  </a:lnTo>
                  <a:lnTo>
                    <a:pt x="21600" y="9138"/>
                  </a:lnTo>
                  <a:lnTo>
                    <a:pt x="21600" y="9969"/>
                  </a:lnTo>
                  <a:lnTo>
                    <a:pt x="19858" y="9969"/>
                  </a:lnTo>
                  <a:lnTo>
                    <a:pt x="19858" y="10800"/>
                  </a:lnTo>
                  <a:lnTo>
                    <a:pt x="20555" y="10800"/>
                  </a:lnTo>
                  <a:lnTo>
                    <a:pt x="20555" y="11631"/>
                  </a:lnTo>
                  <a:lnTo>
                    <a:pt x="21252" y="12046"/>
                  </a:lnTo>
                  <a:lnTo>
                    <a:pt x="21252" y="12877"/>
                  </a:lnTo>
                  <a:lnTo>
                    <a:pt x="19858" y="12877"/>
                  </a:lnTo>
                  <a:lnTo>
                    <a:pt x="19858" y="13708"/>
                  </a:lnTo>
                  <a:lnTo>
                    <a:pt x="18116" y="13708"/>
                  </a:lnTo>
                  <a:lnTo>
                    <a:pt x="18116" y="14538"/>
                  </a:lnTo>
                  <a:lnTo>
                    <a:pt x="18813" y="14954"/>
                  </a:lnTo>
                  <a:lnTo>
                    <a:pt x="18813" y="15785"/>
                  </a:lnTo>
                  <a:lnTo>
                    <a:pt x="18116" y="15785"/>
                  </a:lnTo>
                  <a:lnTo>
                    <a:pt x="18116" y="14954"/>
                  </a:lnTo>
                  <a:lnTo>
                    <a:pt x="16723" y="14954"/>
                  </a:lnTo>
                  <a:lnTo>
                    <a:pt x="16723" y="15785"/>
                  </a:lnTo>
                  <a:lnTo>
                    <a:pt x="16374" y="15785"/>
                  </a:lnTo>
                  <a:lnTo>
                    <a:pt x="16374" y="17446"/>
                  </a:lnTo>
                  <a:lnTo>
                    <a:pt x="14981" y="17446"/>
                  </a:lnTo>
                  <a:lnTo>
                    <a:pt x="14981" y="19523"/>
                  </a:lnTo>
                  <a:lnTo>
                    <a:pt x="15677" y="19523"/>
                  </a:lnTo>
                  <a:lnTo>
                    <a:pt x="15677" y="20354"/>
                  </a:lnTo>
                  <a:lnTo>
                    <a:pt x="16374" y="20769"/>
                  </a:lnTo>
                  <a:lnTo>
                    <a:pt x="15677" y="20769"/>
                  </a:lnTo>
                  <a:lnTo>
                    <a:pt x="15677" y="21600"/>
                  </a:lnTo>
                  <a:lnTo>
                    <a:pt x="14981" y="21600"/>
                  </a:lnTo>
                  <a:lnTo>
                    <a:pt x="14981" y="20769"/>
                  </a:lnTo>
                  <a:lnTo>
                    <a:pt x="13935" y="20769"/>
                  </a:lnTo>
                  <a:lnTo>
                    <a:pt x="13935" y="20354"/>
                  </a:lnTo>
                  <a:lnTo>
                    <a:pt x="12542" y="20354"/>
                  </a:lnTo>
                  <a:lnTo>
                    <a:pt x="12542" y="19523"/>
                  </a:lnTo>
                  <a:lnTo>
                    <a:pt x="11845" y="19523"/>
                  </a:lnTo>
                  <a:lnTo>
                    <a:pt x="11845" y="18692"/>
                  </a:lnTo>
                  <a:lnTo>
                    <a:pt x="10800" y="18692"/>
                  </a:lnTo>
                  <a:lnTo>
                    <a:pt x="10800" y="17446"/>
                  </a:lnTo>
                  <a:lnTo>
                    <a:pt x="10103" y="17446"/>
                  </a:lnTo>
                  <a:lnTo>
                    <a:pt x="10103" y="16615"/>
                  </a:lnTo>
                  <a:lnTo>
                    <a:pt x="9755" y="16615"/>
                  </a:lnTo>
                  <a:lnTo>
                    <a:pt x="9755" y="15785"/>
                  </a:lnTo>
                  <a:lnTo>
                    <a:pt x="9058" y="15785"/>
                  </a:lnTo>
                  <a:lnTo>
                    <a:pt x="9058" y="14538"/>
                  </a:lnTo>
                  <a:lnTo>
                    <a:pt x="8361" y="13708"/>
                  </a:lnTo>
                  <a:lnTo>
                    <a:pt x="7665" y="13708"/>
                  </a:lnTo>
                  <a:lnTo>
                    <a:pt x="6619" y="12046"/>
                  </a:lnTo>
                  <a:lnTo>
                    <a:pt x="5923" y="12046"/>
                  </a:lnTo>
                  <a:lnTo>
                    <a:pt x="5923" y="11631"/>
                  </a:lnTo>
                  <a:lnTo>
                    <a:pt x="5226" y="11631"/>
                  </a:lnTo>
                  <a:lnTo>
                    <a:pt x="5226" y="10800"/>
                  </a:lnTo>
                  <a:lnTo>
                    <a:pt x="4877" y="10800"/>
                  </a:lnTo>
                  <a:lnTo>
                    <a:pt x="4877" y="9969"/>
                  </a:lnTo>
                  <a:lnTo>
                    <a:pt x="4181" y="9969"/>
                  </a:lnTo>
                  <a:lnTo>
                    <a:pt x="4181" y="9138"/>
                  </a:lnTo>
                  <a:lnTo>
                    <a:pt x="3484" y="9138"/>
                  </a:lnTo>
                  <a:lnTo>
                    <a:pt x="3484" y="8723"/>
                  </a:lnTo>
                  <a:lnTo>
                    <a:pt x="2787" y="8723"/>
                  </a:lnTo>
                  <a:lnTo>
                    <a:pt x="2787" y="7892"/>
                  </a:lnTo>
                  <a:lnTo>
                    <a:pt x="2439" y="7892"/>
                  </a:lnTo>
                  <a:lnTo>
                    <a:pt x="2439" y="7062"/>
                  </a:lnTo>
                  <a:lnTo>
                    <a:pt x="2787" y="7062"/>
                  </a:lnTo>
                  <a:lnTo>
                    <a:pt x="2787" y="6231"/>
                  </a:lnTo>
                  <a:lnTo>
                    <a:pt x="2439" y="6231"/>
                  </a:lnTo>
                  <a:lnTo>
                    <a:pt x="2439" y="4985"/>
                  </a:lnTo>
                  <a:lnTo>
                    <a:pt x="1742" y="4985"/>
                  </a:lnTo>
                  <a:lnTo>
                    <a:pt x="1045" y="4154"/>
                  </a:lnTo>
                  <a:lnTo>
                    <a:pt x="0" y="4154"/>
                  </a:lnTo>
                  <a:lnTo>
                    <a:pt x="0" y="0"/>
                  </a:lnTo>
                  <a:close/>
                  <a:moveTo>
                    <a:pt x="0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27" name="Freeform 79"/>
            <p:cNvSpPr>
              <a:spLocks/>
            </p:cNvSpPr>
            <p:nvPr/>
          </p:nvSpPr>
          <p:spPr bwMode="auto">
            <a:xfrm>
              <a:off x="6594739" y="3920661"/>
              <a:ext cx="315679" cy="201465"/>
            </a:xfrm>
            <a:custGeom>
              <a:avLst/>
              <a:gdLst/>
              <a:ahLst/>
              <a:cxnLst>
                <a:cxn ang="0">
                  <a:pos x="13102" y="0"/>
                </a:cxn>
                <a:cxn ang="0">
                  <a:pos x="14872" y="527"/>
                </a:cxn>
                <a:cxn ang="0">
                  <a:pos x="15580" y="2634"/>
                </a:cxn>
                <a:cxn ang="0">
                  <a:pos x="17351" y="3688"/>
                </a:cxn>
                <a:cxn ang="0">
                  <a:pos x="18767" y="6322"/>
                </a:cxn>
                <a:cxn ang="0">
                  <a:pos x="18059" y="7902"/>
                </a:cxn>
                <a:cxn ang="0">
                  <a:pos x="19121" y="8956"/>
                </a:cxn>
                <a:cxn ang="0">
                  <a:pos x="20538" y="10010"/>
                </a:cxn>
                <a:cxn ang="0">
                  <a:pos x="21246" y="11590"/>
                </a:cxn>
                <a:cxn ang="0">
                  <a:pos x="21600" y="13698"/>
                </a:cxn>
                <a:cxn ang="0">
                  <a:pos x="21246" y="14224"/>
                </a:cxn>
                <a:cxn ang="0">
                  <a:pos x="20538" y="15278"/>
                </a:cxn>
                <a:cxn ang="0">
                  <a:pos x="19830" y="14224"/>
                </a:cxn>
                <a:cxn ang="0">
                  <a:pos x="19121" y="16332"/>
                </a:cxn>
                <a:cxn ang="0">
                  <a:pos x="18767" y="18966"/>
                </a:cxn>
                <a:cxn ang="0">
                  <a:pos x="19121" y="21600"/>
                </a:cxn>
                <a:cxn ang="0">
                  <a:pos x="16289" y="21073"/>
                </a:cxn>
                <a:cxn ang="0">
                  <a:pos x="15580" y="20020"/>
                </a:cxn>
                <a:cxn ang="0">
                  <a:pos x="14872" y="18966"/>
                </a:cxn>
                <a:cxn ang="0">
                  <a:pos x="13102" y="17385"/>
                </a:cxn>
                <a:cxn ang="0">
                  <a:pos x="12393" y="16332"/>
                </a:cxn>
                <a:cxn ang="0">
                  <a:pos x="13102" y="14224"/>
                </a:cxn>
                <a:cxn ang="0">
                  <a:pos x="12393" y="15278"/>
                </a:cxn>
                <a:cxn ang="0">
                  <a:pos x="12039" y="16332"/>
                </a:cxn>
                <a:cxn ang="0">
                  <a:pos x="11331" y="17385"/>
                </a:cxn>
                <a:cxn ang="0">
                  <a:pos x="9561" y="13698"/>
                </a:cxn>
                <a:cxn ang="0">
                  <a:pos x="8852" y="12644"/>
                </a:cxn>
                <a:cxn ang="0">
                  <a:pos x="7082" y="13698"/>
                </a:cxn>
                <a:cxn ang="0">
                  <a:pos x="6374" y="12644"/>
                </a:cxn>
                <a:cxn ang="0">
                  <a:pos x="4603" y="11063"/>
                </a:cxn>
                <a:cxn ang="0">
                  <a:pos x="3895" y="8956"/>
                </a:cxn>
                <a:cxn ang="0">
                  <a:pos x="2479" y="7902"/>
                </a:cxn>
                <a:cxn ang="0">
                  <a:pos x="2125" y="7902"/>
                </a:cxn>
                <a:cxn ang="0">
                  <a:pos x="1416" y="7376"/>
                </a:cxn>
                <a:cxn ang="0">
                  <a:pos x="708" y="5268"/>
                </a:cxn>
                <a:cxn ang="0">
                  <a:pos x="708" y="4215"/>
                </a:cxn>
                <a:cxn ang="0">
                  <a:pos x="2125" y="3688"/>
                </a:cxn>
                <a:cxn ang="0">
                  <a:pos x="3187" y="2634"/>
                </a:cxn>
                <a:cxn ang="0">
                  <a:pos x="4603" y="1580"/>
                </a:cxn>
                <a:cxn ang="0">
                  <a:pos x="7082" y="2634"/>
                </a:cxn>
                <a:cxn ang="0">
                  <a:pos x="8144" y="3688"/>
                </a:cxn>
                <a:cxn ang="0">
                  <a:pos x="9561" y="2634"/>
                </a:cxn>
                <a:cxn ang="0">
                  <a:pos x="10623" y="1580"/>
                </a:cxn>
                <a:cxn ang="0">
                  <a:pos x="12393" y="527"/>
                </a:cxn>
                <a:cxn ang="0">
                  <a:pos x="12393" y="0"/>
                </a:cxn>
              </a:cxnLst>
              <a:rect l="0" t="0" r="r" b="b"/>
              <a:pathLst>
                <a:path w="21600" h="21600">
                  <a:moveTo>
                    <a:pt x="12393" y="0"/>
                  </a:moveTo>
                  <a:lnTo>
                    <a:pt x="13102" y="0"/>
                  </a:lnTo>
                  <a:lnTo>
                    <a:pt x="13102" y="527"/>
                  </a:lnTo>
                  <a:lnTo>
                    <a:pt x="14872" y="527"/>
                  </a:lnTo>
                  <a:lnTo>
                    <a:pt x="14872" y="1580"/>
                  </a:lnTo>
                  <a:lnTo>
                    <a:pt x="15580" y="2634"/>
                  </a:lnTo>
                  <a:lnTo>
                    <a:pt x="17351" y="2634"/>
                  </a:lnTo>
                  <a:lnTo>
                    <a:pt x="17351" y="3688"/>
                  </a:lnTo>
                  <a:lnTo>
                    <a:pt x="18767" y="3688"/>
                  </a:lnTo>
                  <a:lnTo>
                    <a:pt x="18767" y="6322"/>
                  </a:lnTo>
                  <a:lnTo>
                    <a:pt x="18059" y="6322"/>
                  </a:lnTo>
                  <a:lnTo>
                    <a:pt x="18059" y="7902"/>
                  </a:lnTo>
                  <a:lnTo>
                    <a:pt x="19121" y="7902"/>
                  </a:lnTo>
                  <a:lnTo>
                    <a:pt x="19121" y="8956"/>
                  </a:lnTo>
                  <a:lnTo>
                    <a:pt x="20538" y="8956"/>
                  </a:lnTo>
                  <a:lnTo>
                    <a:pt x="20538" y="10010"/>
                  </a:lnTo>
                  <a:lnTo>
                    <a:pt x="21246" y="10010"/>
                  </a:lnTo>
                  <a:lnTo>
                    <a:pt x="21246" y="11590"/>
                  </a:lnTo>
                  <a:lnTo>
                    <a:pt x="21600" y="11590"/>
                  </a:lnTo>
                  <a:lnTo>
                    <a:pt x="21600" y="13698"/>
                  </a:lnTo>
                  <a:lnTo>
                    <a:pt x="21246" y="13698"/>
                  </a:lnTo>
                  <a:lnTo>
                    <a:pt x="21246" y="14224"/>
                  </a:lnTo>
                  <a:lnTo>
                    <a:pt x="20538" y="14224"/>
                  </a:lnTo>
                  <a:lnTo>
                    <a:pt x="20538" y="15278"/>
                  </a:lnTo>
                  <a:lnTo>
                    <a:pt x="19830" y="15278"/>
                  </a:lnTo>
                  <a:lnTo>
                    <a:pt x="19830" y="14224"/>
                  </a:lnTo>
                  <a:lnTo>
                    <a:pt x="19121" y="14224"/>
                  </a:lnTo>
                  <a:lnTo>
                    <a:pt x="19121" y="16332"/>
                  </a:lnTo>
                  <a:lnTo>
                    <a:pt x="18767" y="16332"/>
                  </a:lnTo>
                  <a:lnTo>
                    <a:pt x="18767" y="18966"/>
                  </a:lnTo>
                  <a:lnTo>
                    <a:pt x="19121" y="18966"/>
                  </a:lnTo>
                  <a:lnTo>
                    <a:pt x="19121" y="21600"/>
                  </a:lnTo>
                  <a:lnTo>
                    <a:pt x="16289" y="21600"/>
                  </a:lnTo>
                  <a:lnTo>
                    <a:pt x="16289" y="21073"/>
                  </a:lnTo>
                  <a:lnTo>
                    <a:pt x="15580" y="21073"/>
                  </a:lnTo>
                  <a:lnTo>
                    <a:pt x="15580" y="20020"/>
                  </a:lnTo>
                  <a:lnTo>
                    <a:pt x="14872" y="20020"/>
                  </a:lnTo>
                  <a:lnTo>
                    <a:pt x="14872" y="18966"/>
                  </a:lnTo>
                  <a:lnTo>
                    <a:pt x="13102" y="18966"/>
                  </a:lnTo>
                  <a:lnTo>
                    <a:pt x="13102" y="17385"/>
                  </a:lnTo>
                  <a:lnTo>
                    <a:pt x="12393" y="17385"/>
                  </a:lnTo>
                  <a:lnTo>
                    <a:pt x="12393" y="16332"/>
                  </a:lnTo>
                  <a:lnTo>
                    <a:pt x="13102" y="15278"/>
                  </a:lnTo>
                  <a:lnTo>
                    <a:pt x="13102" y="14224"/>
                  </a:lnTo>
                  <a:lnTo>
                    <a:pt x="12393" y="14224"/>
                  </a:lnTo>
                  <a:lnTo>
                    <a:pt x="12393" y="15278"/>
                  </a:lnTo>
                  <a:lnTo>
                    <a:pt x="12039" y="15278"/>
                  </a:lnTo>
                  <a:lnTo>
                    <a:pt x="12039" y="16332"/>
                  </a:lnTo>
                  <a:lnTo>
                    <a:pt x="11331" y="16332"/>
                  </a:lnTo>
                  <a:lnTo>
                    <a:pt x="11331" y="17385"/>
                  </a:lnTo>
                  <a:lnTo>
                    <a:pt x="9561" y="17385"/>
                  </a:lnTo>
                  <a:lnTo>
                    <a:pt x="9561" y="13698"/>
                  </a:lnTo>
                  <a:lnTo>
                    <a:pt x="8852" y="13698"/>
                  </a:lnTo>
                  <a:lnTo>
                    <a:pt x="8852" y="12644"/>
                  </a:lnTo>
                  <a:lnTo>
                    <a:pt x="7436" y="12644"/>
                  </a:lnTo>
                  <a:lnTo>
                    <a:pt x="7082" y="13698"/>
                  </a:lnTo>
                  <a:lnTo>
                    <a:pt x="7082" y="12644"/>
                  </a:lnTo>
                  <a:lnTo>
                    <a:pt x="6374" y="12644"/>
                  </a:lnTo>
                  <a:lnTo>
                    <a:pt x="6374" y="11063"/>
                  </a:lnTo>
                  <a:lnTo>
                    <a:pt x="4603" y="11063"/>
                  </a:lnTo>
                  <a:lnTo>
                    <a:pt x="4603" y="8956"/>
                  </a:lnTo>
                  <a:lnTo>
                    <a:pt x="3895" y="8956"/>
                  </a:lnTo>
                  <a:lnTo>
                    <a:pt x="3895" y="7902"/>
                  </a:lnTo>
                  <a:lnTo>
                    <a:pt x="2479" y="7902"/>
                  </a:lnTo>
                  <a:lnTo>
                    <a:pt x="2125" y="8956"/>
                  </a:lnTo>
                  <a:lnTo>
                    <a:pt x="2125" y="7902"/>
                  </a:lnTo>
                  <a:lnTo>
                    <a:pt x="1416" y="7902"/>
                  </a:lnTo>
                  <a:lnTo>
                    <a:pt x="1416" y="7376"/>
                  </a:lnTo>
                  <a:lnTo>
                    <a:pt x="708" y="7376"/>
                  </a:lnTo>
                  <a:lnTo>
                    <a:pt x="708" y="5268"/>
                  </a:lnTo>
                  <a:lnTo>
                    <a:pt x="0" y="4215"/>
                  </a:lnTo>
                  <a:lnTo>
                    <a:pt x="708" y="4215"/>
                  </a:lnTo>
                  <a:lnTo>
                    <a:pt x="708" y="3688"/>
                  </a:lnTo>
                  <a:lnTo>
                    <a:pt x="2125" y="3688"/>
                  </a:lnTo>
                  <a:lnTo>
                    <a:pt x="2479" y="2634"/>
                  </a:lnTo>
                  <a:lnTo>
                    <a:pt x="3187" y="2634"/>
                  </a:lnTo>
                  <a:lnTo>
                    <a:pt x="3895" y="1580"/>
                  </a:lnTo>
                  <a:lnTo>
                    <a:pt x="4603" y="1580"/>
                  </a:lnTo>
                  <a:lnTo>
                    <a:pt x="4603" y="2634"/>
                  </a:lnTo>
                  <a:lnTo>
                    <a:pt x="7082" y="2634"/>
                  </a:lnTo>
                  <a:lnTo>
                    <a:pt x="7436" y="3688"/>
                  </a:lnTo>
                  <a:lnTo>
                    <a:pt x="8144" y="3688"/>
                  </a:lnTo>
                  <a:lnTo>
                    <a:pt x="8852" y="2634"/>
                  </a:lnTo>
                  <a:lnTo>
                    <a:pt x="9561" y="2634"/>
                  </a:lnTo>
                  <a:lnTo>
                    <a:pt x="9561" y="1580"/>
                  </a:lnTo>
                  <a:lnTo>
                    <a:pt x="10623" y="1580"/>
                  </a:lnTo>
                  <a:lnTo>
                    <a:pt x="10623" y="527"/>
                  </a:lnTo>
                  <a:lnTo>
                    <a:pt x="12393" y="527"/>
                  </a:lnTo>
                  <a:lnTo>
                    <a:pt x="12393" y="0"/>
                  </a:lnTo>
                  <a:close/>
                  <a:moveTo>
                    <a:pt x="12393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28" name="Freeform 80"/>
            <p:cNvSpPr>
              <a:spLocks/>
            </p:cNvSpPr>
            <p:nvPr/>
          </p:nvSpPr>
          <p:spPr bwMode="auto">
            <a:xfrm>
              <a:off x="8318310" y="3421029"/>
              <a:ext cx="790040" cy="525824"/>
            </a:xfrm>
            <a:custGeom>
              <a:avLst/>
              <a:gdLst/>
              <a:ahLst/>
              <a:cxnLst>
                <a:cxn ang="0">
                  <a:pos x="11937" y="404"/>
                </a:cxn>
                <a:cxn ang="0">
                  <a:pos x="13216" y="1211"/>
                </a:cxn>
                <a:cxn ang="0">
                  <a:pos x="13926" y="1413"/>
                </a:cxn>
                <a:cxn ang="0">
                  <a:pos x="16342" y="1413"/>
                </a:cxn>
                <a:cxn ang="0">
                  <a:pos x="17053" y="2221"/>
                </a:cxn>
                <a:cxn ang="0">
                  <a:pos x="17621" y="2826"/>
                </a:cxn>
                <a:cxn ang="0">
                  <a:pos x="17621" y="4643"/>
                </a:cxn>
                <a:cxn ang="0">
                  <a:pos x="17053" y="6056"/>
                </a:cxn>
                <a:cxn ang="0">
                  <a:pos x="18047" y="6864"/>
                </a:cxn>
                <a:cxn ang="0">
                  <a:pos x="18900" y="8479"/>
                </a:cxn>
                <a:cxn ang="0">
                  <a:pos x="19611" y="10295"/>
                </a:cxn>
                <a:cxn ang="0">
                  <a:pos x="19895" y="10901"/>
                </a:cxn>
                <a:cxn ang="0">
                  <a:pos x="20889" y="11708"/>
                </a:cxn>
                <a:cxn ang="0">
                  <a:pos x="21600" y="12718"/>
                </a:cxn>
                <a:cxn ang="0">
                  <a:pos x="20605" y="13525"/>
                </a:cxn>
                <a:cxn ang="0">
                  <a:pos x="19895" y="13525"/>
                </a:cxn>
                <a:cxn ang="0">
                  <a:pos x="18616" y="14938"/>
                </a:cxn>
                <a:cxn ang="0">
                  <a:pos x="19042" y="17361"/>
                </a:cxn>
                <a:cxn ang="0">
                  <a:pos x="19042" y="18370"/>
                </a:cxn>
                <a:cxn ang="0">
                  <a:pos x="18616" y="17764"/>
                </a:cxn>
                <a:cxn ang="0">
                  <a:pos x="17905" y="18370"/>
                </a:cxn>
                <a:cxn ang="0">
                  <a:pos x="17053" y="18370"/>
                </a:cxn>
                <a:cxn ang="0">
                  <a:pos x="16626" y="19379"/>
                </a:cxn>
                <a:cxn ang="0">
                  <a:pos x="16058" y="21196"/>
                </a:cxn>
                <a:cxn ang="0">
                  <a:pos x="14921" y="20591"/>
                </a:cxn>
                <a:cxn ang="0">
                  <a:pos x="13926" y="20793"/>
                </a:cxn>
                <a:cxn ang="0">
                  <a:pos x="13216" y="20591"/>
                </a:cxn>
                <a:cxn ang="0">
                  <a:pos x="12363" y="20793"/>
                </a:cxn>
                <a:cxn ang="0">
                  <a:pos x="11653" y="20187"/>
                </a:cxn>
                <a:cxn ang="0">
                  <a:pos x="11226" y="20187"/>
                </a:cxn>
                <a:cxn ang="0">
                  <a:pos x="10232" y="20187"/>
                </a:cxn>
                <a:cxn ang="0">
                  <a:pos x="8953" y="20187"/>
                </a:cxn>
                <a:cxn ang="0">
                  <a:pos x="7247" y="19379"/>
                </a:cxn>
                <a:cxn ang="0">
                  <a:pos x="4405" y="18774"/>
                </a:cxn>
                <a:cxn ang="0">
                  <a:pos x="3268" y="18774"/>
                </a:cxn>
                <a:cxn ang="0">
                  <a:pos x="2274" y="19783"/>
                </a:cxn>
                <a:cxn ang="0">
                  <a:pos x="1279" y="20591"/>
                </a:cxn>
                <a:cxn ang="0">
                  <a:pos x="711" y="18774"/>
                </a:cxn>
                <a:cxn ang="0">
                  <a:pos x="711" y="17764"/>
                </a:cxn>
                <a:cxn ang="0">
                  <a:pos x="0" y="16957"/>
                </a:cxn>
                <a:cxn ang="0">
                  <a:pos x="568" y="16351"/>
                </a:cxn>
                <a:cxn ang="0">
                  <a:pos x="1279" y="15544"/>
                </a:cxn>
                <a:cxn ang="0">
                  <a:pos x="1279" y="12314"/>
                </a:cxn>
                <a:cxn ang="0">
                  <a:pos x="711" y="10901"/>
                </a:cxn>
                <a:cxn ang="0">
                  <a:pos x="2274" y="10295"/>
                </a:cxn>
                <a:cxn ang="0">
                  <a:pos x="3695" y="9488"/>
                </a:cxn>
                <a:cxn ang="0">
                  <a:pos x="5258" y="8479"/>
                </a:cxn>
                <a:cxn ang="0">
                  <a:pos x="5400" y="8479"/>
                </a:cxn>
                <a:cxn ang="0">
                  <a:pos x="5968" y="6056"/>
                </a:cxn>
                <a:cxn ang="0">
                  <a:pos x="6679" y="5450"/>
                </a:cxn>
                <a:cxn ang="0">
                  <a:pos x="7389" y="4643"/>
                </a:cxn>
                <a:cxn ang="0">
                  <a:pos x="7389" y="4037"/>
                </a:cxn>
                <a:cxn ang="0">
                  <a:pos x="8242" y="2221"/>
                </a:cxn>
                <a:cxn ang="0">
                  <a:pos x="9947" y="1211"/>
                </a:cxn>
                <a:cxn ang="0">
                  <a:pos x="10374" y="404"/>
                </a:cxn>
              </a:cxnLst>
              <a:rect l="0" t="0" r="r" b="b"/>
              <a:pathLst>
                <a:path w="21600" h="21600">
                  <a:moveTo>
                    <a:pt x="10942" y="0"/>
                  </a:moveTo>
                  <a:lnTo>
                    <a:pt x="11368" y="0"/>
                  </a:lnTo>
                  <a:lnTo>
                    <a:pt x="11653" y="404"/>
                  </a:lnTo>
                  <a:lnTo>
                    <a:pt x="11937" y="404"/>
                  </a:lnTo>
                  <a:lnTo>
                    <a:pt x="11937" y="807"/>
                  </a:lnTo>
                  <a:lnTo>
                    <a:pt x="12363" y="807"/>
                  </a:lnTo>
                  <a:lnTo>
                    <a:pt x="12363" y="1211"/>
                  </a:lnTo>
                  <a:lnTo>
                    <a:pt x="13216" y="1211"/>
                  </a:lnTo>
                  <a:lnTo>
                    <a:pt x="13216" y="807"/>
                  </a:lnTo>
                  <a:lnTo>
                    <a:pt x="13642" y="807"/>
                  </a:lnTo>
                  <a:lnTo>
                    <a:pt x="13926" y="1211"/>
                  </a:lnTo>
                  <a:lnTo>
                    <a:pt x="13926" y="1413"/>
                  </a:lnTo>
                  <a:lnTo>
                    <a:pt x="14211" y="1817"/>
                  </a:lnTo>
                  <a:lnTo>
                    <a:pt x="14921" y="1817"/>
                  </a:lnTo>
                  <a:lnTo>
                    <a:pt x="14921" y="1413"/>
                  </a:lnTo>
                  <a:lnTo>
                    <a:pt x="16342" y="1413"/>
                  </a:lnTo>
                  <a:lnTo>
                    <a:pt x="16342" y="1817"/>
                  </a:lnTo>
                  <a:lnTo>
                    <a:pt x="16911" y="1817"/>
                  </a:lnTo>
                  <a:lnTo>
                    <a:pt x="16911" y="2221"/>
                  </a:lnTo>
                  <a:lnTo>
                    <a:pt x="17053" y="2221"/>
                  </a:lnTo>
                  <a:lnTo>
                    <a:pt x="17053" y="2624"/>
                  </a:lnTo>
                  <a:lnTo>
                    <a:pt x="17337" y="2624"/>
                  </a:lnTo>
                  <a:lnTo>
                    <a:pt x="17337" y="2826"/>
                  </a:lnTo>
                  <a:lnTo>
                    <a:pt x="17621" y="2826"/>
                  </a:lnTo>
                  <a:lnTo>
                    <a:pt x="17621" y="3634"/>
                  </a:lnTo>
                  <a:lnTo>
                    <a:pt x="17337" y="3634"/>
                  </a:lnTo>
                  <a:lnTo>
                    <a:pt x="17337" y="4239"/>
                  </a:lnTo>
                  <a:lnTo>
                    <a:pt x="17621" y="4643"/>
                  </a:lnTo>
                  <a:lnTo>
                    <a:pt x="17621" y="5450"/>
                  </a:lnTo>
                  <a:lnTo>
                    <a:pt x="17337" y="5450"/>
                  </a:lnTo>
                  <a:lnTo>
                    <a:pt x="17337" y="5652"/>
                  </a:lnTo>
                  <a:lnTo>
                    <a:pt x="17053" y="6056"/>
                  </a:lnTo>
                  <a:lnTo>
                    <a:pt x="17337" y="6460"/>
                  </a:lnTo>
                  <a:lnTo>
                    <a:pt x="17621" y="6460"/>
                  </a:lnTo>
                  <a:lnTo>
                    <a:pt x="17621" y="6864"/>
                  </a:lnTo>
                  <a:lnTo>
                    <a:pt x="18047" y="6864"/>
                  </a:lnTo>
                  <a:lnTo>
                    <a:pt x="18047" y="7873"/>
                  </a:lnTo>
                  <a:lnTo>
                    <a:pt x="18332" y="8075"/>
                  </a:lnTo>
                  <a:lnTo>
                    <a:pt x="18332" y="8479"/>
                  </a:lnTo>
                  <a:lnTo>
                    <a:pt x="18900" y="8479"/>
                  </a:lnTo>
                  <a:lnTo>
                    <a:pt x="18900" y="8882"/>
                  </a:lnTo>
                  <a:lnTo>
                    <a:pt x="19326" y="9488"/>
                  </a:lnTo>
                  <a:lnTo>
                    <a:pt x="19611" y="9488"/>
                  </a:lnTo>
                  <a:lnTo>
                    <a:pt x="19611" y="10295"/>
                  </a:lnTo>
                  <a:lnTo>
                    <a:pt x="19326" y="10295"/>
                  </a:lnTo>
                  <a:lnTo>
                    <a:pt x="19326" y="10699"/>
                  </a:lnTo>
                  <a:lnTo>
                    <a:pt x="19895" y="10699"/>
                  </a:lnTo>
                  <a:lnTo>
                    <a:pt x="19895" y="10901"/>
                  </a:lnTo>
                  <a:lnTo>
                    <a:pt x="21032" y="10901"/>
                  </a:lnTo>
                  <a:lnTo>
                    <a:pt x="21032" y="11305"/>
                  </a:lnTo>
                  <a:lnTo>
                    <a:pt x="20889" y="11305"/>
                  </a:lnTo>
                  <a:lnTo>
                    <a:pt x="20889" y="11708"/>
                  </a:lnTo>
                  <a:lnTo>
                    <a:pt x="21032" y="11708"/>
                  </a:lnTo>
                  <a:lnTo>
                    <a:pt x="21032" y="12112"/>
                  </a:lnTo>
                  <a:lnTo>
                    <a:pt x="21600" y="12112"/>
                  </a:lnTo>
                  <a:lnTo>
                    <a:pt x="21600" y="12718"/>
                  </a:lnTo>
                  <a:lnTo>
                    <a:pt x="21032" y="12718"/>
                  </a:lnTo>
                  <a:lnTo>
                    <a:pt x="20889" y="13121"/>
                  </a:lnTo>
                  <a:lnTo>
                    <a:pt x="20605" y="13121"/>
                  </a:lnTo>
                  <a:lnTo>
                    <a:pt x="20605" y="13525"/>
                  </a:lnTo>
                  <a:lnTo>
                    <a:pt x="20321" y="13525"/>
                  </a:lnTo>
                  <a:lnTo>
                    <a:pt x="20321" y="13727"/>
                  </a:lnTo>
                  <a:lnTo>
                    <a:pt x="20037" y="13727"/>
                  </a:lnTo>
                  <a:lnTo>
                    <a:pt x="19895" y="13525"/>
                  </a:lnTo>
                  <a:lnTo>
                    <a:pt x="18332" y="13525"/>
                  </a:lnTo>
                  <a:lnTo>
                    <a:pt x="18332" y="13727"/>
                  </a:lnTo>
                  <a:lnTo>
                    <a:pt x="18616" y="14131"/>
                  </a:lnTo>
                  <a:lnTo>
                    <a:pt x="18616" y="14938"/>
                  </a:lnTo>
                  <a:lnTo>
                    <a:pt x="19042" y="15544"/>
                  </a:lnTo>
                  <a:lnTo>
                    <a:pt x="18900" y="15948"/>
                  </a:lnTo>
                  <a:lnTo>
                    <a:pt x="18900" y="17361"/>
                  </a:lnTo>
                  <a:lnTo>
                    <a:pt x="19042" y="17361"/>
                  </a:lnTo>
                  <a:lnTo>
                    <a:pt x="19611" y="17966"/>
                  </a:lnTo>
                  <a:lnTo>
                    <a:pt x="19326" y="17966"/>
                  </a:lnTo>
                  <a:lnTo>
                    <a:pt x="19326" y="18370"/>
                  </a:lnTo>
                  <a:lnTo>
                    <a:pt x="19042" y="18370"/>
                  </a:lnTo>
                  <a:lnTo>
                    <a:pt x="19042" y="17966"/>
                  </a:lnTo>
                  <a:lnTo>
                    <a:pt x="18900" y="17966"/>
                  </a:lnTo>
                  <a:lnTo>
                    <a:pt x="18900" y="17764"/>
                  </a:lnTo>
                  <a:lnTo>
                    <a:pt x="18616" y="17764"/>
                  </a:lnTo>
                  <a:lnTo>
                    <a:pt x="18616" y="17966"/>
                  </a:lnTo>
                  <a:lnTo>
                    <a:pt x="18047" y="17966"/>
                  </a:lnTo>
                  <a:lnTo>
                    <a:pt x="18047" y="18370"/>
                  </a:lnTo>
                  <a:lnTo>
                    <a:pt x="17905" y="18370"/>
                  </a:lnTo>
                  <a:lnTo>
                    <a:pt x="17905" y="17966"/>
                  </a:lnTo>
                  <a:lnTo>
                    <a:pt x="17621" y="17966"/>
                  </a:lnTo>
                  <a:lnTo>
                    <a:pt x="17337" y="18370"/>
                  </a:lnTo>
                  <a:lnTo>
                    <a:pt x="17053" y="18370"/>
                  </a:lnTo>
                  <a:lnTo>
                    <a:pt x="17053" y="19178"/>
                  </a:lnTo>
                  <a:lnTo>
                    <a:pt x="16911" y="19178"/>
                  </a:lnTo>
                  <a:lnTo>
                    <a:pt x="16911" y="19379"/>
                  </a:lnTo>
                  <a:lnTo>
                    <a:pt x="16626" y="19379"/>
                  </a:lnTo>
                  <a:lnTo>
                    <a:pt x="16626" y="21600"/>
                  </a:lnTo>
                  <a:lnTo>
                    <a:pt x="16342" y="21600"/>
                  </a:lnTo>
                  <a:lnTo>
                    <a:pt x="16342" y="21196"/>
                  </a:lnTo>
                  <a:lnTo>
                    <a:pt x="16058" y="21196"/>
                  </a:lnTo>
                  <a:lnTo>
                    <a:pt x="16058" y="20793"/>
                  </a:lnTo>
                  <a:lnTo>
                    <a:pt x="15916" y="20793"/>
                  </a:lnTo>
                  <a:lnTo>
                    <a:pt x="15916" y="20591"/>
                  </a:lnTo>
                  <a:lnTo>
                    <a:pt x="14921" y="20591"/>
                  </a:lnTo>
                  <a:lnTo>
                    <a:pt x="14637" y="20793"/>
                  </a:lnTo>
                  <a:lnTo>
                    <a:pt x="14637" y="21196"/>
                  </a:lnTo>
                  <a:lnTo>
                    <a:pt x="13926" y="21196"/>
                  </a:lnTo>
                  <a:lnTo>
                    <a:pt x="13926" y="20793"/>
                  </a:lnTo>
                  <a:lnTo>
                    <a:pt x="13642" y="20793"/>
                  </a:lnTo>
                  <a:lnTo>
                    <a:pt x="13642" y="20187"/>
                  </a:lnTo>
                  <a:lnTo>
                    <a:pt x="13216" y="20187"/>
                  </a:lnTo>
                  <a:lnTo>
                    <a:pt x="13216" y="20591"/>
                  </a:lnTo>
                  <a:lnTo>
                    <a:pt x="12647" y="20591"/>
                  </a:lnTo>
                  <a:lnTo>
                    <a:pt x="12647" y="20793"/>
                  </a:lnTo>
                  <a:lnTo>
                    <a:pt x="12363" y="21196"/>
                  </a:lnTo>
                  <a:lnTo>
                    <a:pt x="12363" y="20793"/>
                  </a:lnTo>
                  <a:lnTo>
                    <a:pt x="12221" y="20793"/>
                  </a:lnTo>
                  <a:lnTo>
                    <a:pt x="12221" y="20591"/>
                  </a:lnTo>
                  <a:lnTo>
                    <a:pt x="11653" y="20591"/>
                  </a:lnTo>
                  <a:lnTo>
                    <a:pt x="11653" y="20187"/>
                  </a:lnTo>
                  <a:lnTo>
                    <a:pt x="11368" y="20187"/>
                  </a:lnTo>
                  <a:lnTo>
                    <a:pt x="11368" y="19783"/>
                  </a:lnTo>
                  <a:lnTo>
                    <a:pt x="11226" y="19783"/>
                  </a:lnTo>
                  <a:lnTo>
                    <a:pt x="11226" y="20187"/>
                  </a:lnTo>
                  <a:lnTo>
                    <a:pt x="10374" y="20187"/>
                  </a:lnTo>
                  <a:lnTo>
                    <a:pt x="10374" y="20591"/>
                  </a:lnTo>
                  <a:lnTo>
                    <a:pt x="10232" y="20591"/>
                  </a:lnTo>
                  <a:lnTo>
                    <a:pt x="10232" y="20187"/>
                  </a:lnTo>
                  <a:lnTo>
                    <a:pt x="9379" y="20187"/>
                  </a:lnTo>
                  <a:lnTo>
                    <a:pt x="9379" y="19783"/>
                  </a:lnTo>
                  <a:lnTo>
                    <a:pt x="8953" y="19783"/>
                  </a:lnTo>
                  <a:lnTo>
                    <a:pt x="8953" y="20187"/>
                  </a:lnTo>
                  <a:lnTo>
                    <a:pt x="8668" y="19783"/>
                  </a:lnTo>
                  <a:lnTo>
                    <a:pt x="8242" y="19783"/>
                  </a:lnTo>
                  <a:lnTo>
                    <a:pt x="8242" y="19379"/>
                  </a:lnTo>
                  <a:lnTo>
                    <a:pt x="7247" y="19379"/>
                  </a:lnTo>
                  <a:lnTo>
                    <a:pt x="7247" y="19178"/>
                  </a:lnTo>
                  <a:lnTo>
                    <a:pt x="5968" y="19178"/>
                  </a:lnTo>
                  <a:lnTo>
                    <a:pt x="5684" y="18774"/>
                  </a:lnTo>
                  <a:lnTo>
                    <a:pt x="4405" y="18774"/>
                  </a:lnTo>
                  <a:lnTo>
                    <a:pt x="4405" y="18370"/>
                  </a:lnTo>
                  <a:lnTo>
                    <a:pt x="4263" y="18370"/>
                  </a:lnTo>
                  <a:lnTo>
                    <a:pt x="3979" y="18774"/>
                  </a:lnTo>
                  <a:lnTo>
                    <a:pt x="3268" y="18774"/>
                  </a:lnTo>
                  <a:lnTo>
                    <a:pt x="2984" y="19178"/>
                  </a:lnTo>
                  <a:lnTo>
                    <a:pt x="2416" y="19178"/>
                  </a:lnTo>
                  <a:lnTo>
                    <a:pt x="2274" y="19379"/>
                  </a:lnTo>
                  <a:lnTo>
                    <a:pt x="2274" y="19783"/>
                  </a:lnTo>
                  <a:lnTo>
                    <a:pt x="1705" y="19783"/>
                  </a:lnTo>
                  <a:lnTo>
                    <a:pt x="1705" y="20187"/>
                  </a:lnTo>
                  <a:lnTo>
                    <a:pt x="1279" y="20187"/>
                  </a:lnTo>
                  <a:lnTo>
                    <a:pt x="1279" y="20591"/>
                  </a:lnTo>
                  <a:lnTo>
                    <a:pt x="711" y="20591"/>
                  </a:lnTo>
                  <a:lnTo>
                    <a:pt x="711" y="19379"/>
                  </a:lnTo>
                  <a:lnTo>
                    <a:pt x="995" y="19178"/>
                  </a:lnTo>
                  <a:lnTo>
                    <a:pt x="711" y="18774"/>
                  </a:lnTo>
                  <a:lnTo>
                    <a:pt x="995" y="18774"/>
                  </a:lnTo>
                  <a:lnTo>
                    <a:pt x="995" y="17966"/>
                  </a:lnTo>
                  <a:lnTo>
                    <a:pt x="711" y="17966"/>
                  </a:lnTo>
                  <a:lnTo>
                    <a:pt x="711" y="17764"/>
                  </a:lnTo>
                  <a:lnTo>
                    <a:pt x="284" y="17764"/>
                  </a:lnTo>
                  <a:lnTo>
                    <a:pt x="284" y="17361"/>
                  </a:lnTo>
                  <a:lnTo>
                    <a:pt x="0" y="17361"/>
                  </a:lnTo>
                  <a:lnTo>
                    <a:pt x="0" y="16957"/>
                  </a:lnTo>
                  <a:lnTo>
                    <a:pt x="284" y="16957"/>
                  </a:lnTo>
                  <a:lnTo>
                    <a:pt x="284" y="16553"/>
                  </a:lnTo>
                  <a:lnTo>
                    <a:pt x="568" y="16553"/>
                  </a:lnTo>
                  <a:lnTo>
                    <a:pt x="568" y="16351"/>
                  </a:lnTo>
                  <a:lnTo>
                    <a:pt x="711" y="16351"/>
                  </a:lnTo>
                  <a:lnTo>
                    <a:pt x="711" y="15948"/>
                  </a:lnTo>
                  <a:lnTo>
                    <a:pt x="995" y="15948"/>
                  </a:lnTo>
                  <a:lnTo>
                    <a:pt x="1279" y="15544"/>
                  </a:lnTo>
                  <a:lnTo>
                    <a:pt x="1421" y="15544"/>
                  </a:lnTo>
                  <a:lnTo>
                    <a:pt x="1421" y="13121"/>
                  </a:lnTo>
                  <a:lnTo>
                    <a:pt x="1279" y="13121"/>
                  </a:lnTo>
                  <a:lnTo>
                    <a:pt x="1279" y="12314"/>
                  </a:lnTo>
                  <a:lnTo>
                    <a:pt x="995" y="12112"/>
                  </a:lnTo>
                  <a:lnTo>
                    <a:pt x="995" y="11708"/>
                  </a:lnTo>
                  <a:lnTo>
                    <a:pt x="711" y="11708"/>
                  </a:lnTo>
                  <a:lnTo>
                    <a:pt x="711" y="10901"/>
                  </a:lnTo>
                  <a:lnTo>
                    <a:pt x="568" y="10295"/>
                  </a:lnTo>
                  <a:lnTo>
                    <a:pt x="568" y="9892"/>
                  </a:lnTo>
                  <a:lnTo>
                    <a:pt x="2274" y="9892"/>
                  </a:lnTo>
                  <a:lnTo>
                    <a:pt x="2274" y="10295"/>
                  </a:lnTo>
                  <a:lnTo>
                    <a:pt x="2984" y="10295"/>
                  </a:lnTo>
                  <a:lnTo>
                    <a:pt x="2984" y="9892"/>
                  </a:lnTo>
                  <a:lnTo>
                    <a:pt x="3411" y="9892"/>
                  </a:lnTo>
                  <a:lnTo>
                    <a:pt x="3695" y="9488"/>
                  </a:lnTo>
                  <a:lnTo>
                    <a:pt x="3695" y="8882"/>
                  </a:lnTo>
                  <a:lnTo>
                    <a:pt x="4689" y="8882"/>
                  </a:lnTo>
                  <a:lnTo>
                    <a:pt x="4689" y="8479"/>
                  </a:lnTo>
                  <a:lnTo>
                    <a:pt x="5258" y="8479"/>
                  </a:lnTo>
                  <a:lnTo>
                    <a:pt x="5258" y="9286"/>
                  </a:lnTo>
                  <a:lnTo>
                    <a:pt x="5684" y="9286"/>
                  </a:lnTo>
                  <a:lnTo>
                    <a:pt x="5684" y="8479"/>
                  </a:lnTo>
                  <a:lnTo>
                    <a:pt x="5400" y="8479"/>
                  </a:lnTo>
                  <a:lnTo>
                    <a:pt x="5400" y="7065"/>
                  </a:lnTo>
                  <a:lnTo>
                    <a:pt x="5684" y="7065"/>
                  </a:lnTo>
                  <a:lnTo>
                    <a:pt x="5684" y="6056"/>
                  </a:lnTo>
                  <a:lnTo>
                    <a:pt x="5968" y="6056"/>
                  </a:lnTo>
                  <a:lnTo>
                    <a:pt x="5968" y="5652"/>
                  </a:lnTo>
                  <a:lnTo>
                    <a:pt x="6253" y="5652"/>
                  </a:lnTo>
                  <a:lnTo>
                    <a:pt x="6253" y="5450"/>
                  </a:lnTo>
                  <a:lnTo>
                    <a:pt x="6679" y="5450"/>
                  </a:lnTo>
                  <a:lnTo>
                    <a:pt x="6963" y="5047"/>
                  </a:lnTo>
                  <a:lnTo>
                    <a:pt x="7247" y="5047"/>
                  </a:lnTo>
                  <a:lnTo>
                    <a:pt x="7247" y="4643"/>
                  </a:lnTo>
                  <a:lnTo>
                    <a:pt x="7389" y="4643"/>
                  </a:lnTo>
                  <a:lnTo>
                    <a:pt x="7389" y="4239"/>
                  </a:lnTo>
                  <a:lnTo>
                    <a:pt x="7958" y="4239"/>
                  </a:lnTo>
                  <a:lnTo>
                    <a:pt x="7958" y="4037"/>
                  </a:lnTo>
                  <a:lnTo>
                    <a:pt x="7389" y="4037"/>
                  </a:lnTo>
                  <a:lnTo>
                    <a:pt x="7389" y="2826"/>
                  </a:lnTo>
                  <a:lnTo>
                    <a:pt x="7674" y="2826"/>
                  </a:lnTo>
                  <a:lnTo>
                    <a:pt x="7674" y="2221"/>
                  </a:lnTo>
                  <a:lnTo>
                    <a:pt x="8242" y="2221"/>
                  </a:lnTo>
                  <a:lnTo>
                    <a:pt x="8384" y="1817"/>
                  </a:lnTo>
                  <a:lnTo>
                    <a:pt x="8384" y="1413"/>
                  </a:lnTo>
                  <a:lnTo>
                    <a:pt x="9947" y="1413"/>
                  </a:lnTo>
                  <a:lnTo>
                    <a:pt x="9947" y="1211"/>
                  </a:lnTo>
                  <a:lnTo>
                    <a:pt x="10232" y="1211"/>
                  </a:lnTo>
                  <a:lnTo>
                    <a:pt x="10232" y="807"/>
                  </a:lnTo>
                  <a:lnTo>
                    <a:pt x="10374" y="807"/>
                  </a:lnTo>
                  <a:lnTo>
                    <a:pt x="10374" y="404"/>
                  </a:lnTo>
                  <a:lnTo>
                    <a:pt x="10658" y="404"/>
                  </a:lnTo>
                  <a:lnTo>
                    <a:pt x="10942" y="0"/>
                  </a:lnTo>
                  <a:close/>
                  <a:moveTo>
                    <a:pt x="10942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29" name="Freeform 81"/>
            <p:cNvSpPr>
              <a:spLocks/>
            </p:cNvSpPr>
            <p:nvPr/>
          </p:nvSpPr>
          <p:spPr bwMode="auto">
            <a:xfrm>
              <a:off x="7185581" y="4186595"/>
              <a:ext cx="614476" cy="255861"/>
            </a:xfrm>
            <a:custGeom>
              <a:avLst/>
              <a:gdLst/>
              <a:ahLst/>
              <a:cxnLst>
                <a:cxn ang="0">
                  <a:pos x="16020" y="415"/>
                </a:cxn>
                <a:cxn ang="0">
                  <a:pos x="16560" y="0"/>
                </a:cxn>
                <a:cxn ang="0">
                  <a:pos x="17280" y="1246"/>
                </a:cxn>
                <a:cxn ang="0">
                  <a:pos x="17820" y="1246"/>
                </a:cxn>
                <a:cxn ang="0">
                  <a:pos x="19800" y="2077"/>
                </a:cxn>
                <a:cxn ang="0">
                  <a:pos x="20160" y="2077"/>
                </a:cxn>
                <a:cxn ang="0">
                  <a:pos x="20700" y="4985"/>
                </a:cxn>
                <a:cxn ang="0">
                  <a:pos x="21060" y="6231"/>
                </a:cxn>
                <a:cxn ang="0">
                  <a:pos x="21600" y="7892"/>
                </a:cxn>
                <a:cxn ang="0">
                  <a:pos x="21420" y="10800"/>
                </a:cxn>
                <a:cxn ang="0">
                  <a:pos x="20160" y="9969"/>
                </a:cxn>
                <a:cxn ang="0">
                  <a:pos x="19440" y="11631"/>
                </a:cxn>
                <a:cxn ang="0">
                  <a:pos x="20160" y="12877"/>
                </a:cxn>
                <a:cxn ang="0">
                  <a:pos x="19800" y="16615"/>
                </a:cxn>
                <a:cxn ang="0">
                  <a:pos x="18540" y="17446"/>
                </a:cxn>
                <a:cxn ang="0">
                  <a:pos x="17280" y="18692"/>
                </a:cxn>
                <a:cxn ang="0">
                  <a:pos x="15120" y="20354"/>
                </a:cxn>
                <a:cxn ang="0">
                  <a:pos x="14400" y="20769"/>
                </a:cxn>
                <a:cxn ang="0">
                  <a:pos x="13860" y="20769"/>
                </a:cxn>
                <a:cxn ang="0">
                  <a:pos x="12240" y="20354"/>
                </a:cxn>
                <a:cxn ang="0">
                  <a:pos x="10260" y="20354"/>
                </a:cxn>
                <a:cxn ang="0">
                  <a:pos x="8460" y="18692"/>
                </a:cxn>
                <a:cxn ang="0">
                  <a:pos x="7560" y="17862"/>
                </a:cxn>
                <a:cxn ang="0">
                  <a:pos x="7200" y="15785"/>
                </a:cxn>
                <a:cxn ang="0">
                  <a:pos x="7200" y="14954"/>
                </a:cxn>
                <a:cxn ang="0">
                  <a:pos x="5580" y="16615"/>
                </a:cxn>
                <a:cxn ang="0">
                  <a:pos x="4140" y="17446"/>
                </a:cxn>
                <a:cxn ang="0">
                  <a:pos x="3420" y="17446"/>
                </a:cxn>
                <a:cxn ang="0">
                  <a:pos x="1800" y="16615"/>
                </a:cxn>
                <a:cxn ang="0">
                  <a:pos x="900" y="16615"/>
                </a:cxn>
                <a:cxn ang="0">
                  <a:pos x="0" y="15785"/>
                </a:cxn>
                <a:cxn ang="0">
                  <a:pos x="360" y="11631"/>
                </a:cxn>
                <a:cxn ang="0">
                  <a:pos x="1620" y="12046"/>
                </a:cxn>
                <a:cxn ang="0">
                  <a:pos x="1800" y="13708"/>
                </a:cxn>
                <a:cxn ang="0">
                  <a:pos x="3060" y="11631"/>
                </a:cxn>
                <a:cxn ang="0">
                  <a:pos x="3780" y="11631"/>
                </a:cxn>
                <a:cxn ang="0">
                  <a:pos x="4140" y="13708"/>
                </a:cxn>
                <a:cxn ang="0">
                  <a:pos x="5040" y="12877"/>
                </a:cxn>
                <a:cxn ang="0">
                  <a:pos x="7200" y="11631"/>
                </a:cxn>
                <a:cxn ang="0">
                  <a:pos x="9000" y="11631"/>
                </a:cxn>
                <a:cxn ang="0">
                  <a:pos x="10080" y="12046"/>
                </a:cxn>
                <a:cxn ang="0">
                  <a:pos x="10080" y="10800"/>
                </a:cxn>
                <a:cxn ang="0">
                  <a:pos x="9720" y="8723"/>
                </a:cxn>
                <a:cxn ang="0">
                  <a:pos x="9720" y="5815"/>
                </a:cxn>
                <a:cxn ang="0">
                  <a:pos x="10980" y="4985"/>
                </a:cxn>
                <a:cxn ang="0">
                  <a:pos x="11340" y="3323"/>
                </a:cxn>
                <a:cxn ang="0">
                  <a:pos x="11880" y="4154"/>
                </a:cxn>
                <a:cxn ang="0">
                  <a:pos x="12600" y="2077"/>
                </a:cxn>
                <a:cxn ang="0">
                  <a:pos x="12780" y="3323"/>
                </a:cxn>
                <a:cxn ang="0">
                  <a:pos x="14040" y="3323"/>
                </a:cxn>
                <a:cxn ang="0">
                  <a:pos x="15300" y="2077"/>
                </a:cxn>
              </a:cxnLst>
              <a:rect l="0" t="0" r="r" b="b"/>
              <a:pathLst>
                <a:path w="21600" h="21600">
                  <a:moveTo>
                    <a:pt x="15300" y="0"/>
                  </a:moveTo>
                  <a:lnTo>
                    <a:pt x="16020" y="0"/>
                  </a:lnTo>
                  <a:lnTo>
                    <a:pt x="16020" y="415"/>
                  </a:lnTo>
                  <a:lnTo>
                    <a:pt x="16380" y="415"/>
                  </a:lnTo>
                  <a:lnTo>
                    <a:pt x="16380" y="0"/>
                  </a:lnTo>
                  <a:lnTo>
                    <a:pt x="16560" y="0"/>
                  </a:lnTo>
                  <a:lnTo>
                    <a:pt x="16560" y="415"/>
                  </a:lnTo>
                  <a:lnTo>
                    <a:pt x="17280" y="415"/>
                  </a:lnTo>
                  <a:lnTo>
                    <a:pt x="17280" y="1246"/>
                  </a:lnTo>
                  <a:lnTo>
                    <a:pt x="17640" y="1246"/>
                  </a:lnTo>
                  <a:lnTo>
                    <a:pt x="17820" y="415"/>
                  </a:lnTo>
                  <a:lnTo>
                    <a:pt x="17820" y="1246"/>
                  </a:lnTo>
                  <a:lnTo>
                    <a:pt x="18180" y="1246"/>
                  </a:lnTo>
                  <a:lnTo>
                    <a:pt x="18540" y="2077"/>
                  </a:lnTo>
                  <a:lnTo>
                    <a:pt x="19800" y="2077"/>
                  </a:lnTo>
                  <a:lnTo>
                    <a:pt x="19800" y="1246"/>
                  </a:lnTo>
                  <a:lnTo>
                    <a:pt x="20160" y="1246"/>
                  </a:lnTo>
                  <a:lnTo>
                    <a:pt x="20160" y="2077"/>
                  </a:lnTo>
                  <a:lnTo>
                    <a:pt x="21060" y="2077"/>
                  </a:lnTo>
                  <a:lnTo>
                    <a:pt x="21060" y="4985"/>
                  </a:lnTo>
                  <a:lnTo>
                    <a:pt x="20700" y="4985"/>
                  </a:lnTo>
                  <a:lnTo>
                    <a:pt x="20700" y="5815"/>
                  </a:lnTo>
                  <a:lnTo>
                    <a:pt x="21060" y="5815"/>
                  </a:lnTo>
                  <a:lnTo>
                    <a:pt x="21060" y="6231"/>
                  </a:lnTo>
                  <a:lnTo>
                    <a:pt x="21420" y="6231"/>
                  </a:lnTo>
                  <a:lnTo>
                    <a:pt x="21420" y="7892"/>
                  </a:lnTo>
                  <a:lnTo>
                    <a:pt x="21600" y="7892"/>
                  </a:lnTo>
                  <a:lnTo>
                    <a:pt x="21600" y="9969"/>
                  </a:lnTo>
                  <a:lnTo>
                    <a:pt x="21420" y="9969"/>
                  </a:lnTo>
                  <a:lnTo>
                    <a:pt x="21420" y="10800"/>
                  </a:lnTo>
                  <a:lnTo>
                    <a:pt x="20340" y="10800"/>
                  </a:lnTo>
                  <a:lnTo>
                    <a:pt x="20340" y="9969"/>
                  </a:lnTo>
                  <a:lnTo>
                    <a:pt x="20160" y="9969"/>
                  </a:lnTo>
                  <a:lnTo>
                    <a:pt x="20160" y="10800"/>
                  </a:lnTo>
                  <a:lnTo>
                    <a:pt x="19440" y="10800"/>
                  </a:lnTo>
                  <a:lnTo>
                    <a:pt x="19440" y="11631"/>
                  </a:lnTo>
                  <a:lnTo>
                    <a:pt x="20340" y="11631"/>
                  </a:lnTo>
                  <a:lnTo>
                    <a:pt x="20340" y="12877"/>
                  </a:lnTo>
                  <a:lnTo>
                    <a:pt x="20160" y="12877"/>
                  </a:lnTo>
                  <a:lnTo>
                    <a:pt x="20160" y="13708"/>
                  </a:lnTo>
                  <a:lnTo>
                    <a:pt x="19800" y="13708"/>
                  </a:lnTo>
                  <a:lnTo>
                    <a:pt x="19800" y="16615"/>
                  </a:lnTo>
                  <a:lnTo>
                    <a:pt x="18900" y="16615"/>
                  </a:lnTo>
                  <a:lnTo>
                    <a:pt x="18900" y="17446"/>
                  </a:lnTo>
                  <a:lnTo>
                    <a:pt x="18540" y="17446"/>
                  </a:lnTo>
                  <a:lnTo>
                    <a:pt x="18180" y="17862"/>
                  </a:lnTo>
                  <a:lnTo>
                    <a:pt x="18540" y="18692"/>
                  </a:lnTo>
                  <a:lnTo>
                    <a:pt x="17280" y="18692"/>
                  </a:lnTo>
                  <a:lnTo>
                    <a:pt x="16920" y="19523"/>
                  </a:lnTo>
                  <a:lnTo>
                    <a:pt x="15120" y="19523"/>
                  </a:lnTo>
                  <a:lnTo>
                    <a:pt x="15120" y="20354"/>
                  </a:lnTo>
                  <a:lnTo>
                    <a:pt x="14760" y="20354"/>
                  </a:lnTo>
                  <a:lnTo>
                    <a:pt x="14760" y="20769"/>
                  </a:lnTo>
                  <a:lnTo>
                    <a:pt x="14400" y="20769"/>
                  </a:lnTo>
                  <a:lnTo>
                    <a:pt x="14040" y="21600"/>
                  </a:lnTo>
                  <a:lnTo>
                    <a:pt x="13860" y="21600"/>
                  </a:lnTo>
                  <a:lnTo>
                    <a:pt x="13860" y="20769"/>
                  </a:lnTo>
                  <a:lnTo>
                    <a:pt x="12600" y="20769"/>
                  </a:lnTo>
                  <a:lnTo>
                    <a:pt x="12600" y="20354"/>
                  </a:lnTo>
                  <a:lnTo>
                    <a:pt x="12240" y="20354"/>
                  </a:lnTo>
                  <a:lnTo>
                    <a:pt x="12240" y="20769"/>
                  </a:lnTo>
                  <a:lnTo>
                    <a:pt x="11880" y="20354"/>
                  </a:lnTo>
                  <a:lnTo>
                    <a:pt x="10260" y="20354"/>
                  </a:lnTo>
                  <a:lnTo>
                    <a:pt x="10080" y="19523"/>
                  </a:lnTo>
                  <a:lnTo>
                    <a:pt x="8460" y="19523"/>
                  </a:lnTo>
                  <a:lnTo>
                    <a:pt x="8460" y="18692"/>
                  </a:lnTo>
                  <a:lnTo>
                    <a:pt x="7740" y="18692"/>
                  </a:lnTo>
                  <a:lnTo>
                    <a:pt x="7740" y="17862"/>
                  </a:lnTo>
                  <a:lnTo>
                    <a:pt x="7560" y="17862"/>
                  </a:lnTo>
                  <a:lnTo>
                    <a:pt x="7560" y="16615"/>
                  </a:lnTo>
                  <a:lnTo>
                    <a:pt x="7200" y="16615"/>
                  </a:lnTo>
                  <a:lnTo>
                    <a:pt x="7200" y="15785"/>
                  </a:lnTo>
                  <a:lnTo>
                    <a:pt x="7560" y="15785"/>
                  </a:lnTo>
                  <a:lnTo>
                    <a:pt x="7560" y="14954"/>
                  </a:lnTo>
                  <a:lnTo>
                    <a:pt x="7200" y="14954"/>
                  </a:lnTo>
                  <a:lnTo>
                    <a:pt x="7200" y="15785"/>
                  </a:lnTo>
                  <a:lnTo>
                    <a:pt x="5580" y="15785"/>
                  </a:lnTo>
                  <a:lnTo>
                    <a:pt x="5580" y="16615"/>
                  </a:lnTo>
                  <a:lnTo>
                    <a:pt x="4320" y="16615"/>
                  </a:lnTo>
                  <a:lnTo>
                    <a:pt x="4320" y="17446"/>
                  </a:lnTo>
                  <a:lnTo>
                    <a:pt x="4140" y="17446"/>
                  </a:lnTo>
                  <a:lnTo>
                    <a:pt x="4140" y="17862"/>
                  </a:lnTo>
                  <a:lnTo>
                    <a:pt x="3420" y="17862"/>
                  </a:lnTo>
                  <a:lnTo>
                    <a:pt x="3420" y="17446"/>
                  </a:lnTo>
                  <a:lnTo>
                    <a:pt x="2520" y="17446"/>
                  </a:lnTo>
                  <a:lnTo>
                    <a:pt x="2160" y="16615"/>
                  </a:lnTo>
                  <a:lnTo>
                    <a:pt x="1800" y="16615"/>
                  </a:lnTo>
                  <a:lnTo>
                    <a:pt x="1800" y="17446"/>
                  </a:lnTo>
                  <a:lnTo>
                    <a:pt x="900" y="17446"/>
                  </a:lnTo>
                  <a:lnTo>
                    <a:pt x="900" y="16615"/>
                  </a:lnTo>
                  <a:lnTo>
                    <a:pt x="360" y="16615"/>
                  </a:lnTo>
                  <a:lnTo>
                    <a:pt x="360" y="15785"/>
                  </a:lnTo>
                  <a:lnTo>
                    <a:pt x="0" y="15785"/>
                  </a:lnTo>
                  <a:lnTo>
                    <a:pt x="0" y="12046"/>
                  </a:lnTo>
                  <a:lnTo>
                    <a:pt x="360" y="12046"/>
                  </a:lnTo>
                  <a:lnTo>
                    <a:pt x="360" y="11631"/>
                  </a:lnTo>
                  <a:lnTo>
                    <a:pt x="900" y="11631"/>
                  </a:lnTo>
                  <a:lnTo>
                    <a:pt x="900" y="12046"/>
                  </a:lnTo>
                  <a:lnTo>
                    <a:pt x="1620" y="12046"/>
                  </a:lnTo>
                  <a:lnTo>
                    <a:pt x="1620" y="14538"/>
                  </a:lnTo>
                  <a:lnTo>
                    <a:pt x="1800" y="14538"/>
                  </a:lnTo>
                  <a:lnTo>
                    <a:pt x="1800" y="13708"/>
                  </a:lnTo>
                  <a:lnTo>
                    <a:pt x="2520" y="13708"/>
                  </a:lnTo>
                  <a:lnTo>
                    <a:pt x="2520" y="11631"/>
                  </a:lnTo>
                  <a:lnTo>
                    <a:pt x="3060" y="11631"/>
                  </a:lnTo>
                  <a:lnTo>
                    <a:pt x="3060" y="12046"/>
                  </a:lnTo>
                  <a:lnTo>
                    <a:pt x="3420" y="12046"/>
                  </a:lnTo>
                  <a:lnTo>
                    <a:pt x="3780" y="11631"/>
                  </a:lnTo>
                  <a:lnTo>
                    <a:pt x="3780" y="12877"/>
                  </a:lnTo>
                  <a:lnTo>
                    <a:pt x="4140" y="12877"/>
                  </a:lnTo>
                  <a:lnTo>
                    <a:pt x="4140" y="13708"/>
                  </a:lnTo>
                  <a:lnTo>
                    <a:pt x="4320" y="13708"/>
                  </a:lnTo>
                  <a:lnTo>
                    <a:pt x="4320" y="12877"/>
                  </a:lnTo>
                  <a:lnTo>
                    <a:pt x="5040" y="12877"/>
                  </a:lnTo>
                  <a:lnTo>
                    <a:pt x="5400" y="12046"/>
                  </a:lnTo>
                  <a:lnTo>
                    <a:pt x="5400" y="11631"/>
                  </a:lnTo>
                  <a:lnTo>
                    <a:pt x="7200" y="11631"/>
                  </a:lnTo>
                  <a:lnTo>
                    <a:pt x="7200" y="10800"/>
                  </a:lnTo>
                  <a:lnTo>
                    <a:pt x="9000" y="10800"/>
                  </a:lnTo>
                  <a:lnTo>
                    <a:pt x="9000" y="11631"/>
                  </a:lnTo>
                  <a:lnTo>
                    <a:pt x="9360" y="11631"/>
                  </a:lnTo>
                  <a:lnTo>
                    <a:pt x="9360" y="12046"/>
                  </a:lnTo>
                  <a:lnTo>
                    <a:pt x="10080" y="12046"/>
                  </a:lnTo>
                  <a:lnTo>
                    <a:pt x="10080" y="11631"/>
                  </a:lnTo>
                  <a:lnTo>
                    <a:pt x="9720" y="11631"/>
                  </a:lnTo>
                  <a:lnTo>
                    <a:pt x="10080" y="10800"/>
                  </a:lnTo>
                  <a:lnTo>
                    <a:pt x="10080" y="9969"/>
                  </a:lnTo>
                  <a:lnTo>
                    <a:pt x="9720" y="9969"/>
                  </a:lnTo>
                  <a:lnTo>
                    <a:pt x="9720" y="8723"/>
                  </a:lnTo>
                  <a:lnTo>
                    <a:pt x="9360" y="8723"/>
                  </a:lnTo>
                  <a:lnTo>
                    <a:pt x="9360" y="6231"/>
                  </a:lnTo>
                  <a:lnTo>
                    <a:pt x="9720" y="5815"/>
                  </a:lnTo>
                  <a:lnTo>
                    <a:pt x="10260" y="5815"/>
                  </a:lnTo>
                  <a:lnTo>
                    <a:pt x="10260" y="4985"/>
                  </a:lnTo>
                  <a:lnTo>
                    <a:pt x="10980" y="4985"/>
                  </a:lnTo>
                  <a:lnTo>
                    <a:pt x="10980" y="2908"/>
                  </a:lnTo>
                  <a:lnTo>
                    <a:pt x="11340" y="2908"/>
                  </a:lnTo>
                  <a:lnTo>
                    <a:pt x="11340" y="3323"/>
                  </a:lnTo>
                  <a:lnTo>
                    <a:pt x="11520" y="3323"/>
                  </a:lnTo>
                  <a:lnTo>
                    <a:pt x="11520" y="4154"/>
                  </a:lnTo>
                  <a:lnTo>
                    <a:pt x="11880" y="4154"/>
                  </a:lnTo>
                  <a:lnTo>
                    <a:pt x="11880" y="2908"/>
                  </a:lnTo>
                  <a:lnTo>
                    <a:pt x="12240" y="2077"/>
                  </a:lnTo>
                  <a:lnTo>
                    <a:pt x="12600" y="2077"/>
                  </a:lnTo>
                  <a:lnTo>
                    <a:pt x="12600" y="2908"/>
                  </a:lnTo>
                  <a:lnTo>
                    <a:pt x="12780" y="2908"/>
                  </a:lnTo>
                  <a:lnTo>
                    <a:pt x="12780" y="3323"/>
                  </a:lnTo>
                  <a:lnTo>
                    <a:pt x="13860" y="3323"/>
                  </a:lnTo>
                  <a:lnTo>
                    <a:pt x="13860" y="2908"/>
                  </a:lnTo>
                  <a:lnTo>
                    <a:pt x="14040" y="3323"/>
                  </a:lnTo>
                  <a:lnTo>
                    <a:pt x="14760" y="3323"/>
                  </a:lnTo>
                  <a:lnTo>
                    <a:pt x="14760" y="2077"/>
                  </a:lnTo>
                  <a:lnTo>
                    <a:pt x="15300" y="2077"/>
                  </a:lnTo>
                  <a:lnTo>
                    <a:pt x="15300" y="0"/>
                  </a:lnTo>
                  <a:close/>
                  <a:moveTo>
                    <a:pt x="15300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230" name="Freeform 82"/>
            <p:cNvSpPr>
              <a:spLocks/>
            </p:cNvSpPr>
            <p:nvPr/>
          </p:nvSpPr>
          <p:spPr bwMode="auto">
            <a:xfrm>
              <a:off x="7990815" y="4801063"/>
              <a:ext cx="146866" cy="284065"/>
            </a:xfrm>
            <a:custGeom>
              <a:avLst/>
              <a:gdLst/>
              <a:ahLst/>
              <a:cxnLst>
                <a:cxn ang="0">
                  <a:pos x="5400" y="0"/>
                </a:cxn>
                <a:cxn ang="0">
                  <a:pos x="8486" y="1490"/>
                </a:cxn>
                <a:cxn ang="0">
                  <a:pos x="9257" y="745"/>
                </a:cxn>
                <a:cxn ang="0">
                  <a:pos x="10800" y="1490"/>
                </a:cxn>
                <a:cxn ang="0">
                  <a:pos x="12343" y="2234"/>
                </a:cxn>
                <a:cxn ang="0">
                  <a:pos x="13886" y="2607"/>
                </a:cxn>
                <a:cxn ang="0">
                  <a:pos x="14657" y="3352"/>
                </a:cxn>
                <a:cxn ang="0">
                  <a:pos x="16200" y="4841"/>
                </a:cxn>
                <a:cxn ang="0">
                  <a:pos x="14657" y="5214"/>
                </a:cxn>
                <a:cxn ang="0">
                  <a:pos x="16200" y="5959"/>
                </a:cxn>
                <a:cxn ang="0">
                  <a:pos x="14657" y="8566"/>
                </a:cxn>
                <a:cxn ang="0">
                  <a:pos x="14657" y="9310"/>
                </a:cxn>
                <a:cxn ang="0">
                  <a:pos x="16200" y="11172"/>
                </a:cxn>
                <a:cxn ang="0">
                  <a:pos x="17743" y="11917"/>
                </a:cxn>
                <a:cxn ang="0">
                  <a:pos x="20057" y="12662"/>
                </a:cxn>
                <a:cxn ang="0">
                  <a:pos x="21600" y="13779"/>
                </a:cxn>
                <a:cxn ang="0">
                  <a:pos x="20057" y="14897"/>
                </a:cxn>
                <a:cxn ang="0">
                  <a:pos x="17743" y="15641"/>
                </a:cxn>
                <a:cxn ang="0">
                  <a:pos x="16200" y="17131"/>
                </a:cxn>
                <a:cxn ang="0">
                  <a:pos x="13886" y="18248"/>
                </a:cxn>
                <a:cxn ang="0">
                  <a:pos x="12343" y="18993"/>
                </a:cxn>
                <a:cxn ang="0">
                  <a:pos x="10800" y="20110"/>
                </a:cxn>
                <a:cxn ang="0">
                  <a:pos x="9257" y="21600"/>
                </a:cxn>
                <a:cxn ang="0">
                  <a:pos x="8486" y="20855"/>
                </a:cxn>
                <a:cxn ang="0">
                  <a:pos x="6943" y="19738"/>
                </a:cxn>
                <a:cxn ang="0">
                  <a:pos x="5400" y="18993"/>
                </a:cxn>
                <a:cxn ang="0">
                  <a:pos x="3857" y="18248"/>
                </a:cxn>
                <a:cxn ang="0">
                  <a:pos x="3086" y="17503"/>
                </a:cxn>
                <a:cxn ang="0">
                  <a:pos x="1543" y="17131"/>
                </a:cxn>
                <a:cxn ang="0">
                  <a:pos x="1543" y="16386"/>
                </a:cxn>
                <a:cxn ang="0">
                  <a:pos x="0" y="15641"/>
                </a:cxn>
                <a:cxn ang="0">
                  <a:pos x="1543" y="13034"/>
                </a:cxn>
                <a:cxn ang="0">
                  <a:pos x="3086" y="10428"/>
                </a:cxn>
                <a:cxn ang="0">
                  <a:pos x="1543" y="10055"/>
                </a:cxn>
                <a:cxn ang="0">
                  <a:pos x="3086" y="7821"/>
                </a:cxn>
                <a:cxn ang="0">
                  <a:pos x="1543" y="5959"/>
                </a:cxn>
                <a:cxn ang="0">
                  <a:pos x="0" y="4097"/>
                </a:cxn>
                <a:cxn ang="0">
                  <a:pos x="1543" y="3352"/>
                </a:cxn>
                <a:cxn ang="0">
                  <a:pos x="3086" y="2234"/>
                </a:cxn>
                <a:cxn ang="0">
                  <a:pos x="3857" y="1490"/>
                </a:cxn>
                <a:cxn ang="0">
                  <a:pos x="3857" y="0"/>
                </a:cxn>
              </a:cxnLst>
              <a:rect l="0" t="0" r="r" b="b"/>
              <a:pathLst>
                <a:path w="21600" h="21600">
                  <a:moveTo>
                    <a:pt x="3857" y="0"/>
                  </a:moveTo>
                  <a:lnTo>
                    <a:pt x="5400" y="0"/>
                  </a:lnTo>
                  <a:lnTo>
                    <a:pt x="5400" y="1490"/>
                  </a:lnTo>
                  <a:lnTo>
                    <a:pt x="8486" y="1490"/>
                  </a:lnTo>
                  <a:lnTo>
                    <a:pt x="8486" y="745"/>
                  </a:lnTo>
                  <a:lnTo>
                    <a:pt x="9257" y="745"/>
                  </a:lnTo>
                  <a:lnTo>
                    <a:pt x="9257" y="1490"/>
                  </a:lnTo>
                  <a:lnTo>
                    <a:pt x="10800" y="1490"/>
                  </a:lnTo>
                  <a:lnTo>
                    <a:pt x="10800" y="2234"/>
                  </a:lnTo>
                  <a:lnTo>
                    <a:pt x="12343" y="2234"/>
                  </a:lnTo>
                  <a:lnTo>
                    <a:pt x="12343" y="2607"/>
                  </a:lnTo>
                  <a:lnTo>
                    <a:pt x="13886" y="2607"/>
                  </a:lnTo>
                  <a:lnTo>
                    <a:pt x="13886" y="3352"/>
                  </a:lnTo>
                  <a:lnTo>
                    <a:pt x="14657" y="3352"/>
                  </a:lnTo>
                  <a:lnTo>
                    <a:pt x="14657" y="4097"/>
                  </a:lnTo>
                  <a:lnTo>
                    <a:pt x="16200" y="4841"/>
                  </a:lnTo>
                  <a:lnTo>
                    <a:pt x="16200" y="5214"/>
                  </a:lnTo>
                  <a:lnTo>
                    <a:pt x="14657" y="5214"/>
                  </a:lnTo>
                  <a:lnTo>
                    <a:pt x="14657" y="5959"/>
                  </a:lnTo>
                  <a:lnTo>
                    <a:pt x="16200" y="5959"/>
                  </a:lnTo>
                  <a:lnTo>
                    <a:pt x="14657" y="6703"/>
                  </a:lnTo>
                  <a:lnTo>
                    <a:pt x="14657" y="8566"/>
                  </a:lnTo>
                  <a:lnTo>
                    <a:pt x="16200" y="9310"/>
                  </a:lnTo>
                  <a:lnTo>
                    <a:pt x="14657" y="9310"/>
                  </a:lnTo>
                  <a:lnTo>
                    <a:pt x="14657" y="11172"/>
                  </a:lnTo>
                  <a:lnTo>
                    <a:pt x="16200" y="11172"/>
                  </a:lnTo>
                  <a:lnTo>
                    <a:pt x="16200" y="11917"/>
                  </a:lnTo>
                  <a:lnTo>
                    <a:pt x="17743" y="11917"/>
                  </a:lnTo>
                  <a:lnTo>
                    <a:pt x="17743" y="12662"/>
                  </a:lnTo>
                  <a:lnTo>
                    <a:pt x="20057" y="12662"/>
                  </a:lnTo>
                  <a:lnTo>
                    <a:pt x="20057" y="13779"/>
                  </a:lnTo>
                  <a:lnTo>
                    <a:pt x="21600" y="13779"/>
                  </a:lnTo>
                  <a:lnTo>
                    <a:pt x="21600" y="14897"/>
                  </a:lnTo>
                  <a:lnTo>
                    <a:pt x="20057" y="14897"/>
                  </a:lnTo>
                  <a:lnTo>
                    <a:pt x="20057" y="15641"/>
                  </a:lnTo>
                  <a:lnTo>
                    <a:pt x="17743" y="15641"/>
                  </a:lnTo>
                  <a:lnTo>
                    <a:pt x="17743" y="17131"/>
                  </a:lnTo>
                  <a:lnTo>
                    <a:pt x="16200" y="17131"/>
                  </a:lnTo>
                  <a:lnTo>
                    <a:pt x="16200" y="18248"/>
                  </a:lnTo>
                  <a:lnTo>
                    <a:pt x="13886" y="18248"/>
                  </a:lnTo>
                  <a:lnTo>
                    <a:pt x="13886" y="18993"/>
                  </a:lnTo>
                  <a:lnTo>
                    <a:pt x="12343" y="18993"/>
                  </a:lnTo>
                  <a:lnTo>
                    <a:pt x="12343" y="20110"/>
                  </a:lnTo>
                  <a:lnTo>
                    <a:pt x="10800" y="20110"/>
                  </a:lnTo>
                  <a:lnTo>
                    <a:pt x="10800" y="21600"/>
                  </a:lnTo>
                  <a:lnTo>
                    <a:pt x="9257" y="21600"/>
                  </a:lnTo>
                  <a:lnTo>
                    <a:pt x="9257" y="20855"/>
                  </a:lnTo>
                  <a:lnTo>
                    <a:pt x="8486" y="20855"/>
                  </a:lnTo>
                  <a:lnTo>
                    <a:pt x="8486" y="19738"/>
                  </a:lnTo>
                  <a:lnTo>
                    <a:pt x="6943" y="19738"/>
                  </a:lnTo>
                  <a:lnTo>
                    <a:pt x="6943" y="18993"/>
                  </a:lnTo>
                  <a:lnTo>
                    <a:pt x="5400" y="18993"/>
                  </a:lnTo>
                  <a:lnTo>
                    <a:pt x="5400" y="18248"/>
                  </a:lnTo>
                  <a:lnTo>
                    <a:pt x="3857" y="18248"/>
                  </a:lnTo>
                  <a:lnTo>
                    <a:pt x="3857" y="17503"/>
                  </a:lnTo>
                  <a:lnTo>
                    <a:pt x="3086" y="17503"/>
                  </a:lnTo>
                  <a:lnTo>
                    <a:pt x="3086" y="17131"/>
                  </a:lnTo>
                  <a:lnTo>
                    <a:pt x="1543" y="17131"/>
                  </a:lnTo>
                  <a:lnTo>
                    <a:pt x="0" y="16386"/>
                  </a:lnTo>
                  <a:lnTo>
                    <a:pt x="1543" y="16386"/>
                  </a:lnTo>
                  <a:lnTo>
                    <a:pt x="1543" y="15641"/>
                  </a:lnTo>
                  <a:lnTo>
                    <a:pt x="0" y="15641"/>
                  </a:lnTo>
                  <a:lnTo>
                    <a:pt x="0" y="13034"/>
                  </a:lnTo>
                  <a:lnTo>
                    <a:pt x="1543" y="13034"/>
                  </a:lnTo>
                  <a:lnTo>
                    <a:pt x="1543" y="11917"/>
                  </a:lnTo>
                  <a:lnTo>
                    <a:pt x="3086" y="10428"/>
                  </a:lnTo>
                  <a:lnTo>
                    <a:pt x="3086" y="10055"/>
                  </a:lnTo>
                  <a:lnTo>
                    <a:pt x="1543" y="10055"/>
                  </a:lnTo>
                  <a:lnTo>
                    <a:pt x="1543" y="7821"/>
                  </a:lnTo>
                  <a:lnTo>
                    <a:pt x="3086" y="7821"/>
                  </a:lnTo>
                  <a:lnTo>
                    <a:pt x="3086" y="5959"/>
                  </a:lnTo>
                  <a:lnTo>
                    <a:pt x="1543" y="5959"/>
                  </a:lnTo>
                  <a:lnTo>
                    <a:pt x="1543" y="4097"/>
                  </a:lnTo>
                  <a:lnTo>
                    <a:pt x="0" y="4097"/>
                  </a:lnTo>
                  <a:lnTo>
                    <a:pt x="0" y="3352"/>
                  </a:lnTo>
                  <a:lnTo>
                    <a:pt x="1543" y="3352"/>
                  </a:lnTo>
                  <a:lnTo>
                    <a:pt x="1543" y="2234"/>
                  </a:lnTo>
                  <a:lnTo>
                    <a:pt x="3086" y="2234"/>
                  </a:lnTo>
                  <a:lnTo>
                    <a:pt x="3086" y="1490"/>
                  </a:lnTo>
                  <a:lnTo>
                    <a:pt x="3857" y="1490"/>
                  </a:lnTo>
                  <a:lnTo>
                    <a:pt x="3857" y="0"/>
                  </a:lnTo>
                  <a:close/>
                  <a:moveTo>
                    <a:pt x="3857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grpSp>
          <p:nvGrpSpPr>
            <p:cNvPr id="231" name="Group 94"/>
            <p:cNvGrpSpPr>
              <a:grpSpLocks/>
            </p:cNvGrpSpPr>
            <p:nvPr/>
          </p:nvGrpSpPr>
          <p:grpSpPr bwMode="auto">
            <a:xfrm>
              <a:off x="5912702" y="5553355"/>
              <a:ext cx="599" cy="190"/>
              <a:chOff x="0" y="0"/>
              <a:chExt cx="599" cy="190"/>
            </a:xfrm>
          </p:grpSpPr>
          <p:pic>
            <p:nvPicPr>
              <p:cNvPr id="232" name="Picture 85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0" y="0"/>
                <a:ext cx="599" cy="1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pic>
          <p:grpSp>
            <p:nvGrpSpPr>
              <p:cNvPr id="233" name="Group 93"/>
              <p:cNvGrpSpPr>
                <a:grpSpLocks/>
              </p:cNvGrpSpPr>
              <p:nvPr/>
            </p:nvGrpSpPr>
            <p:grpSpPr bwMode="auto">
              <a:xfrm>
                <a:off x="187" y="48"/>
                <a:ext cx="353" cy="133"/>
                <a:chOff x="0" y="8"/>
                <a:chExt cx="353" cy="133"/>
              </a:xfrm>
            </p:grpSpPr>
            <p:sp>
              <p:nvSpPr>
                <p:cNvPr id="234" name="Freeform 86"/>
                <p:cNvSpPr>
                  <a:spLocks/>
                </p:cNvSpPr>
                <p:nvPr/>
              </p:nvSpPr>
              <p:spPr bwMode="auto">
                <a:xfrm>
                  <a:off x="329" y="8"/>
                  <a:ext cx="24" cy="32"/>
                </a:xfrm>
                <a:custGeom>
                  <a:avLst/>
                  <a:gdLst/>
                  <a:ahLst/>
                  <a:cxnLst>
                    <a:cxn ang="0">
                      <a:pos x="12960" y="0"/>
                    </a:cxn>
                    <a:cxn ang="0">
                      <a:pos x="21600" y="0"/>
                    </a:cxn>
                    <a:cxn ang="0">
                      <a:pos x="21600" y="18514"/>
                    </a:cxn>
                    <a:cxn ang="0">
                      <a:pos x="4320" y="18514"/>
                    </a:cxn>
                    <a:cxn ang="0">
                      <a:pos x="4320" y="21600"/>
                    </a:cxn>
                    <a:cxn ang="0">
                      <a:pos x="0" y="21600"/>
                    </a:cxn>
                    <a:cxn ang="0">
                      <a:pos x="0" y="12343"/>
                    </a:cxn>
                    <a:cxn ang="0">
                      <a:pos x="4320" y="12343"/>
                    </a:cxn>
                    <a:cxn ang="0">
                      <a:pos x="4320" y="6171"/>
                    </a:cxn>
                    <a:cxn ang="0">
                      <a:pos x="12960" y="6171"/>
                    </a:cxn>
                    <a:cxn ang="0">
                      <a:pos x="12960" y="0"/>
                    </a:cxn>
                    <a:cxn ang="0">
                      <a:pos x="12960" y="0"/>
                    </a:cxn>
                  </a:cxnLst>
                  <a:rect l="0" t="0" r="r" b="b"/>
                  <a:pathLst>
                    <a:path w="21600" h="21600">
                      <a:moveTo>
                        <a:pt x="12960" y="0"/>
                      </a:moveTo>
                      <a:lnTo>
                        <a:pt x="21600" y="0"/>
                      </a:lnTo>
                      <a:lnTo>
                        <a:pt x="21600" y="18514"/>
                      </a:lnTo>
                      <a:lnTo>
                        <a:pt x="4320" y="18514"/>
                      </a:lnTo>
                      <a:lnTo>
                        <a:pt x="4320" y="21600"/>
                      </a:lnTo>
                      <a:lnTo>
                        <a:pt x="0" y="21600"/>
                      </a:lnTo>
                      <a:lnTo>
                        <a:pt x="0" y="12343"/>
                      </a:lnTo>
                      <a:lnTo>
                        <a:pt x="4320" y="12343"/>
                      </a:lnTo>
                      <a:lnTo>
                        <a:pt x="4320" y="6171"/>
                      </a:lnTo>
                      <a:lnTo>
                        <a:pt x="12960" y="6171"/>
                      </a:lnTo>
                      <a:lnTo>
                        <a:pt x="12960" y="0"/>
                      </a:lnTo>
                      <a:close/>
                      <a:moveTo>
                        <a:pt x="12960" y="0"/>
                      </a:moveTo>
                    </a:path>
                  </a:pathLst>
                </a:custGeom>
                <a:solidFill>
                  <a:srgbClr val="00BACF">
                    <a:alpha val="50000"/>
                  </a:srgbClr>
                </a:solidFill>
                <a:ln w="12700" cap="flat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1pPr>
                  <a:lvl2pPr marL="456961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2pPr>
                  <a:lvl3pPr marL="913922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3pPr>
                  <a:lvl4pPr marL="1370882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4pPr>
                  <a:lvl5pPr marL="1827844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5pPr>
                  <a:lvl6pPr marL="2284804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6pPr>
                  <a:lvl7pPr marL="2741765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7pPr>
                  <a:lvl8pPr marL="3198726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8pPr>
                  <a:lvl9pPr marL="3655685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PE" sz="1662" b="0" kern="0" dirty="0">
                    <a:solidFill>
                      <a:sysClr val="windowText" lastClr="000000"/>
                    </a:solidFill>
                    <a:latin typeface="+mn-lt"/>
                    <a:ea typeface="ヒラギノ角ゴ ProN W3"/>
                  </a:endParaRPr>
                </a:p>
              </p:txBody>
            </p:sp>
            <p:sp>
              <p:nvSpPr>
                <p:cNvPr id="235" name="Freeform 87"/>
                <p:cNvSpPr>
                  <a:spLocks/>
                </p:cNvSpPr>
                <p:nvPr/>
              </p:nvSpPr>
              <p:spPr bwMode="auto">
                <a:xfrm>
                  <a:off x="169" y="94"/>
                  <a:ext cx="42" cy="32"/>
                </a:xfrm>
                <a:custGeom>
                  <a:avLst/>
                  <a:gdLst/>
                  <a:ahLst/>
                  <a:cxnLst>
                    <a:cxn ang="0">
                      <a:pos x="4800" y="0"/>
                    </a:cxn>
                    <a:cxn ang="0">
                      <a:pos x="21600" y="0"/>
                    </a:cxn>
                    <a:cxn ang="0">
                      <a:pos x="21600" y="3086"/>
                    </a:cxn>
                    <a:cxn ang="0">
                      <a:pos x="16800" y="3086"/>
                    </a:cxn>
                    <a:cxn ang="0">
                      <a:pos x="16800" y="15429"/>
                    </a:cxn>
                    <a:cxn ang="0">
                      <a:pos x="14400" y="21600"/>
                    </a:cxn>
                    <a:cxn ang="0">
                      <a:pos x="9600" y="21600"/>
                    </a:cxn>
                    <a:cxn ang="0">
                      <a:pos x="4800" y="15429"/>
                    </a:cxn>
                    <a:cxn ang="0">
                      <a:pos x="0" y="15429"/>
                    </a:cxn>
                    <a:cxn ang="0">
                      <a:pos x="0" y="9257"/>
                    </a:cxn>
                    <a:cxn ang="0">
                      <a:pos x="4800" y="9257"/>
                    </a:cxn>
                    <a:cxn ang="0">
                      <a:pos x="4800" y="0"/>
                    </a:cxn>
                    <a:cxn ang="0">
                      <a:pos x="4800" y="0"/>
                    </a:cxn>
                  </a:cxnLst>
                  <a:rect l="0" t="0" r="r" b="b"/>
                  <a:pathLst>
                    <a:path w="21600" h="21600">
                      <a:moveTo>
                        <a:pt x="4800" y="0"/>
                      </a:moveTo>
                      <a:lnTo>
                        <a:pt x="21600" y="0"/>
                      </a:lnTo>
                      <a:lnTo>
                        <a:pt x="21600" y="3086"/>
                      </a:lnTo>
                      <a:lnTo>
                        <a:pt x="16800" y="3086"/>
                      </a:lnTo>
                      <a:lnTo>
                        <a:pt x="16800" y="15429"/>
                      </a:lnTo>
                      <a:lnTo>
                        <a:pt x="14400" y="21600"/>
                      </a:lnTo>
                      <a:lnTo>
                        <a:pt x="9600" y="21600"/>
                      </a:lnTo>
                      <a:lnTo>
                        <a:pt x="4800" y="15429"/>
                      </a:lnTo>
                      <a:lnTo>
                        <a:pt x="0" y="15429"/>
                      </a:lnTo>
                      <a:lnTo>
                        <a:pt x="0" y="9257"/>
                      </a:lnTo>
                      <a:lnTo>
                        <a:pt x="4800" y="9257"/>
                      </a:lnTo>
                      <a:lnTo>
                        <a:pt x="4800" y="0"/>
                      </a:lnTo>
                      <a:close/>
                      <a:moveTo>
                        <a:pt x="4800" y="0"/>
                      </a:moveTo>
                    </a:path>
                  </a:pathLst>
                </a:custGeom>
                <a:solidFill>
                  <a:srgbClr val="00BACF">
                    <a:alpha val="50000"/>
                  </a:srgbClr>
                </a:solidFill>
                <a:ln w="12700" cap="flat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1pPr>
                  <a:lvl2pPr marL="456961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2pPr>
                  <a:lvl3pPr marL="913922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3pPr>
                  <a:lvl4pPr marL="1370882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4pPr>
                  <a:lvl5pPr marL="1827844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5pPr>
                  <a:lvl6pPr marL="2284804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6pPr>
                  <a:lvl7pPr marL="2741765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7pPr>
                  <a:lvl8pPr marL="3198726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8pPr>
                  <a:lvl9pPr marL="3655685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PE" sz="1662" b="0" kern="0" dirty="0">
                    <a:solidFill>
                      <a:sysClr val="windowText" lastClr="000000"/>
                    </a:solidFill>
                    <a:latin typeface="+mn-lt"/>
                    <a:ea typeface="ヒラギノ角ゴ ProN W3"/>
                  </a:endParaRPr>
                </a:p>
              </p:txBody>
            </p:sp>
            <p:sp>
              <p:nvSpPr>
                <p:cNvPr id="236" name="Freeform 88"/>
                <p:cNvSpPr>
                  <a:spLocks/>
                </p:cNvSpPr>
                <p:nvPr/>
              </p:nvSpPr>
              <p:spPr bwMode="auto">
                <a:xfrm>
                  <a:off x="89" y="64"/>
                  <a:ext cx="56" cy="46"/>
                </a:xfrm>
                <a:custGeom>
                  <a:avLst/>
                  <a:gdLst/>
                  <a:ahLst/>
                  <a:cxnLst>
                    <a:cxn ang="0">
                      <a:pos x="16200" y="0"/>
                    </a:cxn>
                    <a:cxn ang="0">
                      <a:pos x="21600" y="0"/>
                    </a:cxn>
                    <a:cxn ang="0">
                      <a:pos x="21600" y="2160"/>
                    </a:cxn>
                    <a:cxn ang="0">
                      <a:pos x="16200" y="10800"/>
                    </a:cxn>
                    <a:cxn ang="0">
                      <a:pos x="12600" y="10800"/>
                    </a:cxn>
                    <a:cxn ang="0">
                      <a:pos x="12600" y="17280"/>
                    </a:cxn>
                    <a:cxn ang="0">
                      <a:pos x="9000" y="17280"/>
                    </a:cxn>
                    <a:cxn ang="0">
                      <a:pos x="9000" y="21600"/>
                    </a:cxn>
                    <a:cxn ang="0">
                      <a:pos x="5400" y="17280"/>
                    </a:cxn>
                    <a:cxn ang="0">
                      <a:pos x="5400" y="10800"/>
                    </a:cxn>
                    <a:cxn ang="0">
                      <a:pos x="0" y="10800"/>
                    </a:cxn>
                    <a:cxn ang="0">
                      <a:pos x="0" y="6480"/>
                    </a:cxn>
                    <a:cxn ang="0">
                      <a:pos x="9000" y="6480"/>
                    </a:cxn>
                    <a:cxn ang="0">
                      <a:pos x="9000" y="2160"/>
                    </a:cxn>
                    <a:cxn ang="0">
                      <a:pos x="12600" y="2160"/>
                    </a:cxn>
                    <a:cxn ang="0">
                      <a:pos x="16200" y="0"/>
                    </a:cxn>
                    <a:cxn ang="0">
                      <a:pos x="16200" y="0"/>
                    </a:cxn>
                  </a:cxnLst>
                  <a:rect l="0" t="0" r="r" b="b"/>
                  <a:pathLst>
                    <a:path w="21600" h="21600">
                      <a:moveTo>
                        <a:pt x="16200" y="0"/>
                      </a:moveTo>
                      <a:lnTo>
                        <a:pt x="21600" y="0"/>
                      </a:lnTo>
                      <a:lnTo>
                        <a:pt x="21600" y="2160"/>
                      </a:lnTo>
                      <a:lnTo>
                        <a:pt x="16200" y="10800"/>
                      </a:lnTo>
                      <a:lnTo>
                        <a:pt x="12600" y="10800"/>
                      </a:lnTo>
                      <a:lnTo>
                        <a:pt x="12600" y="17280"/>
                      </a:lnTo>
                      <a:lnTo>
                        <a:pt x="9000" y="17280"/>
                      </a:lnTo>
                      <a:lnTo>
                        <a:pt x="9000" y="21600"/>
                      </a:lnTo>
                      <a:lnTo>
                        <a:pt x="5400" y="17280"/>
                      </a:lnTo>
                      <a:lnTo>
                        <a:pt x="5400" y="10800"/>
                      </a:lnTo>
                      <a:lnTo>
                        <a:pt x="0" y="10800"/>
                      </a:lnTo>
                      <a:lnTo>
                        <a:pt x="0" y="6480"/>
                      </a:lnTo>
                      <a:lnTo>
                        <a:pt x="9000" y="6480"/>
                      </a:lnTo>
                      <a:lnTo>
                        <a:pt x="9000" y="2160"/>
                      </a:lnTo>
                      <a:lnTo>
                        <a:pt x="12600" y="2160"/>
                      </a:lnTo>
                      <a:lnTo>
                        <a:pt x="16200" y="0"/>
                      </a:lnTo>
                      <a:close/>
                      <a:moveTo>
                        <a:pt x="16200" y="0"/>
                      </a:moveTo>
                    </a:path>
                  </a:pathLst>
                </a:custGeom>
                <a:solidFill>
                  <a:srgbClr val="00BACF">
                    <a:alpha val="50000"/>
                  </a:srgbClr>
                </a:solidFill>
                <a:ln w="12700" cap="flat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1pPr>
                  <a:lvl2pPr marL="456961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2pPr>
                  <a:lvl3pPr marL="913922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3pPr>
                  <a:lvl4pPr marL="1370882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4pPr>
                  <a:lvl5pPr marL="1827844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5pPr>
                  <a:lvl6pPr marL="2284804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6pPr>
                  <a:lvl7pPr marL="2741765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7pPr>
                  <a:lvl8pPr marL="3198726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8pPr>
                  <a:lvl9pPr marL="3655685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PE" sz="1662" b="0" kern="0" dirty="0">
                    <a:solidFill>
                      <a:sysClr val="windowText" lastClr="000000"/>
                    </a:solidFill>
                    <a:latin typeface="+mn-lt"/>
                    <a:ea typeface="ヒラギノ角ゴ ProN W3"/>
                  </a:endParaRPr>
                </a:p>
              </p:txBody>
            </p:sp>
            <p:sp>
              <p:nvSpPr>
                <p:cNvPr id="237" name="Freeform 89"/>
                <p:cNvSpPr>
                  <a:spLocks/>
                </p:cNvSpPr>
                <p:nvPr/>
              </p:nvSpPr>
              <p:spPr bwMode="auto">
                <a:xfrm>
                  <a:off x="56" y="87"/>
                  <a:ext cx="24" cy="14"/>
                </a:xfrm>
                <a:custGeom>
                  <a:avLst/>
                  <a:gdLst/>
                  <a:ahLst/>
                  <a:cxnLst>
                    <a:cxn ang="0">
                      <a:pos x="8640" y="0"/>
                    </a:cxn>
                    <a:cxn ang="0">
                      <a:pos x="21600" y="0"/>
                    </a:cxn>
                    <a:cxn ang="0">
                      <a:pos x="21600" y="14400"/>
                    </a:cxn>
                    <a:cxn ang="0">
                      <a:pos x="12960" y="21600"/>
                    </a:cxn>
                    <a:cxn ang="0">
                      <a:pos x="0" y="21600"/>
                    </a:cxn>
                    <a:cxn ang="0">
                      <a:pos x="0" y="14400"/>
                    </a:cxn>
                    <a:cxn ang="0">
                      <a:pos x="8640" y="0"/>
                    </a:cxn>
                    <a:cxn ang="0">
                      <a:pos x="8640" y="0"/>
                    </a:cxn>
                  </a:cxnLst>
                  <a:rect l="0" t="0" r="r" b="b"/>
                  <a:pathLst>
                    <a:path w="21600" h="21600">
                      <a:moveTo>
                        <a:pt x="8640" y="0"/>
                      </a:moveTo>
                      <a:lnTo>
                        <a:pt x="21600" y="0"/>
                      </a:lnTo>
                      <a:lnTo>
                        <a:pt x="21600" y="14400"/>
                      </a:lnTo>
                      <a:lnTo>
                        <a:pt x="12960" y="21600"/>
                      </a:lnTo>
                      <a:lnTo>
                        <a:pt x="0" y="21600"/>
                      </a:lnTo>
                      <a:lnTo>
                        <a:pt x="0" y="14400"/>
                      </a:lnTo>
                      <a:lnTo>
                        <a:pt x="8640" y="0"/>
                      </a:lnTo>
                      <a:close/>
                      <a:moveTo>
                        <a:pt x="8640" y="0"/>
                      </a:moveTo>
                    </a:path>
                  </a:pathLst>
                </a:custGeom>
                <a:solidFill>
                  <a:srgbClr val="00BACF"/>
                </a:solidFill>
                <a:ln w="12700" cap="flat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1pPr>
                  <a:lvl2pPr marL="456961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2pPr>
                  <a:lvl3pPr marL="913922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3pPr>
                  <a:lvl4pPr marL="1370882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4pPr>
                  <a:lvl5pPr marL="1827844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5pPr>
                  <a:lvl6pPr marL="2284804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6pPr>
                  <a:lvl7pPr marL="2741765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7pPr>
                  <a:lvl8pPr marL="3198726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8pPr>
                  <a:lvl9pPr marL="3655685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PE" sz="1662" b="0" kern="0" dirty="0">
                    <a:solidFill>
                      <a:sysClr val="windowText" lastClr="000000"/>
                    </a:solidFill>
                    <a:latin typeface="+mn-lt"/>
                    <a:ea typeface="ヒラギノ角ゴ ProN W3"/>
                  </a:endParaRPr>
                </a:p>
              </p:txBody>
            </p:sp>
            <p:sp>
              <p:nvSpPr>
                <p:cNvPr id="238" name="Freeform 90"/>
                <p:cNvSpPr>
                  <a:spLocks/>
                </p:cNvSpPr>
                <p:nvPr/>
              </p:nvSpPr>
              <p:spPr bwMode="auto">
                <a:xfrm>
                  <a:off x="287" y="43"/>
                  <a:ext cx="42" cy="56"/>
                </a:xfrm>
                <a:custGeom>
                  <a:avLst/>
                  <a:gdLst/>
                  <a:ahLst/>
                  <a:cxnLst>
                    <a:cxn ang="0">
                      <a:pos x="12000" y="0"/>
                    </a:cxn>
                    <a:cxn ang="0">
                      <a:pos x="16800" y="0"/>
                    </a:cxn>
                    <a:cxn ang="0">
                      <a:pos x="21600" y="3600"/>
                    </a:cxn>
                    <a:cxn ang="0">
                      <a:pos x="21600" y="7200"/>
                    </a:cxn>
                    <a:cxn ang="0">
                      <a:pos x="16800" y="7200"/>
                    </a:cxn>
                    <a:cxn ang="0">
                      <a:pos x="16800" y="12600"/>
                    </a:cxn>
                    <a:cxn ang="0">
                      <a:pos x="12000" y="16200"/>
                    </a:cxn>
                    <a:cxn ang="0">
                      <a:pos x="7200" y="16200"/>
                    </a:cxn>
                    <a:cxn ang="0">
                      <a:pos x="0" y="21600"/>
                    </a:cxn>
                    <a:cxn ang="0">
                      <a:pos x="0" y="16200"/>
                    </a:cxn>
                    <a:cxn ang="0">
                      <a:pos x="4800" y="16200"/>
                    </a:cxn>
                    <a:cxn ang="0">
                      <a:pos x="4800" y="12600"/>
                    </a:cxn>
                    <a:cxn ang="0">
                      <a:pos x="7200" y="9000"/>
                    </a:cxn>
                    <a:cxn ang="0">
                      <a:pos x="7200" y="7200"/>
                    </a:cxn>
                    <a:cxn ang="0">
                      <a:pos x="12000" y="7200"/>
                    </a:cxn>
                    <a:cxn ang="0">
                      <a:pos x="12000" y="0"/>
                    </a:cxn>
                    <a:cxn ang="0">
                      <a:pos x="12000" y="0"/>
                    </a:cxn>
                  </a:cxnLst>
                  <a:rect l="0" t="0" r="r" b="b"/>
                  <a:pathLst>
                    <a:path w="21600" h="21600">
                      <a:moveTo>
                        <a:pt x="12000" y="0"/>
                      </a:moveTo>
                      <a:lnTo>
                        <a:pt x="16800" y="0"/>
                      </a:lnTo>
                      <a:lnTo>
                        <a:pt x="21600" y="3600"/>
                      </a:lnTo>
                      <a:lnTo>
                        <a:pt x="21600" y="7200"/>
                      </a:lnTo>
                      <a:lnTo>
                        <a:pt x="16800" y="7200"/>
                      </a:lnTo>
                      <a:lnTo>
                        <a:pt x="16800" y="12600"/>
                      </a:lnTo>
                      <a:lnTo>
                        <a:pt x="12000" y="16200"/>
                      </a:lnTo>
                      <a:lnTo>
                        <a:pt x="7200" y="16200"/>
                      </a:lnTo>
                      <a:lnTo>
                        <a:pt x="0" y="21600"/>
                      </a:lnTo>
                      <a:lnTo>
                        <a:pt x="0" y="16200"/>
                      </a:lnTo>
                      <a:lnTo>
                        <a:pt x="4800" y="16200"/>
                      </a:lnTo>
                      <a:lnTo>
                        <a:pt x="4800" y="12600"/>
                      </a:lnTo>
                      <a:lnTo>
                        <a:pt x="7200" y="9000"/>
                      </a:lnTo>
                      <a:lnTo>
                        <a:pt x="7200" y="7200"/>
                      </a:lnTo>
                      <a:lnTo>
                        <a:pt x="12000" y="7200"/>
                      </a:lnTo>
                      <a:lnTo>
                        <a:pt x="12000" y="0"/>
                      </a:lnTo>
                      <a:close/>
                      <a:moveTo>
                        <a:pt x="12000" y="0"/>
                      </a:moveTo>
                    </a:path>
                  </a:pathLst>
                </a:custGeom>
                <a:solidFill>
                  <a:srgbClr val="00BACF">
                    <a:alpha val="50000"/>
                  </a:srgbClr>
                </a:solidFill>
                <a:ln w="12700" cap="flat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1pPr>
                  <a:lvl2pPr marL="456961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2pPr>
                  <a:lvl3pPr marL="913922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3pPr>
                  <a:lvl4pPr marL="1370882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4pPr>
                  <a:lvl5pPr marL="1827844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5pPr>
                  <a:lvl6pPr marL="2284804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6pPr>
                  <a:lvl7pPr marL="2741765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7pPr>
                  <a:lvl8pPr marL="3198726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8pPr>
                  <a:lvl9pPr marL="3655685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PE" sz="1662" b="0" kern="0" dirty="0">
                    <a:solidFill>
                      <a:sysClr val="windowText" lastClr="000000"/>
                    </a:solidFill>
                    <a:latin typeface="+mn-lt"/>
                    <a:ea typeface="ヒラギノ角ゴ ProN W3"/>
                  </a:endParaRPr>
                </a:p>
              </p:txBody>
            </p:sp>
            <p:sp>
              <p:nvSpPr>
                <p:cNvPr id="239" name="Freeform 91"/>
                <p:cNvSpPr>
                  <a:spLocks/>
                </p:cNvSpPr>
                <p:nvPr/>
              </p:nvSpPr>
              <p:spPr bwMode="auto">
                <a:xfrm>
                  <a:off x="0" y="108"/>
                  <a:ext cx="22" cy="33"/>
                </a:xfrm>
                <a:custGeom>
                  <a:avLst/>
                  <a:gdLst/>
                  <a:ahLst/>
                  <a:cxnLst>
                    <a:cxn ang="0">
                      <a:pos x="4320" y="0"/>
                    </a:cxn>
                    <a:cxn ang="0">
                      <a:pos x="21600" y="0"/>
                    </a:cxn>
                    <a:cxn ang="0">
                      <a:pos x="21600" y="12343"/>
                    </a:cxn>
                    <a:cxn ang="0">
                      <a:pos x="4320" y="21600"/>
                    </a:cxn>
                    <a:cxn ang="0">
                      <a:pos x="4320" y="15429"/>
                    </a:cxn>
                    <a:cxn ang="0">
                      <a:pos x="0" y="15429"/>
                    </a:cxn>
                    <a:cxn ang="0">
                      <a:pos x="0" y="12343"/>
                    </a:cxn>
                    <a:cxn ang="0">
                      <a:pos x="4320" y="12343"/>
                    </a:cxn>
                    <a:cxn ang="0">
                      <a:pos x="4320" y="0"/>
                    </a:cxn>
                    <a:cxn ang="0">
                      <a:pos x="4320" y="0"/>
                    </a:cxn>
                  </a:cxnLst>
                  <a:rect l="0" t="0" r="r" b="b"/>
                  <a:pathLst>
                    <a:path w="21600" h="21600">
                      <a:moveTo>
                        <a:pt x="4320" y="0"/>
                      </a:moveTo>
                      <a:lnTo>
                        <a:pt x="21600" y="0"/>
                      </a:lnTo>
                      <a:lnTo>
                        <a:pt x="21600" y="12343"/>
                      </a:lnTo>
                      <a:lnTo>
                        <a:pt x="4320" y="21600"/>
                      </a:lnTo>
                      <a:lnTo>
                        <a:pt x="4320" y="15429"/>
                      </a:lnTo>
                      <a:lnTo>
                        <a:pt x="0" y="15429"/>
                      </a:lnTo>
                      <a:lnTo>
                        <a:pt x="0" y="12343"/>
                      </a:lnTo>
                      <a:lnTo>
                        <a:pt x="4320" y="12343"/>
                      </a:lnTo>
                      <a:lnTo>
                        <a:pt x="4320" y="0"/>
                      </a:lnTo>
                      <a:close/>
                      <a:moveTo>
                        <a:pt x="4320" y="0"/>
                      </a:moveTo>
                    </a:path>
                  </a:pathLst>
                </a:custGeom>
                <a:solidFill>
                  <a:srgbClr val="00BACF">
                    <a:alpha val="50000"/>
                  </a:srgbClr>
                </a:solidFill>
                <a:ln w="12700" cap="flat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1pPr>
                  <a:lvl2pPr marL="456961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2pPr>
                  <a:lvl3pPr marL="913922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3pPr>
                  <a:lvl4pPr marL="1370882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4pPr>
                  <a:lvl5pPr marL="1827844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5pPr>
                  <a:lvl6pPr marL="2284804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6pPr>
                  <a:lvl7pPr marL="2741765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7pPr>
                  <a:lvl8pPr marL="3198726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8pPr>
                  <a:lvl9pPr marL="3655685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PE" sz="1662" b="0" kern="0" dirty="0">
                    <a:solidFill>
                      <a:sysClr val="windowText" lastClr="000000"/>
                    </a:solidFill>
                    <a:latin typeface="+mn-lt"/>
                    <a:ea typeface="ヒラギノ角ゴ ProN W3"/>
                  </a:endParaRPr>
                </a:p>
              </p:txBody>
            </p:sp>
            <p:sp>
              <p:nvSpPr>
                <p:cNvPr id="240" name="Freeform 92"/>
                <p:cNvSpPr>
                  <a:spLocks/>
                </p:cNvSpPr>
                <p:nvPr/>
              </p:nvSpPr>
              <p:spPr bwMode="auto">
                <a:xfrm>
                  <a:off x="4" y="29"/>
                  <a:ext cx="28" cy="33"/>
                </a:xfrm>
                <a:custGeom>
                  <a:avLst/>
                  <a:gdLst/>
                  <a:ahLst/>
                  <a:cxnLst>
                    <a:cxn ang="0">
                      <a:pos x="7200" y="0"/>
                    </a:cxn>
                    <a:cxn ang="0">
                      <a:pos x="14400" y="0"/>
                    </a:cxn>
                    <a:cxn ang="0">
                      <a:pos x="21600" y="3086"/>
                    </a:cxn>
                    <a:cxn ang="0">
                      <a:pos x="21600" y="21600"/>
                    </a:cxn>
                    <a:cxn ang="0">
                      <a:pos x="7200" y="21600"/>
                    </a:cxn>
                    <a:cxn ang="0">
                      <a:pos x="7200" y="15429"/>
                    </a:cxn>
                    <a:cxn ang="0">
                      <a:pos x="0" y="15429"/>
                    </a:cxn>
                    <a:cxn ang="0">
                      <a:pos x="0" y="3086"/>
                    </a:cxn>
                    <a:cxn ang="0">
                      <a:pos x="7200" y="3086"/>
                    </a:cxn>
                    <a:cxn ang="0">
                      <a:pos x="7200" y="0"/>
                    </a:cxn>
                    <a:cxn ang="0">
                      <a:pos x="7200" y="0"/>
                    </a:cxn>
                  </a:cxnLst>
                  <a:rect l="0" t="0" r="r" b="b"/>
                  <a:pathLst>
                    <a:path w="21600" h="21600">
                      <a:moveTo>
                        <a:pt x="7200" y="0"/>
                      </a:moveTo>
                      <a:lnTo>
                        <a:pt x="14400" y="0"/>
                      </a:lnTo>
                      <a:lnTo>
                        <a:pt x="21600" y="3086"/>
                      </a:lnTo>
                      <a:lnTo>
                        <a:pt x="21600" y="21600"/>
                      </a:lnTo>
                      <a:lnTo>
                        <a:pt x="7200" y="21600"/>
                      </a:lnTo>
                      <a:lnTo>
                        <a:pt x="7200" y="15429"/>
                      </a:lnTo>
                      <a:lnTo>
                        <a:pt x="0" y="15429"/>
                      </a:lnTo>
                      <a:lnTo>
                        <a:pt x="0" y="3086"/>
                      </a:lnTo>
                      <a:lnTo>
                        <a:pt x="7200" y="3086"/>
                      </a:lnTo>
                      <a:lnTo>
                        <a:pt x="7200" y="0"/>
                      </a:lnTo>
                      <a:close/>
                      <a:moveTo>
                        <a:pt x="7200" y="0"/>
                      </a:moveTo>
                    </a:path>
                  </a:pathLst>
                </a:custGeom>
                <a:solidFill>
                  <a:srgbClr val="00BACF">
                    <a:alpha val="50000"/>
                  </a:srgbClr>
                </a:solidFill>
                <a:ln w="12700" cap="flat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lIns="0" tIns="0" rIns="0" bIns="0"/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1pPr>
                  <a:lvl2pPr marL="456961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2pPr>
                  <a:lvl3pPr marL="913922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3pPr>
                  <a:lvl4pPr marL="1370882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4pPr>
                  <a:lvl5pPr marL="1827844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5pPr>
                  <a:lvl6pPr marL="2284804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6pPr>
                  <a:lvl7pPr marL="2741765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7pPr>
                  <a:lvl8pPr marL="3198726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8pPr>
                  <a:lvl9pPr marL="3655685" algn="l" defTabSz="913922" rtl="0" eaLnBrk="1" latinLnBrk="0" hangingPunct="1">
                    <a:defRPr sz="1200" b="1" kern="1200">
                      <a:solidFill>
                        <a:schemeClr val="tx1"/>
                      </a:solidFill>
                      <a:latin typeface="Telefonica Text" pitchFamily="2" charset="0"/>
                      <a:ea typeface="MS PGothic" pitchFamily="34" charset="-128"/>
                      <a:cs typeface="+mn-cs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PE" sz="1662" b="0" kern="0" dirty="0">
                    <a:solidFill>
                      <a:sysClr val="windowText" lastClr="000000"/>
                    </a:solidFill>
                    <a:latin typeface="+mn-lt"/>
                    <a:ea typeface="ヒラギノ角ゴ ProN W3"/>
                  </a:endParaRPr>
                </a:p>
              </p:txBody>
            </p:sp>
          </p:grpSp>
        </p:grpSp>
      </p:grpSp>
      <p:pic>
        <p:nvPicPr>
          <p:cNvPr id="60" name="table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95894" y="2047895"/>
            <a:ext cx="1901811" cy="934914"/>
          </a:xfrm>
          <a:prstGeom prst="rect">
            <a:avLst/>
          </a:prstGeom>
        </p:spPr>
      </p:pic>
      <p:sp>
        <p:nvSpPr>
          <p:cNvPr id="61" name="Retângulo 402"/>
          <p:cNvSpPr/>
          <p:nvPr/>
        </p:nvSpPr>
        <p:spPr bwMode="auto">
          <a:xfrm>
            <a:off x="4799011" y="1497964"/>
            <a:ext cx="4161163" cy="4488609"/>
          </a:xfrm>
          <a:prstGeom prst="rect">
            <a:avLst/>
          </a:prstGeom>
          <a:solidFill>
            <a:srgbClr val="00C6DA">
              <a:lumMod val="50000"/>
            </a:srgb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4378" tIns="42190" rIns="84378" bIns="4219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algn="ctr" defTabSz="843811" eaLnBrk="1" hangingPunct="1">
              <a:defRPr/>
            </a:pPr>
            <a:endParaRPr lang="es-PE" sz="1939" b="0" dirty="0">
              <a:solidFill>
                <a:srgbClr val="00A5B7"/>
              </a:solidFill>
              <a:latin typeface="+mn-lt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62" name="AutoShape 9"/>
          <p:cNvSpPr>
            <a:spLocks/>
          </p:cNvSpPr>
          <p:nvPr/>
        </p:nvSpPr>
        <p:spPr bwMode="auto">
          <a:xfrm>
            <a:off x="7447077" y="2976377"/>
            <a:ext cx="13142" cy="14714"/>
          </a:xfrm>
          <a:custGeom>
            <a:avLst/>
            <a:gdLst>
              <a:gd name="T0" fmla="*/ 10800 w 21600"/>
              <a:gd name="T1" fmla="*/ 10800 h 21600"/>
            </a:gdLst>
            <a:ahLst/>
            <a:cxnLst>
              <a:cxn ang="0">
                <a:pos x="T0" y="T1"/>
              </a:cxn>
            </a:cxnLst>
            <a:rect l="0" t="0" r="r" b="b"/>
            <a:pathLst>
              <a:path w="21600" h="21600">
                <a:moveTo>
                  <a:pt x="0" y="6171"/>
                </a:moveTo>
                <a:lnTo>
                  <a:pt x="2700" y="6171"/>
                </a:lnTo>
                <a:lnTo>
                  <a:pt x="2700" y="12343"/>
                </a:lnTo>
                <a:lnTo>
                  <a:pt x="0" y="12343"/>
                </a:lnTo>
                <a:lnTo>
                  <a:pt x="0" y="6171"/>
                </a:lnTo>
                <a:close/>
                <a:moveTo>
                  <a:pt x="13500" y="0"/>
                </a:moveTo>
                <a:lnTo>
                  <a:pt x="18900" y="0"/>
                </a:lnTo>
                <a:lnTo>
                  <a:pt x="18900" y="12343"/>
                </a:lnTo>
                <a:lnTo>
                  <a:pt x="21600" y="12343"/>
                </a:lnTo>
                <a:lnTo>
                  <a:pt x="21600" y="18514"/>
                </a:lnTo>
                <a:lnTo>
                  <a:pt x="13500" y="18514"/>
                </a:lnTo>
                <a:lnTo>
                  <a:pt x="13500" y="21600"/>
                </a:lnTo>
                <a:lnTo>
                  <a:pt x="8100" y="18514"/>
                </a:lnTo>
                <a:lnTo>
                  <a:pt x="8100" y="6171"/>
                </a:lnTo>
                <a:lnTo>
                  <a:pt x="13500" y="6171"/>
                </a:lnTo>
                <a:lnTo>
                  <a:pt x="13500" y="0"/>
                </a:lnTo>
                <a:close/>
                <a:moveTo>
                  <a:pt x="13500" y="0"/>
                </a:moveTo>
              </a:path>
            </a:pathLst>
          </a:custGeom>
          <a:solidFill>
            <a:srgbClr val="00BACF"/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63" name="AutoShape 10"/>
          <p:cNvSpPr>
            <a:spLocks/>
          </p:cNvSpPr>
          <p:nvPr/>
        </p:nvSpPr>
        <p:spPr bwMode="auto">
          <a:xfrm>
            <a:off x="7009870" y="2945327"/>
            <a:ext cx="658230" cy="380936"/>
          </a:xfrm>
          <a:custGeom>
            <a:avLst/>
            <a:gdLst>
              <a:gd name="T0" fmla="*/ 10800 w 21600"/>
              <a:gd name="T1" fmla="*/ 10800 h 21600"/>
            </a:gdLst>
            <a:ahLst/>
            <a:cxnLst>
              <a:cxn ang="0">
                <a:pos x="T0" y="T1"/>
              </a:cxn>
            </a:cxnLst>
            <a:rect l="0" t="0" r="r" b="b"/>
            <a:pathLst>
              <a:path w="21600" h="21600">
                <a:moveTo>
                  <a:pt x="0" y="5488"/>
                </a:moveTo>
                <a:lnTo>
                  <a:pt x="198" y="5488"/>
                </a:lnTo>
                <a:lnTo>
                  <a:pt x="198" y="5721"/>
                </a:lnTo>
                <a:lnTo>
                  <a:pt x="0" y="5721"/>
                </a:lnTo>
                <a:lnTo>
                  <a:pt x="0" y="5488"/>
                </a:lnTo>
                <a:close/>
                <a:moveTo>
                  <a:pt x="2081" y="934"/>
                </a:moveTo>
                <a:lnTo>
                  <a:pt x="2180" y="934"/>
                </a:lnTo>
                <a:lnTo>
                  <a:pt x="2180" y="1751"/>
                </a:lnTo>
                <a:lnTo>
                  <a:pt x="2576" y="1751"/>
                </a:lnTo>
                <a:lnTo>
                  <a:pt x="2576" y="2569"/>
                </a:lnTo>
                <a:lnTo>
                  <a:pt x="2774" y="2569"/>
                </a:lnTo>
                <a:lnTo>
                  <a:pt x="2774" y="3036"/>
                </a:lnTo>
                <a:lnTo>
                  <a:pt x="2576" y="3269"/>
                </a:lnTo>
                <a:lnTo>
                  <a:pt x="2576" y="3386"/>
                </a:lnTo>
                <a:lnTo>
                  <a:pt x="2378" y="3386"/>
                </a:lnTo>
                <a:lnTo>
                  <a:pt x="2378" y="3619"/>
                </a:lnTo>
                <a:lnTo>
                  <a:pt x="2180" y="3853"/>
                </a:lnTo>
                <a:lnTo>
                  <a:pt x="2180" y="4086"/>
                </a:lnTo>
                <a:lnTo>
                  <a:pt x="2081" y="4203"/>
                </a:lnTo>
                <a:lnTo>
                  <a:pt x="1883" y="4203"/>
                </a:lnTo>
                <a:lnTo>
                  <a:pt x="1883" y="4670"/>
                </a:lnTo>
                <a:lnTo>
                  <a:pt x="2081" y="4670"/>
                </a:lnTo>
                <a:lnTo>
                  <a:pt x="2081" y="4904"/>
                </a:lnTo>
                <a:lnTo>
                  <a:pt x="2180" y="4904"/>
                </a:lnTo>
                <a:lnTo>
                  <a:pt x="2180" y="5021"/>
                </a:lnTo>
                <a:lnTo>
                  <a:pt x="2378" y="5021"/>
                </a:lnTo>
                <a:lnTo>
                  <a:pt x="2576" y="5254"/>
                </a:lnTo>
                <a:lnTo>
                  <a:pt x="2576" y="5838"/>
                </a:lnTo>
                <a:lnTo>
                  <a:pt x="2873" y="5838"/>
                </a:lnTo>
                <a:lnTo>
                  <a:pt x="3270" y="5721"/>
                </a:lnTo>
                <a:lnTo>
                  <a:pt x="3468" y="5488"/>
                </a:lnTo>
                <a:lnTo>
                  <a:pt x="3468" y="5254"/>
                </a:lnTo>
                <a:lnTo>
                  <a:pt x="3567" y="5254"/>
                </a:lnTo>
                <a:lnTo>
                  <a:pt x="3567" y="4904"/>
                </a:lnTo>
                <a:lnTo>
                  <a:pt x="3468" y="4670"/>
                </a:lnTo>
                <a:lnTo>
                  <a:pt x="3468" y="4203"/>
                </a:lnTo>
                <a:lnTo>
                  <a:pt x="3270" y="4203"/>
                </a:lnTo>
                <a:lnTo>
                  <a:pt x="3270" y="3619"/>
                </a:lnTo>
                <a:lnTo>
                  <a:pt x="3072" y="3619"/>
                </a:lnTo>
                <a:lnTo>
                  <a:pt x="3072" y="3386"/>
                </a:lnTo>
                <a:lnTo>
                  <a:pt x="2873" y="3269"/>
                </a:lnTo>
                <a:lnTo>
                  <a:pt x="2873" y="2218"/>
                </a:lnTo>
                <a:lnTo>
                  <a:pt x="3270" y="2218"/>
                </a:lnTo>
                <a:lnTo>
                  <a:pt x="3468" y="1985"/>
                </a:lnTo>
                <a:lnTo>
                  <a:pt x="3567" y="1985"/>
                </a:lnTo>
                <a:lnTo>
                  <a:pt x="3765" y="1751"/>
                </a:lnTo>
                <a:lnTo>
                  <a:pt x="4161" y="1751"/>
                </a:lnTo>
                <a:lnTo>
                  <a:pt x="4261" y="1635"/>
                </a:lnTo>
                <a:lnTo>
                  <a:pt x="4459" y="1635"/>
                </a:lnTo>
                <a:lnTo>
                  <a:pt x="4855" y="1401"/>
                </a:lnTo>
                <a:lnTo>
                  <a:pt x="5152" y="1401"/>
                </a:lnTo>
                <a:lnTo>
                  <a:pt x="5152" y="1168"/>
                </a:lnTo>
                <a:lnTo>
                  <a:pt x="5648" y="1168"/>
                </a:lnTo>
                <a:lnTo>
                  <a:pt x="5648" y="934"/>
                </a:lnTo>
                <a:lnTo>
                  <a:pt x="5846" y="1168"/>
                </a:lnTo>
                <a:lnTo>
                  <a:pt x="6539" y="1168"/>
                </a:lnTo>
                <a:lnTo>
                  <a:pt x="6539" y="1401"/>
                </a:lnTo>
                <a:lnTo>
                  <a:pt x="7431" y="1401"/>
                </a:lnTo>
                <a:lnTo>
                  <a:pt x="7927" y="1985"/>
                </a:lnTo>
                <a:lnTo>
                  <a:pt x="7927" y="2452"/>
                </a:lnTo>
                <a:lnTo>
                  <a:pt x="8125" y="2452"/>
                </a:lnTo>
                <a:lnTo>
                  <a:pt x="8125" y="2802"/>
                </a:lnTo>
                <a:lnTo>
                  <a:pt x="8323" y="2802"/>
                </a:lnTo>
                <a:lnTo>
                  <a:pt x="8323" y="3036"/>
                </a:lnTo>
                <a:lnTo>
                  <a:pt x="8620" y="3036"/>
                </a:lnTo>
                <a:lnTo>
                  <a:pt x="8818" y="3269"/>
                </a:lnTo>
                <a:lnTo>
                  <a:pt x="9017" y="3036"/>
                </a:lnTo>
                <a:lnTo>
                  <a:pt x="9809" y="3036"/>
                </a:lnTo>
                <a:lnTo>
                  <a:pt x="10007" y="2802"/>
                </a:lnTo>
                <a:lnTo>
                  <a:pt x="11593" y="2802"/>
                </a:lnTo>
                <a:lnTo>
                  <a:pt x="11593" y="3036"/>
                </a:lnTo>
                <a:lnTo>
                  <a:pt x="11692" y="3269"/>
                </a:lnTo>
                <a:lnTo>
                  <a:pt x="11692" y="3386"/>
                </a:lnTo>
                <a:lnTo>
                  <a:pt x="11890" y="3386"/>
                </a:lnTo>
                <a:lnTo>
                  <a:pt x="11890" y="3619"/>
                </a:lnTo>
                <a:lnTo>
                  <a:pt x="12088" y="3619"/>
                </a:lnTo>
                <a:lnTo>
                  <a:pt x="12286" y="3853"/>
                </a:lnTo>
                <a:lnTo>
                  <a:pt x="13673" y="3853"/>
                </a:lnTo>
                <a:lnTo>
                  <a:pt x="13772" y="3619"/>
                </a:lnTo>
                <a:lnTo>
                  <a:pt x="14169" y="3619"/>
                </a:lnTo>
                <a:lnTo>
                  <a:pt x="14169" y="3386"/>
                </a:lnTo>
                <a:lnTo>
                  <a:pt x="14466" y="3386"/>
                </a:lnTo>
                <a:lnTo>
                  <a:pt x="14664" y="3269"/>
                </a:lnTo>
                <a:lnTo>
                  <a:pt x="15160" y="3269"/>
                </a:lnTo>
                <a:lnTo>
                  <a:pt x="15160" y="3036"/>
                </a:lnTo>
                <a:lnTo>
                  <a:pt x="14367" y="3036"/>
                </a:lnTo>
                <a:lnTo>
                  <a:pt x="14367" y="2802"/>
                </a:lnTo>
                <a:lnTo>
                  <a:pt x="15853" y="2802"/>
                </a:lnTo>
                <a:lnTo>
                  <a:pt x="16051" y="2569"/>
                </a:lnTo>
                <a:lnTo>
                  <a:pt x="18132" y="2569"/>
                </a:lnTo>
                <a:lnTo>
                  <a:pt x="18132" y="2802"/>
                </a:lnTo>
                <a:lnTo>
                  <a:pt x="17835" y="2802"/>
                </a:lnTo>
                <a:lnTo>
                  <a:pt x="17637" y="3036"/>
                </a:lnTo>
                <a:lnTo>
                  <a:pt x="16547" y="3036"/>
                </a:lnTo>
                <a:lnTo>
                  <a:pt x="16547" y="3386"/>
                </a:lnTo>
                <a:lnTo>
                  <a:pt x="16943" y="3386"/>
                </a:lnTo>
                <a:lnTo>
                  <a:pt x="16943" y="3853"/>
                </a:lnTo>
                <a:lnTo>
                  <a:pt x="17240" y="3853"/>
                </a:lnTo>
                <a:lnTo>
                  <a:pt x="17240" y="4203"/>
                </a:lnTo>
                <a:lnTo>
                  <a:pt x="17439" y="4437"/>
                </a:lnTo>
                <a:lnTo>
                  <a:pt x="17637" y="4437"/>
                </a:lnTo>
                <a:lnTo>
                  <a:pt x="17637" y="4203"/>
                </a:lnTo>
                <a:lnTo>
                  <a:pt x="17835" y="4086"/>
                </a:lnTo>
                <a:lnTo>
                  <a:pt x="17934" y="4086"/>
                </a:lnTo>
                <a:lnTo>
                  <a:pt x="17934" y="4203"/>
                </a:lnTo>
                <a:lnTo>
                  <a:pt x="18132" y="4203"/>
                </a:lnTo>
                <a:lnTo>
                  <a:pt x="18132" y="4437"/>
                </a:lnTo>
                <a:lnTo>
                  <a:pt x="18330" y="4437"/>
                </a:lnTo>
                <a:lnTo>
                  <a:pt x="18330" y="4670"/>
                </a:lnTo>
                <a:lnTo>
                  <a:pt x="18528" y="4670"/>
                </a:lnTo>
                <a:lnTo>
                  <a:pt x="18528" y="4437"/>
                </a:lnTo>
                <a:lnTo>
                  <a:pt x="18628" y="4437"/>
                </a:lnTo>
                <a:lnTo>
                  <a:pt x="18628" y="4203"/>
                </a:lnTo>
                <a:lnTo>
                  <a:pt x="18826" y="4203"/>
                </a:lnTo>
                <a:lnTo>
                  <a:pt x="18826" y="4437"/>
                </a:lnTo>
                <a:lnTo>
                  <a:pt x="19024" y="4437"/>
                </a:lnTo>
                <a:lnTo>
                  <a:pt x="19024" y="4670"/>
                </a:lnTo>
                <a:lnTo>
                  <a:pt x="19222" y="4670"/>
                </a:lnTo>
                <a:lnTo>
                  <a:pt x="19222" y="4904"/>
                </a:lnTo>
                <a:lnTo>
                  <a:pt x="19519" y="4904"/>
                </a:lnTo>
                <a:lnTo>
                  <a:pt x="19519" y="5021"/>
                </a:lnTo>
                <a:lnTo>
                  <a:pt x="19916" y="5021"/>
                </a:lnTo>
                <a:lnTo>
                  <a:pt x="19916" y="5254"/>
                </a:lnTo>
                <a:lnTo>
                  <a:pt x="20015" y="5254"/>
                </a:lnTo>
                <a:lnTo>
                  <a:pt x="19916" y="5488"/>
                </a:lnTo>
                <a:lnTo>
                  <a:pt x="19717" y="5488"/>
                </a:lnTo>
                <a:lnTo>
                  <a:pt x="19519" y="5721"/>
                </a:lnTo>
                <a:lnTo>
                  <a:pt x="19519" y="6305"/>
                </a:lnTo>
                <a:lnTo>
                  <a:pt x="19321" y="6305"/>
                </a:lnTo>
                <a:lnTo>
                  <a:pt x="19321" y="6655"/>
                </a:lnTo>
                <a:lnTo>
                  <a:pt x="18826" y="6655"/>
                </a:lnTo>
                <a:lnTo>
                  <a:pt x="18826" y="6889"/>
                </a:lnTo>
                <a:lnTo>
                  <a:pt x="19024" y="6889"/>
                </a:lnTo>
                <a:lnTo>
                  <a:pt x="19024" y="7122"/>
                </a:lnTo>
                <a:lnTo>
                  <a:pt x="19321" y="7122"/>
                </a:lnTo>
                <a:lnTo>
                  <a:pt x="19321" y="6889"/>
                </a:lnTo>
                <a:lnTo>
                  <a:pt x="20015" y="6889"/>
                </a:lnTo>
                <a:lnTo>
                  <a:pt x="20213" y="6655"/>
                </a:lnTo>
                <a:lnTo>
                  <a:pt x="21105" y="6655"/>
                </a:lnTo>
                <a:lnTo>
                  <a:pt x="21600" y="7356"/>
                </a:lnTo>
                <a:lnTo>
                  <a:pt x="21402" y="7356"/>
                </a:lnTo>
                <a:lnTo>
                  <a:pt x="21402" y="7472"/>
                </a:lnTo>
                <a:lnTo>
                  <a:pt x="21204" y="7472"/>
                </a:lnTo>
                <a:lnTo>
                  <a:pt x="21204" y="7706"/>
                </a:lnTo>
                <a:lnTo>
                  <a:pt x="20906" y="7706"/>
                </a:lnTo>
                <a:lnTo>
                  <a:pt x="20906" y="7939"/>
                </a:lnTo>
                <a:lnTo>
                  <a:pt x="20708" y="7939"/>
                </a:lnTo>
                <a:lnTo>
                  <a:pt x="20609" y="8056"/>
                </a:lnTo>
                <a:lnTo>
                  <a:pt x="20411" y="8056"/>
                </a:lnTo>
                <a:lnTo>
                  <a:pt x="20213" y="8290"/>
                </a:lnTo>
                <a:lnTo>
                  <a:pt x="20213" y="8523"/>
                </a:lnTo>
                <a:lnTo>
                  <a:pt x="20015" y="8523"/>
                </a:lnTo>
                <a:lnTo>
                  <a:pt x="20015" y="8874"/>
                </a:lnTo>
                <a:lnTo>
                  <a:pt x="20213" y="8874"/>
                </a:lnTo>
                <a:lnTo>
                  <a:pt x="20213" y="9341"/>
                </a:lnTo>
                <a:lnTo>
                  <a:pt x="20708" y="9341"/>
                </a:lnTo>
                <a:lnTo>
                  <a:pt x="20708" y="9691"/>
                </a:lnTo>
                <a:lnTo>
                  <a:pt x="20609" y="9691"/>
                </a:lnTo>
                <a:lnTo>
                  <a:pt x="20609" y="9924"/>
                </a:lnTo>
                <a:lnTo>
                  <a:pt x="20213" y="9924"/>
                </a:lnTo>
                <a:lnTo>
                  <a:pt x="20213" y="10158"/>
                </a:lnTo>
                <a:lnTo>
                  <a:pt x="19321" y="10158"/>
                </a:lnTo>
                <a:lnTo>
                  <a:pt x="19321" y="10975"/>
                </a:lnTo>
                <a:lnTo>
                  <a:pt x="19519" y="10975"/>
                </a:lnTo>
                <a:lnTo>
                  <a:pt x="19519" y="11325"/>
                </a:lnTo>
                <a:lnTo>
                  <a:pt x="19222" y="11325"/>
                </a:lnTo>
                <a:lnTo>
                  <a:pt x="19222" y="11559"/>
                </a:lnTo>
                <a:lnTo>
                  <a:pt x="19024" y="11559"/>
                </a:lnTo>
                <a:lnTo>
                  <a:pt x="19024" y="11792"/>
                </a:lnTo>
                <a:lnTo>
                  <a:pt x="20015" y="12960"/>
                </a:lnTo>
                <a:lnTo>
                  <a:pt x="20015" y="13427"/>
                </a:lnTo>
                <a:lnTo>
                  <a:pt x="20213" y="13427"/>
                </a:lnTo>
                <a:lnTo>
                  <a:pt x="20213" y="13777"/>
                </a:lnTo>
                <a:lnTo>
                  <a:pt x="20015" y="13777"/>
                </a:lnTo>
                <a:lnTo>
                  <a:pt x="20015" y="14011"/>
                </a:lnTo>
                <a:lnTo>
                  <a:pt x="19916" y="14011"/>
                </a:lnTo>
                <a:lnTo>
                  <a:pt x="19916" y="14244"/>
                </a:lnTo>
                <a:lnTo>
                  <a:pt x="19717" y="14244"/>
                </a:lnTo>
                <a:lnTo>
                  <a:pt x="19717" y="14478"/>
                </a:lnTo>
                <a:lnTo>
                  <a:pt x="19222" y="14478"/>
                </a:lnTo>
                <a:lnTo>
                  <a:pt x="19024" y="14595"/>
                </a:lnTo>
                <a:lnTo>
                  <a:pt x="18826" y="14595"/>
                </a:lnTo>
                <a:lnTo>
                  <a:pt x="18528" y="14828"/>
                </a:lnTo>
                <a:lnTo>
                  <a:pt x="18330" y="15062"/>
                </a:lnTo>
                <a:lnTo>
                  <a:pt x="17141" y="15062"/>
                </a:lnTo>
                <a:lnTo>
                  <a:pt x="16745" y="15412"/>
                </a:lnTo>
                <a:lnTo>
                  <a:pt x="16745" y="16112"/>
                </a:lnTo>
                <a:lnTo>
                  <a:pt x="16547" y="16229"/>
                </a:lnTo>
                <a:lnTo>
                  <a:pt x="16547" y="16112"/>
                </a:lnTo>
                <a:lnTo>
                  <a:pt x="16448" y="16112"/>
                </a:lnTo>
                <a:lnTo>
                  <a:pt x="16448" y="15879"/>
                </a:lnTo>
                <a:lnTo>
                  <a:pt x="16250" y="15645"/>
                </a:lnTo>
                <a:lnTo>
                  <a:pt x="16051" y="15645"/>
                </a:lnTo>
                <a:lnTo>
                  <a:pt x="16051" y="15412"/>
                </a:lnTo>
                <a:lnTo>
                  <a:pt x="15754" y="15412"/>
                </a:lnTo>
                <a:lnTo>
                  <a:pt x="15754" y="15645"/>
                </a:lnTo>
                <a:lnTo>
                  <a:pt x="15556" y="15645"/>
                </a:lnTo>
                <a:lnTo>
                  <a:pt x="15556" y="15412"/>
                </a:lnTo>
                <a:lnTo>
                  <a:pt x="14664" y="15412"/>
                </a:lnTo>
                <a:lnTo>
                  <a:pt x="14466" y="15295"/>
                </a:lnTo>
                <a:lnTo>
                  <a:pt x="14367" y="15295"/>
                </a:lnTo>
                <a:lnTo>
                  <a:pt x="14367" y="15062"/>
                </a:lnTo>
                <a:lnTo>
                  <a:pt x="13971" y="15062"/>
                </a:lnTo>
                <a:lnTo>
                  <a:pt x="13971" y="14828"/>
                </a:lnTo>
                <a:lnTo>
                  <a:pt x="13673" y="14828"/>
                </a:lnTo>
                <a:lnTo>
                  <a:pt x="13673" y="15062"/>
                </a:lnTo>
                <a:lnTo>
                  <a:pt x="13772" y="15062"/>
                </a:lnTo>
                <a:lnTo>
                  <a:pt x="13772" y="15412"/>
                </a:lnTo>
                <a:lnTo>
                  <a:pt x="13971" y="15412"/>
                </a:lnTo>
                <a:lnTo>
                  <a:pt x="13971" y="15645"/>
                </a:lnTo>
                <a:lnTo>
                  <a:pt x="14367" y="15645"/>
                </a:lnTo>
                <a:lnTo>
                  <a:pt x="14367" y="15879"/>
                </a:lnTo>
                <a:lnTo>
                  <a:pt x="14466" y="16112"/>
                </a:lnTo>
                <a:lnTo>
                  <a:pt x="14466" y="16930"/>
                </a:lnTo>
                <a:lnTo>
                  <a:pt x="14664" y="16930"/>
                </a:lnTo>
                <a:lnTo>
                  <a:pt x="14664" y="17046"/>
                </a:lnTo>
                <a:lnTo>
                  <a:pt x="14862" y="17280"/>
                </a:lnTo>
                <a:lnTo>
                  <a:pt x="14862" y="18097"/>
                </a:lnTo>
                <a:lnTo>
                  <a:pt x="15061" y="18097"/>
                </a:lnTo>
                <a:lnTo>
                  <a:pt x="15061" y="18331"/>
                </a:lnTo>
                <a:lnTo>
                  <a:pt x="15853" y="18331"/>
                </a:lnTo>
                <a:lnTo>
                  <a:pt x="15853" y="18681"/>
                </a:lnTo>
                <a:lnTo>
                  <a:pt x="15556" y="18681"/>
                </a:lnTo>
                <a:lnTo>
                  <a:pt x="15556" y="18915"/>
                </a:lnTo>
                <a:lnTo>
                  <a:pt x="15160" y="18915"/>
                </a:lnTo>
                <a:lnTo>
                  <a:pt x="15160" y="19148"/>
                </a:lnTo>
                <a:lnTo>
                  <a:pt x="14862" y="19148"/>
                </a:lnTo>
                <a:lnTo>
                  <a:pt x="14862" y="19498"/>
                </a:lnTo>
                <a:lnTo>
                  <a:pt x="14664" y="19498"/>
                </a:lnTo>
                <a:lnTo>
                  <a:pt x="14664" y="19965"/>
                </a:lnTo>
                <a:lnTo>
                  <a:pt x="14466" y="19965"/>
                </a:lnTo>
                <a:lnTo>
                  <a:pt x="14466" y="20082"/>
                </a:lnTo>
                <a:lnTo>
                  <a:pt x="14367" y="20316"/>
                </a:lnTo>
                <a:lnTo>
                  <a:pt x="14367" y="20082"/>
                </a:lnTo>
                <a:lnTo>
                  <a:pt x="14169" y="20082"/>
                </a:lnTo>
                <a:lnTo>
                  <a:pt x="13971" y="20316"/>
                </a:lnTo>
                <a:lnTo>
                  <a:pt x="13673" y="20316"/>
                </a:lnTo>
                <a:lnTo>
                  <a:pt x="13673" y="20549"/>
                </a:lnTo>
                <a:lnTo>
                  <a:pt x="13277" y="20549"/>
                </a:lnTo>
                <a:lnTo>
                  <a:pt x="12980" y="20899"/>
                </a:lnTo>
                <a:lnTo>
                  <a:pt x="12980" y="21133"/>
                </a:lnTo>
                <a:lnTo>
                  <a:pt x="12782" y="21133"/>
                </a:lnTo>
                <a:lnTo>
                  <a:pt x="12782" y="21366"/>
                </a:lnTo>
                <a:lnTo>
                  <a:pt x="12583" y="21366"/>
                </a:lnTo>
                <a:lnTo>
                  <a:pt x="12583" y="21600"/>
                </a:lnTo>
                <a:lnTo>
                  <a:pt x="12286" y="21600"/>
                </a:lnTo>
                <a:lnTo>
                  <a:pt x="12286" y="21366"/>
                </a:lnTo>
                <a:lnTo>
                  <a:pt x="12385" y="21366"/>
                </a:lnTo>
                <a:lnTo>
                  <a:pt x="12385" y="20899"/>
                </a:lnTo>
                <a:lnTo>
                  <a:pt x="12286" y="20899"/>
                </a:lnTo>
                <a:lnTo>
                  <a:pt x="12286" y="21133"/>
                </a:lnTo>
                <a:lnTo>
                  <a:pt x="11890" y="21133"/>
                </a:lnTo>
                <a:lnTo>
                  <a:pt x="11890" y="21366"/>
                </a:lnTo>
                <a:lnTo>
                  <a:pt x="11593" y="21366"/>
                </a:lnTo>
                <a:lnTo>
                  <a:pt x="11593" y="21600"/>
                </a:lnTo>
                <a:lnTo>
                  <a:pt x="11196" y="21600"/>
                </a:lnTo>
                <a:lnTo>
                  <a:pt x="11196" y="21366"/>
                </a:lnTo>
                <a:lnTo>
                  <a:pt x="11097" y="21366"/>
                </a:lnTo>
                <a:lnTo>
                  <a:pt x="11097" y="21133"/>
                </a:lnTo>
                <a:lnTo>
                  <a:pt x="10701" y="21133"/>
                </a:lnTo>
                <a:lnTo>
                  <a:pt x="10701" y="20899"/>
                </a:lnTo>
                <a:lnTo>
                  <a:pt x="10503" y="20783"/>
                </a:lnTo>
                <a:lnTo>
                  <a:pt x="10404" y="20783"/>
                </a:lnTo>
                <a:lnTo>
                  <a:pt x="10404" y="20316"/>
                </a:lnTo>
                <a:lnTo>
                  <a:pt x="10206" y="20316"/>
                </a:lnTo>
                <a:lnTo>
                  <a:pt x="10206" y="19965"/>
                </a:lnTo>
                <a:lnTo>
                  <a:pt x="10007" y="19732"/>
                </a:lnTo>
                <a:lnTo>
                  <a:pt x="10007" y="18915"/>
                </a:lnTo>
                <a:lnTo>
                  <a:pt x="9809" y="18915"/>
                </a:lnTo>
                <a:lnTo>
                  <a:pt x="9809" y="18681"/>
                </a:lnTo>
                <a:lnTo>
                  <a:pt x="9710" y="18564"/>
                </a:lnTo>
                <a:lnTo>
                  <a:pt x="9710" y="18331"/>
                </a:lnTo>
                <a:lnTo>
                  <a:pt x="9512" y="18331"/>
                </a:lnTo>
                <a:lnTo>
                  <a:pt x="9512" y="18097"/>
                </a:lnTo>
                <a:lnTo>
                  <a:pt x="9116" y="17747"/>
                </a:lnTo>
                <a:lnTo>
                  <a:pt x="9116" y="17514"/>
                </a:lnTo>
                <a:lnTo>
                  <a:pt x="8818" y="17514"/>
                </a:lnTo>
                <a:lnTo>
                  <a:pt x="9512" y="16696"/>
                </a:lnTo>
                <a:lnTo>
                  <a:pt x="9710" y="16696"/>
                </a:lnTo>
                <a:lnTo>
                  <a:pt x="9710" y="16229"/>
                </a:lnTo>
                <a:lnTo>
                  <a:pt x="9512" y="16229"/>
                </a:lnTo>
                <a:lnTo>
                  <a:pt x="9512" y="16112"/>
                </a:lnTo>
                <a:lnTo>
                  <a:pt x="9314" y="16112"/>
                </a:lnTo>
                <a:lnTo>
                  <a:pt x="9314" y="15879"/>
                </a:lnTo>
                <a:lnTo>
                  <a:pt x="9116" y="15879"/>
                </a:lnTo>
                <a:lnTo>
                  <a:pt x="9116" y="15645"/>
                </a:lnTo>
                <a:lnTo>
                  <a:pt x="9017" y="15645"/>
                </a:lnTo>
                <a:lnTo>
                  <a:pt x="9017" y="15062"/>
                </a:lnTo>
                <a:lnTo>
                  <a:pt x="8818" y="14828"/>
                </a:lnTo>
                <a:lnTo>
                  <a:pt x="8818" y="12843"/>
                </a:lnTo>
                <a:lnTo>
                  <a:pt x="9017" y="12610"/>
                </a:lnTo>
                <a:lnTo>
                  <a:pt x="9017" y="12376"/>
                </a:lnTo>
                <a:lnTo>
                  <a:pt x="9116" y="12376"/>
                </a:lnTo>
                <a:lnTo>
                  <a:pt x="9116" y="12026"/>
                </a:lnTo>
                <a:lnTo>
                  <a:pt x="9314" y="12026"/>
                </a:lnTo>
                <a:lnTo>
                  <a:pt x="9314" y="11559"/>
                </a:lnTo>
                <a:lnTo>
                  <a:pt x="9512" y="11325"/>
                </a:lnTo>
                <a:lnTo>
                  <a:pt x="9314" y="11209"/>
                </a:lnTo>
                <a:lnTo>
                  <a:pt x="9116" y="11209"/>
                </a:lnTo>
                <a:lnTo>
                  <a:pt x="8818" y="10975"/>
                </a:lnTo>
                <a:lnTo>
                  <a:pt x="8323" y="10975"/>
                </a:lnTo>
                <a:lnTo>
                  <a:pt x="8125" y="11209"/>
                </a:lnTo>
                <a:lnTo>
                  <a:pt x="6936" y="11209"/>
                </a:lnTo>
                <a:lnTo>
                  <a:pt x="6936" y="11325"/>
                </a:lnTo>
                <a:lnTo>
                  <a:pt x="6242" y="11325"/>
                </a:lnTo>
                <a:lnTo>
                  <a:pt x="6242" y="11209"/>
                </a:lnTo>
                <a:lnTo>
                  <a:pt x="6044" y="11209"/>
                </a:lnTo>
                <a:lnTo>
                  <a:pt x="6044" y="10975"/>
                </a:lnTo>
                <a:lnTo>
                  <a:pt x="5846" y="10975"/>
                </a:lnTo>
                <a:lnTo>
                  <a:pt x="5846" y="10742"/>
                </a:lnTo>
                <a:lnTo>
                  <a:pt x="5648" y="10508"/>
                </a:lnTo>
                <a:lnTo>
                  <a:pt x="5648" y="10391"/>
                </a:lnTo>
                <a:lnTo>
                  <a:pt x="5549" y="10391"/>
                </a:lnTo>
                <a:lnTo>
                  <a:pt x="5549" y="10158"/>
                </a:lnTo>
                <a:lnTo>
                  <a:pt x="5350" y="10158"/>
                </a:lnTo>
                <a:lnTo>
                  <a:pt x="5350" y="9924"/>
                </a:lnTo>
                <a:lnTo>
                  <a:pt x="5152" y="9691"/>
                </a:lnTo>
                <a:lnTo>
                  <a:pt x="4855" y="9691"/>
                </a:lnTo>
                <a:lnTo>
                  <a:pt x="4657" y="9574"/>
                </a:lnTo>
                <a:lnTo>
                  <a:pt x="3765" y="9574"/>
                </a:lnTo>
                <a:lnTo>
                  <a:pt x="3567" y="9691"/>
                </a:lnTo>
                <a:lnTo>
                  <a:pt x="2180" y="9691"/>
                </a:lnTo>
                <a:lnTo>
                  <a:pt x="2180" y="9574"/>
                </a:lnTo>
                <a:lnTo>
                  <a:pt x="2081" y="9574"/>
                </a:lnTo>
                <a:lnTo>
                  <a:pt x="2081" y="9341"/>
                </a:lnTo>
                <a:lnTo>
                  <a:pt x="1883" y="9341"/>
                </a:lnTo>
                <a:lnTo>
                  <a:pt x="1883" y="8874"/>
                </a:lnTo>
                <a:lnTo>
                  <a:pt x="1585" y="8874"/>
                </a:lnTo>
                <a:lnTo>
                  <a:pt x="1585" y="8757"/>
                </a:lnTo>
                <a:lnTo>
                  <a:pt x="1387" y="8757"/>
                </a:lnTo>
                <a:lnTo>
                  <a:pt x="1387" y="8523"/>
                </a:lnTo>
                <a:lnTo>
                  <a:pt x="1585" y="8523"/>
                </a:lnTo>
                <a:lnTo>
                  <a:pt x="1585" y="8290"/>
                </a:lnTo>
                <a:lnTo>
                  <a:pt x="1387" y="8290"/>
                </a:lnTo>
                <a:lnTo>
                  <a:pt x="1387" y="8056"/>
                </a:lnTo>
                <a:lnTo>
                  <a:pt x="1585" y="7939"/>
                </a:lnTo>
                <a:lnTo>
                  <a:pt x="1585" y="7122"/>
                </a:lnTo>
                <a:lnTo>
                  <a:pt x="1387" y="7122"/>
                </a:lnTo>
                <a:lnTo>
                  <a:pt x="1387" y="6655"/>
                </a:lnTo>
                <a:lnTo>
                  <a:pt x="1189" y="6655"/>
                </a:lnTo>
                <a:lnTo>
                  <a:pt x="1189" y="6305"/>
                </a:lnTo>
                <a:lnTo>
                  <a:pt x="991" y="6071"/>
                </a:lnTo>
                <a:lnTo>
                  <a:pt x="991" y="5721"/>
                </a:lnTo>
                <a:lnTo>
                  <a:pt x="694" y="5721"/>
                </a:lnTo>
                <a:lnTo>
                  <a:pt x="694" y="5488"/>
                </a:lnTo>
                <a:lnTo>
                  <a:pt x="198" y="5488"/>
                </a:lnTo>
                <a:lnTo>
                  <a:pt x="198" y="5021"/>
                </a:lnTo>
                <a:lnTo>
                  <a:pt x="297" y="5021"/>
                </a:lnTo>
                <a:lnTo>
                  <a:pt x="495" y="4904"/>
                </a:lnTo>
                <a:lnTo>
                  <a:pt x="495" y="4670"/>
                </a:lnTo>
                <a:lnTo>
                  <a:pt x="694" y="4437"/>
                </a:lnTo>
                <a:lnTo>
                  <a:pt x="694" y="3269"/>
                </a:lnTo>
                <a:lnTo>
                  <a:pt x="991" y="2802"/>
                </a:lnTo>
                <a:lnTo>
                  <a:pt x="991" y="2569"/>
                </a:lnTo>
                <a:lnTo>
                  <a:pt x="1189" y="2452"/>
                </a:lnTo>
                <a:lnTo>
                  <a:pt x="1189" y="2218"/>
                </a:lnTo>
                <a:lnTo>
                  <a:pt x="1387" y="1985"/>
                </a:lnTo>
                <a:lnTo>
                  <a:pt x="1684" y="1985"/>
                </a:lnTo>
                <a:lnTo>
                  <a:pt x="1883" y="1751"/>
                </a:lnTo>
                <a:lnTo>
                  <a:pt x="1883" y="1401"/>
                </a:lnTo>
                <a:lnTo>
                  <a:pt x="2081" y="1401"/>
                </a:lnTo>
                <a:lnTo>
                  <a:pt x="2081" y="934"/>
                </a:lnTo>
                <a:close/>
                <a:moveTo>
                  <a:pt x="2180" y="817"/>
                </a:moveTo>
                <a:lnTo>
                  <a:pt x="2576" y="817"/>
                </a:lnTo>
                <a:lnTo>
                  <a:pt x="2378" y="934"/>
                </a:lnTo>
                <a:lnTo>
                  <a:pt x="2180" y="934"/>
                </a:lnTo>
                <a:lnTo>
                  <a:pt x="2180" y="817"/>
                </a:lnTo>
                <a:close/>
                <a:moveTo>
                  <a:pt x="2774" y="584"/>
                </a:moveTo>
                <a:lnTo>
                  <a:pt x="3072" y="584"/>
                </a:lnTo>
                <a:lnTo>
                  <a:pt x="2873" y="817"/>
                </a:lnTo>
                <a:lnTo>
                  <a:pt x="2774" y="817"/>
                </a:lnTo>
                <a:lnTo>
                  <a:pt x="2774" y="584"/>
                </a:lnTo>
                <a:close/>
                <a:moveTo>
                  <a:pt x="4954" y="0"/>
                </a:moveTo>
                <a:lnTo>
                  <a:pt x="5549" y="0"/>
                </a:lnTo>
                <a:lnTo>
                  <a:pt x="5549" y="584"/>
                </a:lnTo>
                <a:lnTo>
                  <a:pt x="5648" y="817"/>
                </a:lnTo>
                <a:lnTo>
                  <a:pt x="5648" y="934"/>
                </a:lnTo>
                <a:lnTo>
                  <a:pt x="5549" y="817"/>
                </a:lnTo>
                <a:lnTo>
                  <a:pt x="5350" y="934"/>
                </a:lnTo>
                <a:lnTo>
                  <a:pt x="4954" y="934"/>
                </a:lnTo>
                <a:lnTo>
                  <a:pt x="4954" y="584"/>
                </a:lnTo>
                <a:lnTo>
                  <a:pt x="4855" y="584"/>
                </a:lnTo>
                <a:lnTo>
                  <a:pt x="4855" y="117"/>
                </a:lnTo>
                <a:lnTo>
                  <a:pt x="4954" y="117"/>
                </a:lnTo>
                <a:lnTo>
                  <a:pt x="4954" y="0"/>
                </a:lnTo>
                <a:close/>
                <a:moveTo>
                  <a:pt x="4954" y="0"/>
                </a:moveTo>
              </a:path>
            </a:pathLst>
          </a:custGeom>
          <a:solidFill>
            <a:srgbClr val="00BACF">
              <a:alpha val="50000"/>
            </a:srgbClr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64" name="Freeform 11"/>
          <p:cNvSpPr>
            <a:spLocks/>
          </p:cNvSpPr>
          <p:nvPr/>
        </p:nvSpPr>
        <p:spPr bwMode="auto">
          <a:xfrm>
            <a:off x="7723050" y="4372612"/>
            <a:ext cx="259230" cy="179024"/>
          </a:xfrm>
          <a:custGeom>
            <a:avLst/>
            <a:gdLst/>
            <a:ahLst/>
            <a:cxnLst>
              <a:cxn ang="0">
                <a:pos x="7033" y="0"/>
              </a:cxn>
              <a:cxn ang="0">
                <a:pos x="7535" y="248"/>
              </a:cxn>
              <a:cxn ang="0">
                <a:pos x="8037" y="1241"/>
              </a:cxn>
              <a:cxn ang="0">
                <a:pos x="8791" y="1738"/>
              </a:cxn>
              <a:cxn ang="0">
                <a:pos x="9795" y="1986"/>
              </a:cxn>
              <a:cxn ang="0">
                <a:pos x="10047" y="2483"/>
              </a:cxn>
              <a:cxn ang="0">
                <a:pos x="11051" y="4221"/>
              </a:cxn>
              <a:cxn ang="0">
                <a:pos x="11805" y="3724"/>
              </a:cxn>
              <a:cxn ang="0">
                <a:pos x="12307" y="3476"/>
              </a:cxn>
              <a:cxn ang="0">
                <a:pos x="12809" y="3724"/>
              </a:cxn>
              <a:cxn ang="0">
                <a:pos x="13312" y="4221"/>
              </a:cxn>
              <a:cxn ang="0">
                <a:pos x="14065" y="5214"/>
              </a:cxn>
              <a:cxn ang="0">
                <a:pos x="15823" y="5462"/>
              </a:cxn>
              <a:cxn ang="0">
                <a:pos x="16326" y="6455"/>
              </a:cxn>
              <a:cxn ang="0">
                <a:pos x="16828" y="6952"/>
              </a:cxn>
              <a:cxn ang="0">
                <a:pos x="17581" y="7200"/>
              </a:cxn>
              <a:cxn ang="0">
                <a:pos x="18335" y="7697"/>
              </a:cxn>
              <a:cxn ang="0">
                <a:pos x="18837" y="8193"/>
              </a:cxn>
              <a:cxn ang="0">
                <a:pos x="19340" y="8938"/>
              </a:cxn>
              <a:cxn ang="0">
                <a:pos x="19842" y="9434"/>
              </a:cxn>
              <a:cxn ang="0">
                <a:pos x="20093" y="10179"/>
              </a:cxn>
              <a:cxn ang="0">
                <a:pos x="21098" y="10676"/>
              </a:cxn>
              <a:cxn ang="0">
                <a:pos x="21600" y="11172"/>
              </a:cxn>
              <a:cxn ang="0">
                <a:pos x="21098" y="11669"/>
              </a:cxn>
              <a:cxn ang="0">
                <a:pos x="20093" y="12910"/>
              </a:cxn>
              <a:cxn ang="0">
                <a:pos x="20595" y="15393"/>
              </a:cxn>
              <a:cxn ang="0">
                <a:pos x="20093" y="17131"/>
              </a:cxn>
              <a:cxn ang="0">
                <a:pos x="19842" y="18124"/>
              </a:cxn>
              <a:cxn ang="0">
                <a:pos x="19340" y="18869"/>
              </a:cxn>
              <a:cxn ang="0">
                <a:pos x="17581" y="19366"/>
              </a:cxn>
              <a:cxn ang="0">
                <a:pos x="17079" y="19862"/>
              </a:cxn>
              <a:cxn ang="0">
                <a:pos x="16828" y="20607"/>
              </a:cxn>
              <a:cxn ang="0">
                <a:pos x="15823" y="21103"/>
              </a:cxn>
              <a:cxn ang="0">
                <a:pos x="15070" y="21600"/>
              </a:cxn>
              <a:cxn ang="0">
                <a:pos x="13563" y="21103"/>
              </a:cxn>
              <a:cxn ang="0">
                <a:pos x="12809" y="20607"/>
              </a:cxn>
              <a:cxn ang="0">
                <a:pos x="11553" y="21103"/>
              </a:cxn>
              <a:cxn ang="0">
                <a:pos x="8791" y="20607"/>
              </a:cxn>
              <a:cxn ang="0">
                <a:pos x="6530" y="19862"/>
              </a:cxn>
              <a:cxn ang="0">
                <a:pos x="2763" y="19366"/>
              </a:cxn>
              <a:cxn ang="0">
                <a:pos x="502" y="16883"/>
              </a:cxn>
              <a:cxn ang="0">
                <a:pos x="0" y="15890"/>
              </a:cxn>
              <a:cxn ang="0">
                <a:pos x="502" y="14152"/>
              </a:cxn>
              <a:cxn ang="0">
                <a:pos x="1005" y="13655"/>
              </a:cxn>
              <a:cxn ang="0">
                <a:pos x="1256" y="13407"/>
              </a:cxn>
              <a:cxn ang="0">
                <a:pos x="1758" y="8441"/>
              </a:cxn>
              <a:cxn ang="0">
                <a:pos x="1256" y="7697"/>
              </a:cxn>
              <a:cxn ang="0">
                <a:pos x="1758" y="7200"/>
              </a:cxn>
              <a:cxn ang="0">
                <a:pos x="2260" y="5462"/>
              </a:cxn>
              <a:cxn ang="0">
                <a:pos x="2763" y="3724"/>
              </a:cxn>
              <a:cxn ang="0">
                <a:pos x="3014" y="2483"/>
              </a:cxn>
              <a:cxn ang="0">
                <a:pos x="2763" y="1986"/>
              </a:cxn>
              <a:cxn ang="0">
                <a:pos x="3014" y="1241"/>
              </a:cxn>
              <a:cxn ang="0">
                <a:pos x="3516" y="248"/>
              </a:cxn>
              <a:cxn ang="0">
                <a:pos x="4521" y="745"/>
              </a:cxn>
              <a:cxn ang="0">
                <a:pos x="5777" y="0"/>
              </a:cxn>
            </a:cxnLst>
            <a:rect l="0" t="0" r="r" b="b"/>
            <a:pathLst>
              <a:path w="21600" h="21600">
                <a:moveTo>
                  <a:pt x="5777" y="0"/>
                </a:moveTo>
                <a:lnTo>
                  <a:pt x="7033" y="0"/>
                </a:lnTo>
                <a:lnTo>
                  <a:pt x="7033" y="248"/>
                </a:lnTo>
                <a:lnTo>
                  <a:pt x="7535" y="248"/>
                </a:lnTo>
                <a:lnTo>
                  <a:pt x="8037" y="745"/>
                </a:lnTo>
                <a:lnTo>
                  <a:pt x="8037" y="1241"/>
                </a:lnTo>
                <a:lnTo>
                  <a:pt x="8791" y="1241"/>
                </a:lnTo>
                <a:lnTo>
                  <a:pt x="8791" y="1738"/>
                </a:lnTo>
                <a:lnTo>
                  <a:pt x="9293" y="1986"/>
                </a:lnTo>
                <a:lnTo>
                  <a:pt x="9795" y="1986"/>
                </a:lnTo>
                <a:lnTo>
                  <a:pt x="9795" y="2483"/>
                </a:lnTo>
                <a:lnTo>
                  <a:pt x="10047" y="2483"/>
                </a:lnTo>
                <a:lnTo>
                  <a:pt x="10047" y="4221"/>
                </a:lnTo>
                <a:lnTo>
                  <a:pt x="11051" y="4221"/>
                </a:lnTo>
                <a:lnTo>
                  <a:pt x="11051" y="3724"/>
                </a:lnTo>
                <a:lnTo>
                  <a:pt x="11805" y="3724"/>
                </a:lnTo>
                <a:lnTo>
                  <a:pt x="11805" y="3476"/>
                </a:lnTo>
                <a:lnTo>
                  <a:pt x="12307" y="3476"/>
                </a:lnTo>
                <a:lnTo>
                  <a:pt x="12307" y="3724"/>
                </a:lnTo>
                <a:lnTo>
                  <a:pt x="12809" y="3724"/>
                </a:lnTo>
                <a:lnTo>
                  <a:pt x="12809" y="4221"/>
                </a:lnTo>
                <a:lnTo>
                  <a:pt x="13312" y="4221"/>
                </a:lnTo>
                <a:lnTo>
                  <a:pt x="13312" y="5214"/>
                </a:lnTo>
                <a:lnTo>
                  <a:pt x="14065" y="5214"/>
                </a:lnTo>
                <a:lnTo>
                  <a:pt x="14065" y="5462"/>
                </a:lnTo>
                <a:lnTo>
                  <a:pt x="15823" y="5462"/>
                </a:lnTo>
                <a:lnTo>
                  <a:pt x="15823" y="6455"/>
                </a:lnTo>
                <a:lnTo>
                  <a:pt x="16326" y="6455"/>
                </a:lnTo>
                <a:lnTo>
                  <a:pt x="16326" y="6952"/>
                </a:lnTo>
                <a:lnTo>
                  <a:pt x="16828" y="6952"/>
                </a:lnTo>
                <a:lnTo>
                  <a:pt x="17079" y="7200"/>
                </a:lnTo>
                <a:lnTo>
                  <a:pt x="17581" y="7200"/>
                </a:lnTo>
                <a:lnTo>
                  <a:pt x="17581" y="7697"/>
                </a:lnTo>
                <a:lnTo>
                  <a:pt x="18335" y="7697"/>
                </a:lnTo>
                <a:lnTo>
                  <a:pt x="18335" y="8193"/>
                </a:lnTo>
                <a:lnTo>
                  <a:pt x="18837" y="8193"/>
                </a:lnTo>
                <a:lnTo>
                  <a:pt x="18837" y="8938"/>
                </a:lnTo>
                <a:lnTo>
                  <a:pt x="19340" y="8938"/>
                </a:lnTo>
                <a:lnTo>
                  <a:pt x="19340" y="9434"/>
                </a:lnTo>
                <a:lnTo>
                  <a:pt x="19842" y="9434"/>
                </a:lnTo>
                <a:lnTo>
                  <a:pt x="19842" y="9931"/>
                </a:lnTo>
                <a:lnTo>
                  <a:pt x="20093" y="10179"/>
                </a:lnTo>
                <a:lnTo>
                  <a:pt x="20093" y="10676"/>
                </a:lnTo>
                <a:lnTo>
                  <a:pt x="21098" y="10676"/>
                </a:lnTo>
                <a:lnTo>
                  <a:pt x="21098" y="11172"/>
                </a:lnTo>
                <a:lnTo>
                  <a:pt x="21600" y="11172"/>
                </a:lnTo>
                <a:lnTo>
                  <a:pt x="21600" y="11669"/>
                </a:lnTo>
                <a:lnTo>
                  <a:pt x="21098" y="11669"/>
                </a:lnTo>
                <a:lnTo>
                  <a:pt x="21098" y="11917"/>
                </a:lnTo>
                <a:lnTo>
                  <a:pt x="20093" y="12910"/>
                </a:lnTo>
                <a:lnTo>
                  <a:pt x="20093" y="15393"/>
                </a:lnTo>
                <a:lnTo>
                  <a:pt x="20595" y="15393"/>
                </a:lnTo>
                <a:lnTo>
                  <a:pt x="20595" y="16883"/>
                </a:lnTo>
                <a:lnTo>
                  <a:pt x="20093" y="17131"/>
                </a:lnTo>
                <a:lnTo>
                  <a:pt x="20093" y="17628"/>
                </a:lnTo>
                <a:lnTo>
                  <a:pt x="19842" y="18124"/>
                </a:lnTo>
                <a:lnTo>
                  <a:pt x="19340" y="18124"/>
                </a:lnTo>
                <a:lnTo>
                  <a:pt x="19340" y="18869"/>
                </a:lnTo>
                <a:lnTo>
                  <a:pt x="18837" y="19366"/>
                </a:lnTo>
                <a:lnTo>
                  <a:pt x="17581" y="19366"/>
                </a:lnTo>
                <a:lnTo>
                  <a:pt x="17581" y="19862"/>
                </a:lnTo>
                <a:lnTo>
                  <a:pt x="17079" y="19862"/>
                </a:lnTo>
                <a:lnTo>
                  <a:pt x="17079" y="20359"/>
                </a:lnTo>
                <a:lnTo>
                  <a:pt x="16828" y="20607"/>
                </a:lnTo>
                <a:lnTo>
                  <a:pt x="16326" y="20607"/>
                </a:lnTo>
                <a:lnTo>
                  <a:pt x="15823" y="21103"/>
                </a:lnTo>
                <a:lnTo>
                  <a:pt x="15070" y="21103"/>
                </a:lnTo>
                <a:lnTo>
                  <a:pt x="15070" y="21600"/>
                </a:lnTo>
                <a:lnTo>
                  <a:pt x="14065" y="21600"/>
                </a:lnTo>
                <a:lnTo>
                  <a:pt x="13563" y="21103"/>
                </a:lnTo>
                <a:lnTo>
                  <a:pt x="12809" y="21103"/>
                </a:lnTo>
                <a:lnTo>
                  <a:pt x="12809" y="20607"/>
                </a:lnTo>
                <a:lnTo>
                  <a:pt x="11805" y="20607"/>
                </a:lnTo>
                <a:lnTo>
                  <a:pt x="11553" y="21103"/>
                </a:lnTo>
                <a:lnTo>
                  <a:pt x="9293" y="21103"/>
                </a:lnTo>
                <a:lnTo>
                  <a:pt x="8791" y="20607"/>
                </a:lnTo>
                <a:lnTo>
                  <a:pt x="8288" y="20607"/>
                </a:lnTo>
                <a:lnTo>
                  <a:pt x="6530" y="19862"/>
                </a:lnTo>
                <a:lnTo>
                  <a:pt x="6279" y="19366"/>
                </a:lnTo>
                <a:lnTo>
                  <a:pt x="2763" y="19366"/>
                </a:lnTo>
                <a:lnTo>
                  <a:pt x="2763" y="18869"/>
                </a:lnTo>
                <a:lnTo>
                  <a:pt x="502" y="16883"/>
                </a:lnTo>
                <a:lnTo>
                  <a:pt x="0" y="16883"/>
                </a:lnTo>
                <a:lnTo>
                  <a:pt x="0" y="15890"/>
                </a:lnTo>
                <a:lnTo>
                  <a:pt x="502" y="15890"/>
                </a:lnTo>
                <a:lnTo>
                  <a:pt x="502" y="14152"/>
                </a:lnTo>
                <a:lnTo>
                  <a:pt x="1005" y="14152"/>
                </a:lnTo>
                <a:lnTo>
                  <a:pt x="1005" y="13655"/>
                </a:lnTo>
                <a:lnTo>
                  <a:pt x="1256" y="13655"/>
                </a:lnTo>
                <a:lnTo>
                  <a:pt x="1256" y="13407"/>
                </a:lnTo>
                <a:lnTo>
                  <a:pt x="1758" y="13407"/>
                </a:lnTo>
                <a:lnTo>
                  <a:pt x="1758" y="8441"/>
                </a:lnTo>
                <a:lnTo>
                  <a:pt x="1256" y="8441"/>
                </a:lnTo>
                <a:lnTo>
                  <a:pt x="1256" y="7697"/>
                </a:lnTo>
                <a:lnTo>
                  <a:pt x="1758" y="7697"/>
                </a:lnTo>
                <a:lnTo>
                  <a:pt x="1758" y="7200"/>
                </a:lnTo>
                <a:lnTo>
                  <a:pt x="2260" y="7200"/>
                </a:lnTo>
                <a:lnTo>
                  <a:pt x="2260" y="5462"/>
                </a:lnTo>
                <a:lnTo>
                  <a:pt x="2763" y="5462"/>
                </a:lnTo>
                <a:lnTo>
                  <a:pt x="2763" y="3724"/>
                </a:lnTo>
                <a:lnTo>
                  <a:pt x="3014" y="3476"/>
                </a:lnTo>
                <a:lnTo>
                  <a:pt x="3014" y="2483"/>
                </a:lnTo>
                <a:lnTo>
                  <a:pt x="2763" y="2483"/>
                </a:lnTo>
                <a:lnTo>
                  <a:pt x="2763" y="1986"/>
                </a:lnTo>
                <a:lnTo>
                  <a:pt x="3014" y="1738"/>
                </a:lnTo>
                <a:lnTo>
                  <a:pt x="3014" y="1241"/>
                </a:lnTo>
                <a:lnTo>
                  <a:pt x="3516" y="1241"/>
                </a:lnTo>
                <a:lnTo>
                  <a:pt x="3516" y="248"/>
                </a:lnTo>
                <a:lnTo>
                  <a:pt x="4521" y="248"/>
                </a:lnTo>
                <a:lnTo>
                  <a:pt x="4521" y="745"/>
                </a:lnTo>
                <a:lnTo>
                  <a:pt x="5777" y="745"/>
                </a:lnTo>
                <a:lnTo>
                  <a:pt x="5777" y="0"/>
                </a:lnTo>
                <a:close/>
                <a:moveTo>
                  <a:pt x="5777" y="0"/>
                </a:moveTo>
              </a:path>
            </a:pathLst>
          </a:custGeom>
          <a:solidFill>
            <a:srgbClr val="00BACF">
              <a:alpha val="50000"/>
            </a:srgbClr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65" name="AutoShape 12"/>
          <p:cNvSpPr>
            <a:spLocks/>
          </p:cNvSpPr>
          <p:nvPr/>
        </p:nvSpPr>
        <p:spPr bwMode="auto">
          <a:xfrm>
            <a:off x="6622799" y="3347498"/>
            <a:ext cx="612835" cy="614730"/>
          </a:xfrm>
          <a:custGeom>
            <a:avLst/>
            <a:gdLst>
              <a:gd name="T0" fmla="*/ 10800 w 21600"/>
              <a:gd name="T1" fmla="*/ 10800 h 21600"/>
            </a:gdLst>
            <a:ahLst/>
            <a:cxnLst>
              <a:cxn ang="0">
                <a:pos x="T0" y="T1"/>
              </a:cxn>
            </a:cxnLst>
            <a:rect l="0" t="0" r="r" b="b"/>
            <a:pathLst>
              <a:path w="21600" h="21600">
                <a:moveTo>
                  <a:pt x="18195" y="10981"/>
                </a:moveTo>
                <a:lnTo>
                  <a:pt x="18408" y="10981"/>
                </a:lnTo>
                <a:lnTo>
                  <a:pt x="18408" y="11125"/>
                </a:lnTo>
                <a:lnTo>
                  <a:pt x="18195" y="11125"/>
                </a:lnTo>
                <a:lnTo>
                  <a:pt x="18195" y="10981"/>
                </a:lnTo>
                <a:close/>
                <a:moveTo>
                  <a:pt x="10428" y="0"/>
                </a:moveTo>
                <a:lnTo>
                  <a:pt x="10853" y="0"/>
                </a:lnTo>
                <a:lnTo>
                  <a:pt x="10853" y="144"/>
                </a:lnTo>
                <a:lnTo>
                  <a:pt x="10960" y="144"/>
                </a:lnTo>
                <a:lnTo>
                  <a:pt x="10960" y="289"/>
                </a:lnTo>
                <a:lnTo>
                  <a:pt x="11172" y="289"/>
                </a:lnTo>
                <a:lnTo>
                  <a:pt x="11385" y="361"/>
                </a:lnTo>
                <a:lnTo>
                  <a:pt x="11385" y="506"/>
                </a:lnTo>
                <a:lnTo>
                  <a:pt x="11598" y="506"/>
                </a:lnTo>
                <a:lnTo>
                  <a:pt x="11598" y="650"/>
                </a:lnTo>
                <a:lnTo>
                  <a:pt x="11917" y="650"/>
                </a:lnTo>
                <a:lnTo>
                  <a:pt x="11917" y="1011"/>
                </a:lnTo>
                <a:lnTo>
                  <a:pt x="12343" y="1300"/>
                </a:lnTo>
                <a:lnTo>
                  <a:pt x="12449" y="1300"/>
                </a:lnTo>
                <a:lnTo>
                  <a:pt x="12875" y="1517"/>
                </a:lnTo>
                <a:lnTo>
                  <a:pt x="13088" y="1517"/>
                </a:lnTo>
                <a:lnTo>
                  <a:pt x="13088" y="1662"/>
                </a:lnTo>
                <a:lnTo>
                  <a:pt x="13194" y="1662"/>
                </a:lnTo>
                <a:lnTo>
                  <a:pt x="13194" y="1806"/>
                </a:lnTo>
                <a:lnTo>
                  <a:pt x="13407" y="1806"/>
                </a:lnTo>
                <a:lnTo>
                  <a:pt x="13407" y="2023"/>
                </a:lnTo>
                <a:lnTo>
                  <a:pt x="13194" y="2023"/>
                </a:lnTo>
                <a:lnTo>
                  <a:pt x="13194" y="2167"/>
                </a:lnTo>
                <a:lnTo>
                  <a:pt x="13939" y="2167"/>
                </a:lnTo>
                <a:lnTo>
                  <a:pt x="14152" y="2312"/>
                </a:lnTo>
                <a:lnTo>
                  <a:pt x="14152" y="2817"/>
                </a:lnTo>
                <a:lnTo>
                  <a:pt x="14365" y="2890"/>
                </a:lnTo>
                <a:lnTo>
                  <a:pt x="14897" y="2890"/>
                </a:lnTo>
                <a:lnTo>
                  <a:pt x="14897" y="2817"/>
                </a:lnTo>
                <a:lnTo>
                  <a:pt x="15109" y="2817"/>
                </a:lnTo>
                <a:lnTo>
                  <a:pt x="15109" y="2890"/>
                </a:lnTo>
                <a:lnTo>
                  <a:pt x="15322" y="2890"/>
                </a:lnTo>
                <a:lnTo>
                  <a:pt x="15322" y="3034"/>
                </a:lnTo>
                <a:lnTo>
                  <a:pt x="15429" y="3034"/>
                </a:lnTo>
                <a:lnTo>
                  <a:pt x="15429" y="2890"/>
                </a:lnTo>
                <a:lnTo>
                  <a:pt x="15854" y="2890"/>
                </a:lnTo>
                <a:lnTo>
                  <a:pt x="15854" y="2817"/>
                </a:lnTo>
                <a:lnTo>
                  <a:pt x="16173" y="2817"/>
                </a:lnTo>
                <a:lnTo>
                  <a:pt x="16173" y="2673"/>
                </a:lnTo>
                <a:lnTo>
                  <a:pt x="16705" y="2673"/>
                </a:lnTo>
                <a:lnTo>
                  <a:pt x="16918" y="2817"/>
                </a:lnTo>
                <a:lnTo>
                  <a:pt x="17663" y="2817"/>
                </a:lnTo>
                <a:lnTo>
                  <a:pt x="17663" y="2673"/>
                </a:lnTo>
                <a:lnTo>
                  <a:pt x="18089" y="2673"/>
                </a:lnTo>
                <a:lnTo>
                  <a:pt x="18195" y="2817"/>
                </a:lnTo>
                <a:lnTo>
                  <a:pt x="18195" y="2890"/>
                </a:lnTo>
                <a:lnTo>
                  <a:pt x="18940" y="2890"/>
                </a:lnTo>
                <a:lnTo>
                  <a:pt x="18940" y="3034"/>
                </a:lnTo>
                <a:lnTo>
                  <a:pt x="19153" y="3034"/>
                </a:lnTo>
                <a:lnTo>
                  <a:pt x="19153" y="3395"/>
                </a:lnTo>
                <a:lnTo>
                  <a:pt x="18940" y="3395"/>
                </a:lnTo>
                <a:lnTo>
                  <a:pt x="18940" y="3540"/>
                </a:lnTo>
                <a:lnTo>
                  <a:pt x="18833" y="3540"/>
                </a:lnTo>
                <a:lnTo>
                  <a:pt x="18833" y="3829"/>
                </a:lnTo>
                <a:lnTo>
                  <a:pt x="18621" y="3829"/>
                </a:lnTo>
                <a:lnTo>
                  <a:pt x="18408" y="3901"/>
                </a:lnTo>
                <a:lnTo>
                  <a:pt x="18408" y="4045"/>
                </a:lnTo>
                <a:lnTo>
                  <a:pt x="18195" y="4045"/>
                </a:lnTo>
                <a:lnTo>
                  <a:pt x="18195" y="4551"/>
                </a:lnTo>
                <a:lnTo>
                  <a:pt x="18408" y="4551"/>
                </a:lnTo>
                <a:lnTo>
                  <a:pt x="18408" y="4407"/>
                </a:lnTo>
                <a:lnTo>
                  <a:pt x="18833" y="4407"/>
                </a:lnTo>
                <a:lnTo>
                  <a:pt x="18940" y="4551"/>
                </a:lnTo>
                <a:lnTo>
                  <a:pt x="18940" y="4696"/>
                </a:lnTo>
                <a:lnTo>
                  <a:pt x="19153" y="4696"/>
                </a:lnTo>
                <a:lnTo>
                  <a:pt x="19153" y="4912"/>
                </a:lnTo>
                <a:lnTo>
                  <a:pt x="19366" y="4912"/>
                </a:lnTo>
                <a:lnTo>
                  <a:pt x="19366" y="5057"/>
                </a:lnTo>
                <a:lnTo>
                  <a:pt x="18833" y="5057"/>
                </a:lnTo>
                <a:lnTo>
                  <a:pt x="18833" y="4768"/>
                </a:lnTo>
                <a:lnTo>
                  <a:pt x="18089" y="4768"/>
                </a:lnTo>
                <a:lnTo>
                  <a:pt x="18089" y="4912"/>
                </a:lnTo>
                <a:lnTo>
                  <a:pt x="17876" y="4912"/>
                </a:lnTo>
                <a:lnTo>
                  <a:pt x="17663" y="5057"/>
                </a:lnTo>
                <a:lnTo>
                  <a:pt x="17450" y="5057"/>
                </a:lnTo>
                <a:lnTo>
                  <a:pt x="17450" y="5201"/>
                </a:lnTo>
                <a:lnTo>
                  <a:pt x="17344" y="5201"/>
                </a:lnTo>
                <a:lnTo>
                  <a:pt x="17344" y="5057"/>
                </a:lnTo>
                <a:lnTo>
                  <a:pt x="17131" y="5057"/>
                </a:lnTo>
                <a:lnTo>
                  <a:pt x="16918" y="5201"/>
                </a:lnTo>
                <a:lnTo>
                  <a:pt x="16599" y="5201"/>
                </a:lnTo>
                <a:lnTo>
                  <a:pt x="16173" y="5274"/>
                </a:lnTo>
                <a:lnTo>
                  <a:pt x="15854" y="5274"/>
                </a:lnTo>
                <a:lnTo>
                  <a:pt x="15429" y="5563"/>
                </a:lnTo>
                <a:lnTo>
                  <a:pt x="15109" y="5707"/>
                </a:lnTo>
                <a:lnTo>
                  <a:pt x="14897" y="5707"/>
                </a:lnTo>
                <a:lnTo>
                  <a:pt x="14897" y="5779"/>
                </a:lnTo>
                <a:lnTo>
                  <a:pt x="14684" y="5779"/>
                </a:lnTo>
                <a:lnTo>
                  <a:pt x="14365" y="6068"/>
                </a:lnTo>
                <a:lnTo>
                  <a:pt x="14365" y="6574"/>
                </a:lnTo>
                <a:lnTo>
                  <a:pt x="14152" y="6718"/>
                </a:lnTo>
                <a:lnTo>
                  <a:pt x="14152" y="6791"/>
                </a:lnTo>
                <a:lnTo>
                  <a:pt x="13939" y="6791"/>
                </a:lnTo>
                <a:lnTo>
                  <a:pt x="13939" y="7585"/>
                </a:lnTo>
                <a:lnTo>
                  <a:pt x="13833" y="7585"/>
                </a:lnTo>
                <a:lnTo>
                  <a:pt x="13620" y="7730"/>
                </a:lnTo>
                <a:lnTo>
                  <a:pt x="13407" y="7730"/>
                </a:lnTo>
                <a:lnTo>
                  <a:pt x="13407" y="7802"/>
                </a:lnTo>
                <a:lnTo>
                  <a:pt x="13194" y="7802"/>
                </a:lnTo>
                <a:lnTo>
                  <a:pt x="13088" y="7946"/>
                </a:lnTo>
                <a:lnTo>
                  <a:pt x="13088" y="8091"/>
                </a:lnTo>
                <a:lnTo>
                  <a:pt x="12875" y="8091"/>
                </a:lnTo>
                <a:lnTo>
                  <a:pt x="12875" y="8308"/>
                </a:lnTo>
                <a:lnTo>
                  <a:pt x="13088" y="8308"/>
                </a:lnTo>
                <a:lnTo>
                  <a:pt x="13088" y="8597"/>
                </a:lnTo>
                <a:lnTo>
                  <a:pt x="12662" y="8597"/>
                </a:lnTo>
                <a:lnTo>
                  <a:pt x="12662" y="8741"/>
                </a:lnTo>
                <a:lnTo>
                  <a:pt x="12449" y="8741"/>
                </a:lnTo>
                <a:lnTo>
                  <a:pt x="12449" y="8813"/>
                </a:lnTo>
                <a:lnTo>
                  <a:pt x="12662" y="8813"/>
                </a:lnTo>
                <a:lnTo>
                  <a:pt x="13088" y="9102"/>
                </a:lnTo>
                <a:lnTo>
                  <a:pt x="13088" y="9319"/>
                </a:lnTo>
                <a:lnTo>
                  <a:pt x="13194" y="9464"/>
                </a:lnTo>
                <a:lnTo>
                  <a:pt x="13194" y="9753"/>
                </a:lnTo>
                <a:lnTo>
                  <a:pt x="13407" y="9825"/>
                </a:lnTo>
                <a:lnTo>
                  <a:pt x="13620" y="9825"/>
                </a:lnTo>
                <a:lnTo>
                  <a:pt x="13620" y="10114"/>
                </a:lnTo>
                <a:lnTo>
                  <a:pt x="13939" y="10114"/>
                </a:lnTo>
                <a:lnTo>
                  <a:pt x="13939" y="10330"/>
                </a:lnTo>
                <a:lnTo>
                  <a:pt x="14152" y="10330"/>
                </a:lnTo>
                <a:lnTo>
                  <a:pt x="14152" y="10475"/>
                </a:lnTo>
                <a:lnTo>
                  <a:pt x="14365" y="10475"/>
                </a:lnTo>
                <a:lnTo>
                  <a:pt x="14365" y="10619"/>
                </a:lnTo>
                <a:lnTo>
                  <a:pt x="14152" y="10619"/>
                </a:lnTo>
                <a:lnTo>
                  <a:pt x="14152" y="10836"/>
                </a:lnTo>
                <a:lnTo>
                  <a:pt x="13939" y="10836"/>
                </a:lnTo>
                <a:lnTo>
                  <a:pt x="13833" y="10981"/>
                </a:lnTo>
                <a:lnTo>
                  <a:pt x="15109" y="10981"/>
                </a:lnTo>
                <a:lnTo>
                  <a:pt x="15109" y="11125"/>
                </a:lnTo>
                <a:lnTo>
                  <a:pt x="15429" y="11125"/>
                </a:lnTo>
                <a:lnTo>
                  <a:pt x="15429" y="11342"/>
                </a:lnTo>
                <a:lnTo>
                  <a:pt x="15641" y="11342"/>
                </a:lnTo>
                <a:lnTo>
                  <a:pt x="15641" y="11703"/>
                </a:lnTo>
                <a:lnTo>
                  <a:pt x="15961" y="11703"/>
                </a:lnTo>
                <a:lnTo>
                  <a:pt x="16173" y="11631"/>
                </a:lnTo>
                <a:lnTo>
                  <a:pt x="16386" y="11631"/>
                </a:lnTo>
                <a:lnTo>
                  <a:pt x="16599" y="11703"/>
                </a:lnTo>
                <a:lnTo>
                  <a:pt x="16918" y="11703"/>
                </a:lnTo>
                <a:lnTo>
                  <a:pt x="17131" y="11631"/>
                </a:lnTo>
                <a:lnTo>
                  <a:pt x="17344" y="11631"/>
                </a:lnTo>
                <a:lnTo>
                  <a:pt x="17450" y="11486"/>
                </a:lnTo>
                <a:lnTo>
                  <a:pt x="17663" y="11486"/>
                </a:lnTo>
                <a:lnTo>
                  <a:pt x="17663" y="11342"/>
                </a:lnTo>
                <a:lnTo>
                  <a:pt x="17876" y="11197"/>
                </a:lnTo>
                <a:lnTo>
                  <a:pt x="18089" y="11197"/>
                </a:lnTo>
                <a:lnTo>
                  <a:pt x="18089" y="11125"/>
                </a:lnTo>
                <a:lnTo>
                  <a:pt x="18195" y="11125"/>
                </a:lnTo>
                <a:lnTo>
                  <a:pt x="18195" y="11197"/>
                </a:lnTo>
                <a:lnTo>
                  <a:pt x="18408" y="11197"/>
                </a:lnTo>
                <a:lnTo>
                  <a:pt x="18408" y="11486"/>
                </a:lnTo>
                <a:lnTo>
                  <a:pt x="18195" y="11486"/>
                </a:lnTo>
                <a:lnTo>
                  <a:pt x="18195" y="12859"/>
                </a:lnTo>
                <a:lnTo>
                  <a:pt x="18833" y="12859"/>
                </a:lnTo>
                <a:lnTo>
                  <a:pt x="18833" y="13003"/>
                </a:lnTo>
                <a:lnTo>
                  <a:pt x="18940" y="13003"/>
                </a:lnTo>
                <a:lnTo>
                  <a:pt x="18940" y="12859"/>
                </a:lnTo>
                <a:lnTo>
                  <a:pt x="19366" y="12859"/>
                </a:lnTo>
                <a:lnTo>
                  <a:pt x="19366" y="12714"/>
                </a:lnTo>
                <a:lnTo>
                  <a:pt x="20110" y="12714"/>
                </a:lnTo>
                <a:lnTo>
                  <a:pt x="20110" y="12859"/>
                </a:lnTo>
                <a:lnTo>
                  <a:pt x="20323" y="13003"/>
                </a:lnTo>
                <a:lnTo>
                  <a:pt x="20323" y="13148"/>
                </a:lnTo>
                <a:lnTo>
                  <a:pt x="20430" y="13148"/>
                </a:lnTo>
                <a:lnTo>
                  <a:pt x="20430" y="13365"/>
                </a:lnTo>
                <a:lnTo>
                  <a:pt x="20642" y="13365"/>
                </a:lnTo>
                <a:lnTo>
                  <a:pt x="20642" y="13509"/>
                </a:lnTo>
                <a:lnTo>
                  <a:pt x="21068" y="13726"/>
                </a:lnTo>
                <a:lnTo>
                  <a:pt x="21068" y="14015"/>
                </a:lnTo>
                <a:lnTo>
                  <a:pt x="21174" y="14015"/>
                </a:lnTo>
                <a:lnTo>
                  <a:pt x="21174" y="14159"/>
                </a:lnTo>
                <a:lnTo>
                  <a:pt x="21387" y="14231"/>
                </a:lnTo>
                <a:lnTo>
                  <a:pt x="21387" y="14520"/>
                </a:lnTo>
                <a:lnTo>
                  <a:pt x="21600" y="14520"/>
                </a:lnTo>
                <a:lnTo>
                  <a:pt x="21600" y="14665"/>
                </a:lnTo>
                <a:lnTo>
                  <a:pt x="21387" y="14737"/>
                </a:lnTo>
                <a:lnTo>
                  <a:pt x="21387" y="14882"/>
                </a:lnTo>
                <a:lnTo>
                  <a:pt x="21174" y="14882"/>
                </a:lnTo>
                <a:lnTo>
                  <a:pt x="21174" y="15026"/>
                </a:lnTo>
                <a:lnTo>
                  <a:pt x="21068" y="15171"/>
                </a:lnTo>
                <a:lnTo>
                  <a:pt x="21068" y="16254"/>
                </a:lnTo>
                <a:lnTo>
                  <a:pt x="21174" y="16399"/>
                </a:lnTo>
                <a:lnTo>
                  <a:pt x="21174" y="16688"/>
                </a:lnTo>
                <a:lnTo>
                  <a:pt x="21068" y="16760"/>
                </a:lnTo>
                <a:lnTo>
                  <a:pt x="21068" y="16904"/>
                </a:lnTo>
                <a:lnTo>
                  <a:pt x="20855" y="16904"/>
                </a:lnTo>
                <a:lnTo>
                  <a:pt x="20642" y="17049"/>
                </a:lnTo>
                <a:lnTo>
                  <a:pt x="20642" y="17193"/>
                </a:lnTo>
                <a:lnTo>
                  <a:pt x="20430" y="17193"/>
                </a:lnTo>
                <a:lnTo>
                  <a:pt x="20430" y="17699"/>
                </a:lnTo>
                <a:lnTo>
                  <a:pt x="20642" y="17699"/>
                </a:lnTo>
                <a:lnTo>
                  <a:pt x="20855" y="17771"/>
                </a:lnTo>
                <a:lnTo>
                  <a:pt x="20855" y="17916"/>
                </a:lnTo>
                <a:lnTo>
                  <a:pt x="20642" y="17916"/>
                </a:lnTo>
                <a:lnTo>
                  <a:pt x="20642" y="18060"/>
                </a:lnTo>
                <a:lnTo>
                  <a:pt x="20430" y="18060"/>
                </a:lnTo>
                <a:lnTo>
                  <a:pt x="20430" y="18421"/>
                </a:lnTo>
                <a:lnTo>
                  <a:pt x="20642" y="18421"/>
                </a:lnTo>
                <a:lnTo>
                  <a:pt x="20642" y="18638"/>
                </a:lnTo>
                <a:lnTo>
                  <a:pt x="20855" y="18638"/>
                </a:lnTo>
                <a:lnTo>
                  <a:pt x="20855" y="19072"/>
                </a:lnTo>
                <a:lnTo>
                  <a:pt x="21387" y="19072"/>
                </a:lnTo>
                <a:lnTo>
                  <a:pt x="21387" y="19144"/>
                </a:lnTo>
                <a:lnTo>
                  <a:pt x="21174" y="19288"/>
                </a:lnTo>
                <a:lnTo>
                  <a:pt x="21068" y="19288"/>
                </a:lnTo>
                <a:lnTo>
                  <a:pt x="21068" y="19433"/>
                </a:lnTo>
                <a:lnTo>
                  <a:pt x="20855" y="19433"/>
                </a:lnTo>
                <a:lnTo>
                  <a:pt x="20855" y="19577"/>
                </a:lnTo>
                <a:lnTo>
                  <a:pt x="20642" y="19577"/>
                </a:lnTo>
                <a:lnTo>
                  <a:pt x="20642" y="19794"/>
                </a:lnTo>
                <a:lnTo>
                  <a:pt x="20323" y="19938"/>
                </a:lnTo>
                <a:lnTo>
                  <a:pt x="19898" y="20155"/>
                </a:lnTo>
                <a:lnTo>
                  <a:pt x="19898" y="20300"/>
                </a:lnTo>
                <a:lnTo>
                  <a:pt x="20110" y="20300"/>
                </a:lnTo>
                <a:lnTo>
                  <a:pt x="20110" y="20444"/>
                </a:lnTo>
                <a:lnTo>
                  <a:pt x="19685" y="20661"/>
                </a:lnTo>
                <a:lnTo>
                  <a:pt x="19578" y="20661"/>
                </a:lnTo>
                <a:lnTo>
                  <a:pt x="19578" y="21094"/>
                </a:lnTo>
                <a:lnTo>
                  <a:pt x="19685" y="21094"/>
                </a:lnTo>
                <a:lnTo>
                  <a:pt x="19685" y="21167"/>
                </a:lnTo>
                <a:lnTo>
                  <a:pt x="19578" y="21167"/>
                </a:lnTo>
                <a:lnTo>
                  <a:pt x="19578" y="21311"/>
                </a:lnTo>
                <a:lnTo>
                  <a:pt x="19153" y="21311"/>
                </a:lnTo>
                <a:lnTo>
                  <a:pt x="19153" y="21456"/>
                </a:lnTo>
                <a:lnTo>
                  <a:pt x="18833" y="21456"/>
                </a:lnTo>
                <a:lnTo>
                  <a:pt x="18621" y="21600"/>
                </a:lnTo>
                <a:lnTo>
                  <a:pt x="18621" y="21456"/>
                </a:lnTo>
                <a:lnTo>
                  <a:pt x="18408" y="21456"/>
                </a:lnTo>
                <a:lnTo>
                  <a:pt x="18195" y="21311"/>
                </a:lnTo>
                <a:lnTo>
                  <a:pt x="18195" y="21167"/>
                </a:lnTo>
                <a:lnTo>
                  <a:pt x="17876" y="21167"/>
                </a:lnTo>
                <a:lnTo>
                  <a:pt x="17876" y="21094"/>
                </a:lnTo>
                <a:lnTo>
                  <a:pt x="17663" y="21094"/>
                </a:lnTo>
                <a:lnTo>
                  <a:pt x="17663" y="20950"/>
                </a:lnTo>
                <a:lnTo>
                  <a:pt x="17344" y="20950"/>
                </a:lnTo>
                <a:lnTo>
                  <a:pt x="17344" y="20805"/>
                </a:lnTo>
                <a:lnTo>
                  <a:pt x="16918" y="20805"/>
                </a:lnTo>
                <a:lnTo>
                  <a:pt x="16918" y="20661"/>
                </a:lnTo>
                <a:lnTo>
                  <a:pt x="16705" y="20589"/>
                </a:lnTo>
                <a:lnTo>
                  <a:pt x="16705" y="20300"/>
                </a:lnTo>
                <a:lnTo>
                  <a:pt x="16599" y="20155"/>
                </a:lnTo>
                <a:lnTo>
                  <a:pt x="16386" y="20155"/>
                </a:lnTo>
                <a:lnTo>
                  <a:pt x="16386" y="20083"/>
                </a:lnTo>
                <a:lnTo>
                  <a:pt x="15961" y="20083"/>
                </a:lnTo>
                <a:lnTo>
                  <a:pt x="15854" y="19938"/>
                </a:lnTo>
                <a:lnTo>
                  <a:pt x="15854" y="19794"/>
                </a:lnTo>
                <a:lnTo>
                  <a:pt x="15429" y="19794"/>
                </a:lnTo>
                <a:lnTo>
                  <a:pt x="15429" y="19649"/>
                </a:lnTo>
                <a:lnTo>
                  <a:pt x="15322" y="19649"/>
                </a:lnTo>
                <a:lnTo>
                  <a:pt x="15109" y="19577"/>
                </a:lnTo>
                <a:lnTo>
                  <a:pt x="14684" y="19577"/>
                </a:lnTo>
                <a:lnTo>
                  <a:pt x="14684" y="19433"/>
                </a:lnTo>
                <a:lnTo>
                  <a:pt x="14365" y="19433"/>
                </a:lnTo>
                <a:lnTo>
                  <a:pt x="14365" y="19288"/>
                </a:lnTo>
                <a:lnTo>
                  <a:pt x="13833" y="19288"/>
                </a:lnTo>
                <a:lnTo>
                  <a:pt x="13833" y="19144"/>
                </a:lnTo>
                <a:lnTo>
                  <a:pt x="13620" y="19144"/>
                </a:lnTo>
                <a:lnTo>
                  <a:pt x="13194" y="19072"/>
                </a:lnTo>
                <a:lnTo>
                  <a:pt x="13088" y="19072"/>
                </a:lnTo>
                <a:lnTo>
                  <a:pt x="12662" y="18783"/>
                </a:lnTo>
                <a:lnTo>
                  <a:pt x="12343" y="18783"/>
                </a:lnTo>
                <a:lnTo>
                  <a:pt x="11917" y="18566"/>
                </a:lnTo>
                <a:lnTo>
                  <a:pt x="11704" y="18566"/>
                </a:lnTo>
                <a:lnTo>
                  <a:pt x="11704" y="18421"/>
                </a:lnTo>
                <a:lnTo>
                  <a:pt x="11598" y="18421"/>
                </a:lnTo>
                <a:lnTo>
                  <a:pt x="11172" y="18277"/>
                </a:lnTo>
                <a:lnTo>
                  <a:pt x="10960" y="18132"/>
                </a:lnTo>
                <a:lnTo>
                  <a:pt x="10853" y="18132"/>
                </a:lnTo>
                <a:lnTo>
                  <a:pt x="10640" y="18060"/>
                </a:lnTo>
                <a:lnTo>
                  <a:pt x="10640" y="17916"/>
                </a:lnTo>
                <a:lnTo>
                  <a:pt x="10428" y="17916"/>
                </a:lnTo>
                <a:lnTo>
                  <a:pt x="10428" y="17771"/>
                </a:lnTo>
                <a:lnTo>
                  <a:pt x="10215" y="17771"/>
                </a:lnTo>
                <a:lnTo>
                  <a:pt x="10215" y="17699"/>
                </a:lnTo>
                <a:lnTo>
                  <a:pt x="10108" y="17699"/>
                </a:lnTo>
                <a:lnTo>
                  <a:pt x="10108" y="17555"/>
                </a:lnTo>
                <a:lnTo>
                  <a:pt x="9896" y="17410"/>
                </a:lnTo>
                <a:lnTo>
                  <a:pt x="9683" y="17410"/>
                </a:lnTo>
                <a:lnTo>
                  <a:pt x="9683" y="17266"/>
                </a:lnTo>
                <a:lnTo>
                  <a:pt x="9470" y="17266"/>
                </a:lnTo>
                <a:lnTo>
                  <a:pt x="9364" y="17193"/>
                </a:lnTo>
                <a:lnTo>
                  <a:pt x="9151" y="17193"/>
                </a:lnTo>
                <a:lnTo>
                  <a:pt x="9151" y="17049"/>
                </a:lnTo>
                <a:lnTo>
                  <a:pt x="8938" y="17049"/>
                </a:lnTo>
                <a:lnTo>
                  <a:pt x="8938" y="16688"/>
                </a:lnTo>
                <a:lnTo>
                  <a:pt x="8725" y="16688"/>
                </a:lnTo>
                <a:lnTo>
                  <a:pt x="8725" y="16543"/>
                </a:lnTo>
                <a:lnTo>
                  <a:pt x="8619" y="16543"/>
                </a:lnTo>
                <a:lnTo>
                  <a:pt x="8619" y="16399"/>
                </a:lnTo>
                <a:lnTo>
                  <a:pt x="8406" y="16399"/>
                </a:lnTo>
                <a:lnTo>
                  <a:pt x="8406" y="16182"/>
                </a:lnTo>
                <a:lnTo>
                  <a:pt x="8725" y="15893"/>
                </a:lnTo>
                <a:lnTo>
                  <a:pt x="8725" y="15676"/>
                </a:lnTo>
                <a:lnTo>
                  <a:pt x="8619" y="15532"/>
                </a:lnTo>
                <a:lnTo>
                  <a:pt x="8619" y="15387"/>
                </a:lnTo>
                <a:lnTo>
                  <a:pt x="8406" y="15387"/>
                </a:lnTo>
                <a:lnTo>
                  <a:pt x="8406" y="15243"/>
                </a:lnTo>
                <a:lnTo>
                  <a:pt x="8193" y="15171"/>
                </a:lnTo>
                <a:lnTo>
                  <a:pt x="8193" y="15026"/>
                </a:lnTo>
                <a:lnTo>
                  <a:pt x="7980" y="14882"/>
                </a:lnTo>
                <a:lnTo>
                  <a:pt x="7980" y="14737"/>
                </a:lnTo>
                <a:lnTo>
                  <a:pt x="7874" y="14737"/>
                </a:lnTo>
                <a:lnTo>
                  <a:pt x="7661" y="14665"/>
                </a:lnTo>
                <a:lnTo>
                  <a:pt x="7448" y="14376"/>
                </a:lnTo>
                <a:lnTo>
                  <a:pt x="7235" y="14231"/>
                </a:lnTo>
                <a:lnTo>
                  <a:pt x="7235" y="14159"/>
                </a:lnTo>
                <a:lnTo>
                  <a:pt x="7129" y="14015"/>
                </a:lnTo>
                <a:lnTo>
                  <a:pt x="7129" y="13654"/>
                </a:lnTo>
                <a:lnTo>
                  <a:pt x="6916" y="13654"/>
                </a:lnTo>
                <a:lnTo>
                  <a:pt x="6916" y="13509"/>
                </a:lnTo>
                <a:lnTo>
                  <a:pt x="6703" y="13509"/>
                </a:lnTo>
                <a:lnTo>
                  <a:pt x="6703" y="13365"/>
                </a:lnTo>
                <a:lnTo>
                  <a:pt x="6491" y="13365"/>
                </a:lnTo>
                <a:lnTo>
                  <a:pt x="6491" y="13220"/>
                </a:lnTo>
                <a:lnTo>
                  <a:pt x="6384" y="13220"/>
                </a:lnTo>
                <a:lnTo>
                  <a:pt x="6384" y="13148"/>
                </a:lnTo>
                <a:lnTo>
                  <a:pt x="6171" y="13148"/>
                </a:lnTo>
                <a:lnTo>
                  <a:pt x="6171" y="12642"/>
                </a:lnTo>
                <a:lnTo>
                  <a:pt x="5746" y="12353"/>
                </a:lnTo>
                <a:lnTo>
                  <a:pt x="5639" y="12136"/>
                </a:lnTo>
                <a:lnTo>
                  <a:pt x="5639" y="11847"/>
                </a:lnTo>
                <a:lnTo>
                  <a:pt x="5427" y="11847"/>
                </a:lnTo>
                <a:lnTo>
                  <a:pt x="5427" y="11631"/>
                </a:lnTo>
                <a:lnTo>
                  <a:pt x="5214" y="11486"/>
                </a:lnTo>
                <a:lnTo>
                  <a:pt x="5107" y="11197"/>
                </a:lnTo>
                <a:lnTo>
                  <a:pt x="5107" y="11125"/>
                </a:lnTo>
                <a:lnTo>
                  <a:pt x="4895" y="11125"/>
                </a:lnTo>
                <a:lnTo>
                  <a:pt x="4895" y="10836"/>
                </a:lnTo>
                <a:lnTo>
                  <a:pt x="4682" y="10764"/>
                </a:lnTo>
                <a:lnTo>
                  <a:pt x="4682" y="10619"/>
                </a:lnTo>
                <a:lnTo>
                  <a:pt x="4469" y="10475"/>
                </a:lnTo>
                <a:lnTo>
                  <a:pt x="4469" y="10258"/>
                </a:lnTo>
                <a:lnTo>
                  <a:pt x="4363" y="10258"/>
                </a:lnTo>
                <a:lnTo>
                  <a:pt x="4363" y="10114"/>
                </a:lnTo>
                <a:lnTo>
                  <a:pt x="4150" y="9969"/>
                </a:lnTo>
                <a:lnTo>
                  <a:pt x="4150" y="9753"/>
                </a:lnTo>
                <a:lnTo>
                  <a:pt x="3405" y="9247"/>
                </a:lnTo>
                <a:lnTo>
                  <a:pt x="3405" y="9102"/>
                </a:lnTo>
                <a:lnTo>
                  <a:pt x="3192" y="8958"/>
                </a:lnTo>
                <a:lnTo>
                  <a:pt x="3192" y="8813"/>
                </a:lnTo>
                <a:lnTo>
                  <a:pt x="2979" y="8813"/>
                </a:lnTo>
                <a:lnTo>
                  <a:pt x="2979" y="8597"/>
                </a:lnTo>
                <a:lnTo>
                  <a:pt x="2873" y="8597"/>
                </a:lnTo>
                <a:lnTo>
                  <a:pt x="2873" y="8452"/>
                </a:lnTo>
                <a:lnTo>
                  <a:pt x="2447" y="8235"/>
                </a:lnTo>
                <a:lnTo>
                  <a:pt x="2234" y="7946"/>
                </a:lnTo>
                <a:lnTo>
                  <a:pt x="2234" y="7802"/>
                </a:lnTo>
                <a:lnTo>
                  <a:pt x="2128" y="7802"/>
                </a:lnTo>
                <a:lnTo>
                  <a:pt x="1702" y="7585"/>
                </a:lnTo>
                <a:lnTo>
                  <a:pt x="1383" y="7441"/>
                </a:lnTo>
                <a:lnTo>
                  <a:pt x="1170" y="7296"/>
                </a:lnTo>
                <a:lnTo>
                  <a:pt x="745" y="7296"/>
                </a:lnTo>
                <a:lnTo>
                  <a:pt x="638" y="7224"/>
                </a:lnTo>
                <a:lnTo>
                  <a:pt x="426" y="7224"/>
                </a:lnTo>
                <a:lnTo>
                  <a:pt x="213" y="7080"/>
                </a:lnTo>
                <a:lnTo>
                  <a:pt x="638" y="6791"/>
                </a:lnTo>
                <a:lnTo>
                  <a:pt x="745" y="6791"/>
                </a:lnTo>
                <a:lnTo>
                  <a:pt x="745" y="6574"/>
                </a:lnTo>
                <a:lnTo>
                  <a:pt x="638" y="6574"/>
                </a:lnTo>
                <a:lnTo>
                  <a:pt x="638" y="6285"/>
                </a:lnTo>
                <a:lnTo>
                  <a:pt x="426" y="6285"/>
                </a:lnTo>
                <a:lnTo>
                  <a:pt x="213" y="6213"/>
                </a:lnTo>
                <a:lnTo>
                  <a:pt x="213" y="5779"/>
                </a:lnTo>
                <a:lnTo>
                  <a:pt x="0" y="5779"/>
                </a:lnTo>
                <a:lnTo>
                  <a:pt x="0" y="5057"/>
                </a:lnTo>
                <a:lnTo>
                  <a:pt x="638" y="4696"/>
                </a:lnTo>
                <a:lnTo>
                  <a:pt x="638" y="4551"/>
                </a:lnTo>
                <a:lnTo>
                  <a:pt x="958" y="4407"/>
                </a:lnTo>
                <a:lnTo>
                  <a:pt x="1702" y="3901"/>
                </a:lnTo>
                <a:lnTo>
                  <a:pt x="1702" y="4190"/>
                </a:lnTo>
                <a:lnTo>
                  <a:pt x="1915" y="4334"/>
                </a:lnTo>
                <a:lnTo>
                  <a:pt x="1915" y="4551"/>
                </a:lnTo>
                <a:lnTo>
                  <a:pt x="1702" y="4551"/>
                </a:lnTo>
                <a:lnTo>
                  <a:pt x="1702" y="4696"/>
                </a:lnTo>
                <a:lnTo>
                  <a:pt x="1383" y="4696"/>
                </a:lnTo>
                <a:lnTo>
                  <a:pt x="1383" y="4912"/>
                </a:lnTo>
                <a:lnTo>
                  <a:pt x="1490" y="4912"/>
                </a:lnTo>
                <a:lnTo>
                  <a:pt x="1383" y="5057"/>
                </a:lnTo>
                <a:lnTo>
                  <a:pt x="1383" y="5201"/>
                </a:lnTo>
                <a:lnTo>
                  <a:pt x="1915" y="5201"/>
                </a:lnTo>
                <a:lnTo>
                  <a:pt x="1915" y="5057"/>
                </a:lnTo>
                <a:lnTo>
                  <a:pt x="2447" y="5057"/>
                </a:lnTo>
                <a:lnTo>
                  <a:pt x="2447" y="5201"/>
                </a:lnTo>
                <a:lnTo>
                  <a:pt x="2979" y="5201"/>
                </a:lnTo>
                <a:lnTo>
                  <a:pt x="2979" y="5274"/>
                </a:lnTo>
                <a:lnTo>
                  <a:pt x="3192" y="5418"/>
                </a:lnTo>
                <a:lnTo>
                  <a:pt x="3192" y="5707"/>
                </a:lnTo>
                <a:lnTo>
                  <a:pt x="3618" y="5707"/>
                </a:lnTo>
                <a:lnTo>
                  <a:pt x="3618" y="5779"/>
                </a:lnTo>
                <a:lnTo>
                  <a:pt x="3937" y="5779"/>
                </a:lnTo>
                <a:lnTo>
                  <a:pt x="3937" y="5707"/>
                </a:lnTo>
                <a:lnTo>
                  <a:pt x="4150" y="5707"/>
                </a:lnTo>
                <a:lnTo>
                  <a:pt x="4150" y="5563"/>
                </a:lnTo>
                <a:lnTo>
                  <a:pt x="4363" y="5563"/>
                </a:lnTo>
                <a:lnTo>
                  <a:pt x="4363" y="5418"/>
                </a:lnTo>
                <a:lnTo>
                  <a:pt x="4682" y="5201"/>
                </a:lnTo>
                <a:lnTo>
                  <a:pt x="4682" y="4912"/>
                </a:lnTo>
                <a:lnTo>
                  <a:pt x="4895" y="4912"/>
                </a:lnTo>
                <a:lnTo>
                  <a:pt x="4895" y="4551"/>
                </a:lnTo>
                <a:lnTo>
                  <a:pt x="5107" y="4407"/>
                </a:lnTo>
                <a:lnTo>
                  <a:pt x="5107" y="4045"/>
                </a:lnTo>
                <a:lnTo>
                  <a:pt x="5427" y="4045"/>
                </a:lnTo>
                <a:lnTo>
                  <a:pt x="5427" y="3829"/>
                </a:lnTo>
                <a:lnTo>
                  <a:pt x="5639" y="3829"/>
                </a:lnTo>
                <a:lnTo>
                  <a:pt x="5639" y="3684"/>
                </a:lnTo>
                <a:lnTo>
                  <a:pt x="5746" y="3684"/>
                </a:lnTo>
                <a:lnTo>
                  <a:pt x="5746" y="3540"/>
                </a:lnTo>
                <a:lnTo>
                  <a:pt x="5959" y="3540"/>
                </a:lnTo>
                <a:lnTo>
                  <a:pt x="5959" y="3395"/>
                </a:lnTo>
                <a:lnTo>
                  <a:pt x="6491" y="3395"/>
                </a:lnTo>
                <a:lnTo>
                  <a:pt x="6491" y="3323"/>
                </a:lnTo>
                <a:lnTo>
                  <a:pt x="7129" y="3323"/>
                </a:lnTo>
                <a:lnTo>
                  <a:pt x="7235" y="3179"/>
                </a:lnTo>
                <a:lnTo>
                  <a:pt x="7448" y="3179"/>
                </a:lnTo>
                <a:lnTo>
                  <a:pt x="7661" y="3034"/>
                </a:lnTo>
                <a:lnTo>
                  <a:pt x="7980" y="3034"/>
                </a:lnTo>
                <a:lnTo>
                  <a:pt x="8406" y="2817"/>
                </a:lnTo>
                <a:lnTo>
                  <a:pt x="8406" y="2673"/>
                </a:lnTo>
                <a:lnTo>
                  <a:pt x="8619" y="2673"/>
                </a:lnTo>
                <a:lnTo>
                  <a:pt x="9151" y="2312"/>
                </a:lnTo>
                <a:lnTo>
                  <a:pt x="9364" y="2312"/>
                </a:lnTo>
                <a:lnTo>
                  <a:pt x="9364" y="2167"/>
                </a:lnTo>
                <a:lnTo>
                  <a:pt x="9896" y="1806"/>
                </a:lnTo>
                <a:lnTo>
                  <a:pt x="9896" y="1662"/>
                </a:lnTo>
                <a:lnTo>
                  <a:pt x="10108" y="1662"/>
                </a:lnTo>
                <a:lnTo>
                  <a:pt x="10108" y="1373"/>
                </a:lnTo>
                <a:lnTo>
                  <a:pt x="10215" y="1373"/>
                </a:lnTo>
                <a:lnTo>
                  <a:pt x="10215" y="1300"/>
                </a:lnTo>
                <a:lnTo>
                  <a:pt x="10428" y="1156"/>
                </a:lnTo>
                <a:lnTo>
                  <a:pt x="10428" y="867"/>
                </a:lnTo>
                <a:lnTo>
                  <a:pt x="10215" y="867"/>
                </a:lnTo>
                <a:lnTo>
                  <a:pt x="10215" y="650"/>
                </a:lnTo>
                <a:lnTo>
                  <a:pt x="10108" y="650"/>
                </a:lnTo>
                <a:lnTo>
                  <a:pt x="10108" y="361"/>
                </a:lnTo>
                <a:lnTo>
                  <a:pt x="9896" y="361"/>
                </a:lnTo>
                <a:lnTo>
                  <a:pt x="9896" y="289"/>
                </a:lnTo>
                <a:lnTo>
                  <a:pt x="9683" y="289"/>
                </a:lnTo>
                <a:lnTo>
                  <a:pt x="9683" y="144"/>
                </a:lnTo>
                <a:lnTo>
                  <a:pt x="10428" y="144"/>
                </a:lnTo>
                <a:lnTo>
                  <a:pt x="10428" y="0"/>
                </a:lnTo>
                <a:close/>
                <a:moveTo>
                  <a:pt x="10428" y="0"/>
                </a:moveTo>
              </a:path>
            </a:pathLst>
          </a:custGeom>
          <a:solidFill>
            <a:srgbClr val="00BACF">
              <a:alpha val="50000"/>
            </a:srgbClr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66" name="AutoShape 13"/>
          <p:cNvSpPr>
            <a:spLocks/>
          </p:cNvSpPr>
          <p:nvPr/>
        </p:nvSpPr>
        <p:spPr bwMode="auto">
          <a:xfrm>
            <a:off x="7602394" y="5209675"/>
            <a:ext cx="90790" cy="38420"/>
          </a:xfrm>
          <a:custGeom>
            <a:avLst/>
            <a:gdLst>
              <a:gd name="T0" fmla="*/ 10800 w 21600"/>
              <a:gd name="T1" fmla="*/ 10800 h 21600"/>
            </a:gdLst>
            <a:ahLst/>
            <a:cxnLst>
              <a:cxn ang="0">
                <a:pos x="T0" y="T1"/>
              </a:cxn>
            </a:cxnLst>
            <a:rect l="0" t="0" r="r" b="b"/>
            <a:pathLst>
              <a:path w="21600" h="21600">
                <a:moveTo>
                  <a:pt x="5040" y="7958"/>
                </a:moveTo>
                <a:lnTo>
                  <a:pt x="6480" y="7958"/>
                </a:lnTo>
                <a:lnTo>
                  <a:pt x="6480" y="10232"/>
                </a:lnTo>
                <a:lnTo>
                  <a:pt x="5040" y="10232"/>
                </a:lnTo>
                <a:lnTo>
                  <a:pt x="5040" y="7958"/>
                </a:lnTo>
                <a:close/>
                <a:moveTo>
                  <a:pt x="18720" y="0"/>
                </a:moveTo>
                <a:lnTo>
                  <a:pt x="20160" y="0"/>
                </a:lnTo>
                <a:lnTo>
                  <a:pt x="20160" y="2274"/>
                </a:lnTo>
                <a:lnTo>
                  <a:pt x="21600" y="2274"/>
                </a:lnTo>
                <a:lnTo>
                  <a:pt x="21600" y="4547"/>
                </a:lnTo>
                <a:lnTo>
                  <a:pt x="20160" y="4547"/>
                </a:lnTo>
                <a:lnTo>
                  <a:pt x="20160" y="5684"/>
                </a:lnTo>
                <a:lnTo>
                  <a:pt x="18720" y="5684"/>
                </a:lnTo>
                <a:lnTo>
                  <a:pt x="18720" y="7958"/>
                </a:lnTo>
                <a:lnTo>
                  <a:pt x="16560" y="7958"/>
                </a:lnTo>
                <a:lnTo>
                  <a:pt x="16560" y="10232"/>
                </a:lnTo>
                <a:lnTo>
                  <a:pt x="13680" y="13642"/>
                </a:lnTo>
                <a:lnTo>
                  <a:pt x="13680" y="15916"/>
                </a:lnTo>
                <a:lnTo>
                  <a:pt x="8640" y="15916"/>
                </a:lnTo>
                <a:lnTo>
                  <a:pt x="8640" y="20463"/>
                </a:lnTo>
                <a:lnTo>
                  <a:pt x="6480" y="20463"/>
                </a:lnTo>
                <a:lnTo>
                  <a:pt x="5040" y="21600"/>
                </a:lnTo>
                <a:lnTo>
                  <a:pt x="3600" y="21600"/>
                </a:lnTo>
                <a:lnTo>
                  <a:pt x="3600" y="20463"/>
                </a:lnTo>
                <a:lnTo>
                  <a:pt x="2880" y="20463"/>
                </a:lnTo>
                <a:lnTo>
                  <a:pt x="0" y="15916"/>
                </a:lnTo>
                <a:lnTo>
                  <a:pt x="2880" y="15916"/>
                </a:lnTo>
                <a:lnTo>
                  <a:pt x="3600" y="13642"/>
                </a:lnTo>
                <a:lnTo>
                  <a:pt x="3600" y="15916"/>
                </a:lnTo>
                <a:lnTo>
                  <a:pt x="6480" y="15916"/>
                </a:lnTo>
                <a:lnTo>
                  <a:pt x="6480" y="12505"/>
                </a:lnTo>
                <a:lnTo>
                  <a:pt x="7920" y="10232"/>
                </a:lnTo>
                <a:lnTo>
                  <a:pt x="7920" y="7958"/>
                </a:lnTo>
                <a:lnTo>
                  <a:pt x="8640" y="7958"/>
                </a:lnTo>
                <a:lnTo>
                  <a:pt x="7920" y="5684"/>
                </a:lnTo>
                <a:lnTo>
                  <a:pt x="6480" y="5684"/>
                </a:lnTo>
                <a:lnTo>
                  <a:pt x="6480" y="2274"/>
                </a:lnTo>
                <a:lnTo>
                  <a:pt x="7920" y="2274"/>
                </a:lnTo>
                <a:lnTo>
                  <a:pt x="7920" y="4547"/>
                </a:lnTo>
                <a:lnTo>
                  <a:pt x="8640" y="4547"/>
                </a:lnTo>
                <a:lnTo>
                  <a:pt x="10080" y="2274"/>
                </a:lnTo>
                <a:lnTo>
                  <a:pt x="17280" y="2274"/>
                </a:lnTo>
                <a:lnTo>
                  <a:pt x="18720" y="0"/>
                </a:lnTo>
                <a:close/>
                <a:moveTo>
                  <a:pt x="5040" y="0"/>
                </a:moveTo>
                <a:lnTo>
                  <a:pt x="6480" y="0"/>
                </a:lnTo>
                <a:lnTo>
                  <a:pt x="6480" y="2274"/>
                </a:lnTo>
                <a:lnTo>
                  <a:pt x="5040" y="2274"/>
                </a:lnTo>
                <a:lnTo>
                  <a:pt x="5040" y="0"/>
                </a:lnTo>
                <a:close/>
                <a:moveTo>
                  <a:pt x="5040" y="0"/>
                </a:moveTo>
              </a:path>
            </a:pathLst>
          </a:custGeom>
          <a:solidFill>
            <a:srgbClr val="00BACF">
              <a:alpha val="50000"/>
            </a:srgbClr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67" name="AutoShape 14"/>
          <p:cNvSpPr>
            <a:spLocks/>
          </p:cNvSpPr>
          <p:nvPr/>
        </p:nvSpPr>
        <p:spPr bwMode="auto">
          <a:xfrm>
            <a:off x="7666889" y="5208863"/>
            <a:ext cx="96763" cy="46595"/>
          </a:xfrm>
          <a:custGeom>
            <a:avLst/>
            <a:gdLst>
              <a:gd name="T0" fmla="*/ 10800 w 21600"/>
              <a:gd name="T1" fmla="*/ 10800 h 21600"/>
            </a:gdLst>
            <a:ahLst/>
            <a:cxnLst>
              <a:cxn ang="0">
                <a:pos x="T0" y="T1"/>
              </a:cxn>
            </a:cxnLst>
            <a:rect l="0" t="0" r="r" b="b"/>
            <a:pathLst>
              <a:path w="21600" h="21600">
                <a:moveTo>
                  <a:pt x="17018" y="4500"/>
                </a:moveTo>
                <a:lnTo>
                  <a:pt x="17018" y="5400"/>
                </a:lnTo>
                <a:lnTo>
                  <a:pt x="18327" y="5400"/>
                </a:lnTo>
                <a:lnTo>
                  <a:pt x="18327" y="4500"/>
                </a:lnTo>
                <a:lnTo>
                  <a:pt x="17018" y="4500"/>
                </a:lnTo>
                <a:close/>
                <a:moveTo>
                  <a:pt x="9164" y="900"/>
                </a:moveTo>
                <a:lnTo>
                  <a:pt x="15055" y="900"/>
                </a:lnTo>
                <a:lnTo>
                  <a:pt x="15055" y="2700"/>
                </a:lnTo>
                <a:lnTo>
                  <a:pt x="12436" y="2700"/>
                </a:lnTo>
                <a:lnTo>
                  <a:pt x="12436" y="4500"/>
                </a:lnTo>
                <a:lnTo>
                  <a:pt x="13745" y="4500"/>
                </a:lnTo>
                <a:lnTo>
                  <a:pt x="13745" y="5400"/>
                </a:lnTo>
                <a:lnTo>
                  <a:pt x="15709" y="5400"/>
                </a:lnTo>
                <a:lnTo>
                  <a:pt x="15709" y="4500"/>
                </a:lnTo>
                <a:lnTo>
                  <a:pt x="15055" y="4500"/>
                </a:lnTo>
                <a:lnTo>
                  <a:pt x="15709" y="2700"/>
                </a:lnTo>
                <a:lnTo>
                  <a:pt x="17018" y="2700"/>
                </a:lnTo>
                <a:lnTo>
                  <a:pt x="17018" y="900"/>
                </a:lnTo>
                <a:lnTo>
                  <a:pt x="18327" y="900"/>
                </a:lnTo>
                <a:lnTo>
                  <a:pt x="20291" y="4500"/>
                </a:lnTo>
                <a:lnTo>
                  <a:pt x="20291" y="5400"/>
                </a:lnTo>
                <a:lnTo>
                  <a:pt x="19636" y="5400"/>
                </a:lnTo>
                <a:lnTo>
                  <a:pt x="19636" y="7200"/>
                </a:lnTo>
                <a:lnTo>
                  <a:pt x="21600" y="7200"/>
                </a:lnTo>
                <a:lnTo>
                  <a:pt x="21600" y="9000"/>
                </a:lnTo>
                <a:lnTo>
                  <a:pt x="17018" y="9000"/>
                </a:lnTo>
                <a:lnTo>
                  <a:pt x="15709" y="10800"/>
                </a:lnTo>
                <a:lnTo>
                  <a:pt x="15709" y="11700"/>
                </a:lnTo>
                <a:lnTo>
                  <a:pt x="10473" y="11700"/>
                </a:lnTo>
                <a:lnTo>
                  <a:pt x="9164" y="10800"/>
                </a:lnTo>
                <a:lnTo>
                  <a:pt x="7855" y="10800"/>
                </a:lnTo>
                <a:lnTo>
                  <a:pt x="7855" y="11700"/>
                </a:lnTo>
                <a:lnTo>
                  <a:pt x="10473" y="11700"/>
                </a:lnTo>
                <a:lnTo>
                  <a:pt x="10473" y="13500"/>
                </a:lnTo>
                <a:lnTo>
                  <a:pt x="11127" y="13500"/>
                </a:lnTo>
                <a:lnTo>
                  <a:pt x="11127" y="15300"/>
                </a:lnTo>
                <a:lnTo>
                  <a:pt x="6545" y="15300"/>
                </a:lnTo>
                <a:lnTo>
                  <a:pt x="6545" y="13500"/>
                </a:lnTo>
                <a:lnTo>
                  <a:pt x="5891" y="13500"/>
                </a:lnTo>
                <a:lnTo>
                  <a:pt x="5891" y="15300"/>
                </a:lnTo>
                <a:lnTo>
                  <a:pt x="6545" y="15300"/>
                </a:lnTo>
                <a:lnTo>
                  <a:pt x="6545" y="18000"/>
                </a:lnTo>
                <a:lnTo>
                  <a:pt x="4582" y="18000"/>
                </a:lnTo>
                <a:lnTo>
                  <a:pt x="4582" y="17100"/>
                </a:lnTo>
                <a:lnTo>
                  <a:pt x="3273" y="17100"/>
                </a:lnTo>
                <a:lnTo>
                  <a:pt x="3273" y="18000"/>
                </a:lnTo>
                <a:lnTo>
                  <a:pt x="4582" y="19800"/>
                </a:lnTo>
                <a:lnTo>
                  <a:pt x="4582" y="21600"/>
                </a:lnTo>
                <a:lnTo>
                  <a:pt x="3273" y="21600"/>
                </a:lnTo>
                <a:lnTo>
                  <a:pt x="3273" y="19800"/>
                </a:lnTo>
                <a:lnTo>
                  <a:pt x="1964" y="18000"/>
                </a:lnTo>
                <a:lnTo>
                  <a:pt x="1309" y="18000"/>
                </a:lnTo>
                <a:lnTo>
                  <a:pt x="1309" y="17100"/>
                </a:lnTo>
                <a:lnTo>
                  <a:pt x="0" y="17100"/>
                </a:lnTo>
                <a:lnTo>
                  <a:pt x="0" y="15300"/>
                </a:lnTo>
                <a:lnTo>
                  <a:pt x="1309" y="13500"/>
                </a:lnTo>
                <a:lnTo>
                  <a:pt x="1964" y="13500"/>
                </a:lnTo>
                <a:lnTo>
                  <a:pt x="1964" y="11700"/>
                </a:lnTo>
                <a:lnTo>
                  <a:pt x="3273" y="10800"/>
                </a:lnTo>
                <a:lnTo>
                  <a:pt x="4582" y="10800"/>
                </a:lnTo>
                <a:lnTo>
                  <a:pt x="4582" y="9000"/>
                </a:lnTo>
                <a:lnTo>
                  <a:pt x="5891" y="9000"/>
                </a:lnTo>
                <a:lnTo>
                  <a:pt x="6545" y="7200"/>
                </a:lnTo>
                <a:lnTo>
                  <a:pt x="6545" y="9000"/>
                </a:lnTo>
                <a:lnTo>
                  <a:pt x="7855" y="9000"/>
                </a:lnTo>
                <a:lnTo>
                  <a:pt x="7855" y="7200"/>
                </a:lnTo>
                <a:lnTo>
                  <a:pt x="6545" y="5400"/>
                </a:lnTo>
                <a:lnTo>
                  <a:pt x="7855" y="5400"/>
                </a:lnTo>
                <a:lnTo>
                  <a:pt x="7855" y="4500"/>
                </a:lnTo>
                <a:lnTo>
                  <a:pt x="6545" y="4500"/>
                </a:lnTo>
                <a:lnTo>
                  <a:pt x="6545" y="2700"/>
                </a:lnTo>
                <a:lnTo>
                  <a:pt x="9164" y="2700"/>
                </a:lnTo>
                <a:lnTo>
                  <a:pt x="9164" y="900"/>
                </a:lnTo>
                <a:close/>
                <a:moveTo>
                  <a:pt x="7855" y="0"/>
                </a:moveTo>
                <a:lnTo>
                  <a:pt x="9164" y="0"/>
                </a:lnTo>
                <a:lnTo>
                  <a:pt x="9164" y="900"/>
                </a:lnTo>
                <a:lnTo>
                  <a:pt x="7855" y="0"/>
                </a:lnTo>
                <a:close/>
                <a:moveTo>
                  <a:pt x="7855" y="0"/>
                </a:moveTo>
              </a:path>
            </a:pathLst>
          </a:custGeom>
          <a:solidFill>
            <a:srgbClr val="00BACF">
              <a:alpha val="50000"/>
            </a:srgbClr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68" name="Freeform 15"/>
          <p:cNvSpPr>
            <a:spLocks/>
          </p:cNvSpPr>
          <p:nvPr/>
        </p:nvSpPr>
        <p:spPr bwMode="auto">
          <a:xfrm>
            <a:off x="6641915" y="3299287"/>
            <a:ext cx="277149" cy="212539"/>
          </a:xfrm>
          <a:custGeom>
            <a:avLst/>
            <a:gdLst/>
            <a:ahLst/>
            <a:cxnLst>
              <a:cxn ang="0">
                <a:pos x="8452" y="419"/>
              </a:cxn>
              <a:cxn ang="0">
                <a:pos x="10096" y="1258"/>
              </a:cxn>
              <a:cxn ang="0">
                <a:pos x="10565" y="1887"/>
              </a:cxn>
              <a:cxn ang="0">
                <a:pos x="12913" y="2936"/>
              </a:cxn>
              <a:cxn ang="0">
                <a:pos x="15496" y="3775"/>
              </a:cxn>
              <a:cxn ang="0">
                <a:pos x="17139" y="3775"/>
              </a:cxn>
              <a:cxn ang="0">
                <a:pos x="19487" y="4194"/>
              </a:cxn>
              <a:cxn ang="0">
                <a:pos x="20426" y="4823"/>
              </a:cxn>
              <a:cxn ang="0">
                <a:pos x="19487" y="5243"/>
              </a:cxn>
              <a:cxn ang="0">
                <a:pos x="20426" y="5872"/>
              </a:cxn>
              <a:cxn ang="0">
                <a:pos x="21130" y="6711"/>
              </a:cxn>
              <a:cxn ang="0">
                <a:pos x="21600" y="8179"/>
              </a:cxn>
              <a:cxn ang="0">
                <a:pos x="20896" y="8598"/>
              </a:cxn>
              <a:cxn ang="0">
                <a:pos x="20426" y="10066"/>
              </a:cxn>
              <a:cxn ang="0">
                <a:pos x="19487" y="10276"/>
              </a:cxn>
              <a:cxn ang="0">
                <a:pos x="17609" y="12163"/>
              </a:cxn>
              <a:cxn ang="0">
                <a:pos x="17139" y="13002"/>
              </a:cxn>
              <a:cxn ang="0">
                <a:pos x="15026" y="14050"/>
              </a:cxn>
              <a:cxn ang="0">
                <a:pos x="12913" y="14470"/>
              </a:cxn>
              <a:cxn ang="0">
                <a:pos x="11270" y="15099"/>
              </a:cxn>
              <a:cxn ang="0">
                <a:pos x="10565" y="15938"/>
              </a:cxn>
              <a:cxn ang="0">
                <a:pos x="9861" y="17616"/>
              </a:cxn>
              <a:cxn ang="0">
                <a:pos x="8922" y="19084"/>
              </a:cxn>
              <a:cxn ang="0">
                <a:pos x="8452" y="20132"/>
              </a:cxn>
              <a:cxn ang="0">
                <a:pos x="7278" y="21390"/>
              </a:cxn>
              <a:cxn ang="0">
                <a:pos x="6574" y="21390"/>
              </a:cxn>
              <a:cxn ang="0">
                <a:pos x="5635" y="20971"/>
              </a:cxn>
              <a:cxn ang="0">
                <a:pos x="5165" y="19922"/>
              </a:cxn>
              <a:cxn ang="0">
                <a:pos x="3522" y="19503"/>
              </a:cxn>
              <a:cxn ang="0">
                <a:pos x="2817" y="19503"/>
              </a:cxn>
              <a:cxn ang="0">
                <a:pos x="1878" y="18664"/>
              </a:cxn>
              <a:cxn ang="0">
                <a:pos x="2348" y="18454"/>
              </a:cxn>
              <a:cxn ang="0">
                <a:pos x="3287" y="17616"/>
              </a:cxn>
              <a:cxn ang="0">
                <a:pos x="2348" y="16986"/>
              </a:cxn>
              <a:cxn ang="0">
                <a:pos x="3287" y="15938"/>
              </a:cxn>
              <a:cxn ang="0">
                <a:pos x="3991" y="14680"/>
              </a:cxn>
              <a:cxn ang="0">
                <a:pos x="3991" y="13002"/>
              </a:cxn>
              <a:cxn ang="0">
                <a:pos x="3522" y="13002"/>
              </a:cxn>
              <a:cxn ang="0">
                <a:pos x="2817" y="13631"/>
              </a:cxn>
              <a:cxn ang="0">
                <a:pos x="1878" y="13631"/>
              </a:cxn>
              <a:cxn ang="0">
                <a:pos x="704" y="13002"/>
              </a:cxn>
              <a:cxn ang="0">
                <a:pos x="0" y="12583"/>
              </a:cxn>
              <a:cxn ang="0">
                <a:pos x="704" y="10695"/>
              </a:cxn>
              <a:cxn ang="0">
                <a:pos x="704" y="9227"/>
              </a:cxn>
              <a:cxn ang="0">
                <a:pos x="704" y="8179"/>
              </a:cxn>
              <a:cxn ang="0">
                <a:pos x="1878" y="6711"/>
              </a:cxn>
              <a:cxn ang="0">
                <a:pos x="1878" y="5872"/>
              </a:cxn>
              <a:cxn ang="0">
                <a:pos x="2348" y="5243"/>
              </a:cxn>
              <a:cxn ang="0">
                <a:pos x="3287" y="4194"/>
              </a:cxn>
              <a:cxn ang="0">
                <a:pos x="3287" y="3355"/>
              </a:cxn>
              <a:cxn ang="0">
                <a:pos x="3522" y="2726"/>
              </a:cxn>
              <a:cxn ang="0">
                <a:pos x="3522" y="2307"/>
              </a:cxn>
              <a:cxn ang="0">
                <a:pos x="5165" y="1468"/>
              </a:cxn>
              <a:cxn ang="0">
                <a:pos x="6809" y="1258"/>
              </a:cxn>
              <a:cxn ang="0">
                <a:pos x="7748" y="419"/>
              </a:cxn>
            </a:cxnLst>
            <a:rect l="0" t="0" r="r" b="b"/>
            <a:pathLst>
              <a:path w="21600" h="21600">
                <a:moveTo>
                  <a:pt x="8217" y="0"/>
                </a:moveTo>
                <a:lnTo>
                  <a:pt x="8452" y="0"/>
                </a:lnTo>
                <a:lnTo>
                  <a:pt x="8452" y="419"/>
                </a:lnTo>
                <a:lnTo>
                  <a:pt x="8922" y="419"/>
                </a:lnTo>
                <a:lnTo>
                  <a:pt x="9861" y="1258"/>
                </a:lnTo>
                <a:lnTo>
                  <a:pt x="10096" y="1258"/>
                </a:lnTo>
                <a:lnTo>
                  <a:pt x="10096" y="1468"/>
                </a:lnTo>
                <a:lnTo>
                  <a:pt x="10565" y="1468"/>
                </a:lnTo>
                <a:lnTo>
                  <a:pt x="10565" y="1887"/>
                </a:lnTo>
                <a:lnTo>
                  <a:pt x="12209" y="1887"/>
                </a:lnTo>
                <a:lnTo>
                  <a:pt x="12913" y="2726"/>
                </a:lnTo>
                <a:lnTo>
                  <a:pt x="12913" y="2936"/>
                </a:lnTo>
                <a:lnTo>
                  <a:pt x="13383" y="2936"/>
                </a:lnTo>
                <a:lnTo>
                  <a:pt x="13383" y="3775"/>
                </a:lnTo>
                <a:lnTo>
                  <a:pt x="15496" y="3775"/>
                </a:lnTo>
                <a:lnTo>
                  <a:pt x="15496" y="4194"/>
                </a:lnTo>
                <a:lnTo>
                  <a:pt x="16670" y="4194"/>
                </a:lnTo>
                <a:lnTo>
                  <a:pt x="17139" y="3775"/>
                </a:lnTo>
                <a:lnTo>
                  <a:pt x="18783" y="3775"/>
                </a:lnTo>
                <a:lnTo>
                  <a:pt x="18783" y="4194"/>
                </a:lnTo>
                <a:lnTo>
                  <a:pt x="19487" y="4194"/>
                </a:lnTo>
                <a:lnTo>
                  <a:pt x="19487" y="4404"/>
                </a:lnTo>
                <a:lnTo>
                  <a:pt x="20426" y="4404"/>
                </a:lnTo>
                <a:lnTo>
                  <a:pt x="20426" y="4823"/>
                </a:lnTo>
                <a:lnTo>
                  <a:pt x="20896" y="4823"/>
                </a:lnTo>
                <a:lnTo>
                  <a:pt x="20896" y="5243"/>
                </a:lnTo>
                <a:lnTo>
                  <a:pt x="19487" y="5243"/>
                </a:lnTo>
                <a:lnTo>
                  <a:pt x="19487" y="5662"/>
                </a:lnTo>
                <a:lnTo>
                  <a:pt x="20426" y="5662"/>
                </a:lnTo>
                <a:lnTo>
                  <a:pt x="20426" y="5872"/>
                </a:lnTo>
                <a:lnTo>
                  <a:pt x="20896" y="5872"/>
                </a:lnTo>
                <a:lnTo>
                  <a:pt x="20896" y="6711"/>
                </a:lnTo>
                <a:lnTo>
                  <a:pt x="21130" y="6711"/>
                </a:lnTo>
                <a:lnTo>
                  <a:pt x="21130" y="7340"/>
                </a:lnTo>
                <a:lnTo>
                  <a:pt x="21600" y="7759"/>
                </a:lnTo>
                <a:lnTo>
                  <a:pt x="21600" y="8179"/>
                </a:lnTo>
                <a:lnTo>
                  <a:pt x="21130" y="8179"/>
                </a:lnTo>
                <a:lnTo>
                  <a:pt x="21130" y="8598"/>
                </a:lnTo>
                <a:lnTo>
                  <a:pt x="20896" y="8598"/>
                </a:lnTo>
                <a:lnTo>
                  <a:pt x="20896" y="9647"/>
                </a:lnTo>
                <a:lnTo>
                  <a:pt x="20426" y="9647"/>
                </a:lnTo>
                <a:lnTo>
                  <a:pt x="20426" y="10066"/>
                </a:lnTo>
                <a:lnTo>
                  <a:pt x="19957" y="10066"/>
                </a:lnTo>
                <a:lnTo>
                  <a:pt x="19957" y="10276"/>
                </a:lnTo>
                <a:lnTo>
                  <a:pt x="19487" y="10276"/>
                </a:lnTo>
                <a:lnTo>
                  <a:pt x="19487" y="10695"/>
                </a:lnTo>
                <a:lnTo>
                  <a:pt x="17843" y="12163"/>
                </a:lnTo>
                <a:lnTo>
                  <a:pt x="17609" y="12163"/>
                </a:lnTo>
                <a:lnTo>
                  <a:pt x="17609" y="12583"/>
                </a:lnTo>
                <a:lnTo>
                  <a:pt x="17139" y="12583"/>
                </a:lnTo>
                <a:lnTo>
                  <a:pt x="17139" y="13002"/>
                </a:lnTo>
                <a:lnTo>
                  <a:pt x="16200" y="13631"/>
                </a:lnTo>
                <a:lnTo>
                  <a:pt x="15026" y="13631"/>
                </a:lnTo>
                <a:lnTo>
                  <a:pt x="15026" y="14050"/>
                </a:lnTo>
                <a:lnTo>
                  <a:pt x="14557" y="14050"/>
                </a:lnTo>
                <a:lnTo>
                  <a:pt x="14322" y="14470"/>
                </a:lnTo>
                <a:lnTo>
                  <a:pt x="12913" y="14470"/>
                </a:lnTo>
                <a:lnTo>
                  <a:pt x="12678" y="14680"/>
                </a:lnTo>
                <a:lnTo>
                  <a:pt x="11739" y="14680"/>
                </a:lnTo>
                <a:lnTo>
                  <a:pt x="11270" y="15099"/>
                </a:lnTo>
                <a:lnTo>
                  <a:pt x="11270" y="15518"/>
                </a:lnTo>
                <a:lnTo>
                  <a:pt x="11035" y="15518"/>
                </a:lnTo>
                <a:lnTo>
                  <a:pt x="10565" y="15938"/>
                </a:lnTo>
                <a:lnTo>
                  <a:pt x="10565" y="16567"/>
                </a:lnTo>
                <a:lnTo>
                  <a:pt x="9861" y="16567"/>
                </a:lnTo>
                <a:lnTo>
                  <a:pt x="9861" y="17616"/>
                </a:lnTo>
                <a:lnTo>
                  <a:pt x="9391" y="18035"/>
                </a:lnTo>
                <a:lnTo>
                  <a:pt x="9391" y="19084"/>
                </a:lnTo>
                <a:lnTo>
                  <a:pt x="8922" y="19084"/>
                </a:lnTo>
                <a:lnTo>
                  <a:pt x="8922" y="19922"/>
                </a:lnTo>
                <a:lnTo>
                  <a:pt x="8452" y="19922"/>
                </a:lnTo>
                <a:lnTo>
                  <a:pt x="8452" y="20132"/>
                </a:lnTo>
                <a:lnTo>
                  <a:pt x="8217" y="20132"/>
                </a:lnTo>
                <a:lnTo>
                  <a:pt x="8217" y="20551"/>
                </a:lnTo>
                <a:lnTo>
                  <a:pt x="7278" y="21390"/>
                </a:lnTo>
                <a:lnTo>
                  <a:pt x="7278" y="21600"/>
                </a:lnTo>
                <a:lnTo>
                  <a:pt x="6574" y="21600"/>
                </a:lnTo>
                <a:lnTo>
                  <a:pt x="6574" y="21390"/>
                </a:lnTo>
                <a:lnTo>
                  <a:pt x="6104" y="21390"/>
                </a:lnTo>
                <a:lnTo>
                  <a:pt x="6104" y="20971"/>
                </a:lnTo>
                <a:lnTo>
                  <a:pt x="5635" y="20971"/>
                </a:lnTo>
                <a:lnTo>
                  <a:pt x="5635" y="20551"/>
                </a:lnTo>
                <a:lnTo>
                  <a:pt x="5165" y="20132"/>
                </a:lnTo>
                <a:lnTo>
                  <a:pt x="5165" y="19922"/>
                </a:lnTo>
                <a:lnTo>
                  <a:pt x="3991" y="19922"/>
                </a:lnTo>
                <a:lnTo>
                  <a:pt x="3991" y="19503"/>
                </a:lnTo>
                <a:lnTo>
                  <a:pt x="3522" y="19503"/>
                </a:lnTo>
                <a:lnTo>
                  <a:pt x="3522" y="19084"/>
                </a:lnTo>
                <a:lnTo>
                  <a:pt x="3287" y="19084"/>
                </a:lnTo>
                <a:lnTo>
                  <a:pt x="2817" y="19503"/>
                </a:lnTo>
                <a:lnTo>
                  <a:pt x="2817" y="19922"/>
                </a:lnTo>
                <a:lnTo>
                  <a:pt x="1878" y="19922"/>
                </a:lnTo>
                <a:lnTo>
                  <a:pt x="1878" y="18664"/>
                </a:lnTo>
                <a:lnTo>
                  <a:pt x="1643" y="18664"/>
                </a:lnTo>
                <a:lnTo>
                  <a:pt x="1643" y="18454"/>
                </a:lnTo>
                <a:lnTo>
                  <a:pt x="2348" y="18454"/>
                </a:lnTo>
                <a:lnTo>
                  <a:pt x="2348" y="18035"/>
                </a:lnTo>
                <a:lnTo>
                  <a:pt x="3287" y="18035"/>
                </a:lnTo>
                <a:lnTo>
                  <a:pt x="3287" y="17616"/>
                </a:lnTo>
                <a:lnTo>
                  <a:pt x="2817" y="17616"/>
                </a:lnTo>
                <a:lnTo>
                  <a:pt x="2817" y="16986"/>
                </a:lnTo>
                <a:lnTo>
                  <a:pt x="2348" y="16986"/>
                </a:lnTo>
                <a:lnTo>
                  <a:pt x="2348" y="16148"/>
                </a:lnTo>
                <a:lnTo>
                  <a:pt x="3287" y="16148"/>
                </a:lnTo>
                <a:lnTo>
                  <a:pt x="3287" y="15938"/>
                </a:lnTo>
                <a:lnTo>
                  <a:pt x="3522" y="15938"/>
                </a:lnTo>
                <a:lnTo>
                  <a:pt x="3991" y="15518"/>
                </a:lnTo>
                <a:lnTo>
                  <a:pt x="3991" y="14680"/>
                </a:lnTo>
                <a:lnTo>
                  <a:pt x="4461" y="14470"/>
                </a:lnTo>
                <a:lnTo>
                  <a:pt x="4461" y="13002"/>
                </a:lnTo>
                <a:lnTo>
                  <a:pt x="3991" y="13002"/>
                </a:lnTo>
                <a:lnTo>
                  <a:pt x="3991" y="13631"/>
                </a:lnTo>
                <a:lnTo>
                  <a:pt x="3522" y="13631"/>
                </a:lnTo>
                <a:lnTo>
                  <a:pt x="3522" y="13002"/>
                </a:lnTo>
                <a:lnTo>
                  <a:pt x="3287" y="13002"/>
                </a:lnTo>
                <a:lnTo>
                  <a:pt x="3287" y="13631"/>
                </a:lnTo>
                <a:lnTo>
                  <a:pt x="2817" y="13631"/>
                </a:lnTo>
                <a:lnTo>
                  <a:pt x="2817" y="14050"/>
                </a:lnTo>
                <a:lnTo>
                  <a:pt x="1878" y="14050"/>
                </a:lnTo>
                <a:lnTo>
                  <a:pt x="1878" y="13631"/>
                </a:lnTo>
                <a:lnTo>
                  <a:pt x="1643" y="13212"/>
                </a:lnTo>
                <a:lnTo>
                  <a:pt x="1174" y="13212"/>
                </a:lnTo>
                <a:lnTo>
                  <a:pt x="704" y="13002"/>
                </a:lnTo>
                <a:lnTo>
                  <a:pt x="235" y="13002"/>
                </a:lnTo>
                <a:lnTo>
                  <a:pt x="235" y="12583"/>
                </a:lnTo>
                <a:lnTo>
                  <a:pt x="0" y="12583"/>
                </a:lnTo>
                <a:lnTo>
                  <a:pt x="0" y="12163"/>
                </a:lnTo>
                <a:lnTo>
                  <a:pt x="704" y="12163"/>
                </a:lnTo>
                <a:lnTo>
                  <a:pt x="704" y="10695"/>
                </a:lnTo>
                <a:lnTo>
                  <a:pt x="235" y="10276"/>
                </a:lnTo>
                <a:lnTo>
                  <a:pt x="704" y="10066"/>
                </a:lnTo>
                <a:lnTo>
                  <a:pt x="704" y="9227"/>
                </a:lnTo>
                <a:lnTo>
                  <a:pt x="235" y="9227"/>
                </a:lnTo>
                <a:lnTo>
                  <a:pt x="235" y="8179"/>
                </a:lnTo>
                <a:lnTo>
                  <a:pt x="704" y="8179"/>
                </a:lnTo>
                <a:lnTo>
                  <a:pt x="1643" y="7340"/>
                </a:lnTo>
                <a:lnTo>
                  <a:pt x="1878" y="7340"/>
                </a:lnTo>
                <a:lnTo>
                  <a:pt x="1878" y="6711"/>
                </a:lnTo>
                <a:lnTo>
                  <a:pt x="1643" y="6291"/>
                </a:lnTo>
                <a:lnTo>
                  <a:pt x="1643" y="5872"/>
                </a:lnTo>
                <a:lnTo>
                  <a:pt x="1878" y="5872"/>
                </a:lnTo>
                <a:lnTo>
                  <a:pt x="1878" y="5662"/>
                </a:lnTo>
                <a:lnTo>
                  <a:pt x="2348" y="5662"/>
                </a:lnTo>
                <a:lnTo>
                  <a:pt x="2348" y="5243"/>
                </a:lnTo>
                <a:lnTo>
                  <a:pt x="2817" y="5243"/>
                </a:lnTo>
                <a:lnTo>
                  <a:pt x="3287" y="4823"/>
                </a:lnTo>
                <a:lnTo>
                  <a:pt x="3287" y="4194"/>
                </a:lnTo>
                <a:lnTo>
                  <a:pt x="3522" y="4194"/>
                </a:lnTo>
                <a:lnTo>
                  <a:pt x="3522" y="3355"/>
                </a:lnTo>
                <a:lnTo>
                  <a:pt x="3287" y="3355"/>
                </a:lnTo>
                <a:lnTo>
                  <a:pt x="3287" y="2936"/>
                </a:lnTo>
                <a:lnTo>
                  <a:pt x="3522" y="2936"/>
                </a:lnTo>
                <a:lnTo>
                  <a:pt x="3522" y="2726"/>
                </a:lnTo>
                <a:lnTo>
                  <a:pt x="3287" y="2726"/>
                </a:lnTo>
                <a:lnTo>
                  <a:pt x="3287" y="2307"/>
                </a:lnTo>
                <a:lnTo>
                  <a:pt x="3522" y="2307"/>
                </a:lnTo>
                <a:lnTo>
                  <a:pt x="3522" y="1887"/>
                </a:lnTo>
                <a:lnTo>
                  <a:pt x="4930" y="1887"/>
                </a:lnTo>
                <a:lnTo>
                  <a:pt x="5165" y="1468"/>
                </a:lnTo>
                <a:lnTo>
                  <a:pt x="5635" y="1468"/>
                </a:lnTo>
                <a:lnTo>
                  <a:pt x="5635" y="1258"/>
                </a:lnTo>
                <a:lnTo>
                  <a:pt x="6809" y="1258"/>
                </a:lnTo>
                <a:lnTo>
                  <a:pt x="7278" y="839"/>
                </a:lnTo>
                <a:lnTo>
                  <a:pt x="7748" y="839"/>
                </a:lnTo>
                <a:lnTo>
                  <a:pt x="7748" y="419"/>
                </a:lnTo>
                <a:lnTo>
                  <a:pt x="8217" y="0"/>
                </a:lnTo>
                <a:close/>
                <a:moveTo>
                  <a:pt x="8217" y="0"/>
                </a:moveTo>
              </a:path>
            </a:pathLst>
          </a:custGeom>
          <a:solidFill>
            <a:srgbClr val="00BACF">
              <a:alpha val="50000"/>
            </a:srgbClr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69" name="AutoShape 16"/>
          <p:cNvSpPr>
            <a:spLocks/>
          </p:cNvSpPr>
          <p:nvPr/>
        </p:nvSpPr>
        <p:spPr bwMode="auto">
          <a:xfrm>
            <a:off x="6735092" y="2933049"/>
            <a:ext cx="588942" cy="549333"/>
          </a:xfrm>
          <a:custGeom>
            <a:avLst/>
            <a:gdLst>
              <a:gd name="T0" fmla="*/ 10800 w 21600"/>
              <a:gd name="T1" fmla="*/ 10800 h 21600"/>
            </a:gdLst>
            <a:ahLst/>
            <a:cxnLst>
              <a:cxn ang="0">
                <a:pos x="T0" y="T1"/>
              </a:cxn>
            </a:cxnLst>
            <a:rect l="0" t="0" r="r" b="b"/>
            <a:pathLst>
              <a:path w="21600" h="21600">
                <a:moveTo>
                  <a:pt x="21159" y="14319"/>
                </a:moveTo>
                <a:lnTo>
                  <a:pt x="21380" y="14319"/>
                </a:lnTo>
                <a:lnTo>
                  <a:pt x="21380" y="14562"/>
                </a:lnTo>
                <a:lnTo>
                  <a:pt x="21600" y="14724"/>
                </a:lnTo>
                <a:lnTo>
                  <a:pt x="21159" y="14724"/>
                </a:lnTo>
                <a:lnTo>
                  <a:pt x="21159" y="14319"/>
                </a:lnTo>
                <a:close/>
                <a:moveTo>
                  <a:pt x="12894" y="0"/>
                </a:moveTo>
                <a:lnTo>
                  <a:pt x="13224" y="0"/>
                </a:lnTo>
                <a:lnTo>
                  <a:pt x="13665" y="324"/>
                </a:lnTo>
                <a:lnTo>
                  <a:pt x="13886" y="324"/>
                </a:lnTo>
                <a:lnTo>
                  <a:pt x="13886" y="728"/>
                </a:lnTo>
                <a:lnTo>
                  <a:pt x="13665" y="728"/>
                </a:lnTo>
                <a:lnTo>
                  <a:pt x="13445" y="890"/>
                </a:lnTo>
                <a:lnTo>
                  <a:pt x="13114" y="890"/>
                </a:lnTo>
                <a:lnTo>
                  <a:pt x="12894" y="1052"/>
                </a:lnTo>
                <a:lnTo>
                  <a:pt x="12453" y="1052"/>
                </a:lnTo>
                <a:lnTo>
                  <a:pt x="12453" y="1133"/>
                </a:lnTo>
                <a:lnTo>
                  <a:pt x="12343" y="1133"/>
                </a:lnTo>
                <a:lnTo>
                  <a:pt x="12343" y="1294"/>
                </a:lnTo>
                <a:lnTo>
                  <a:pt x="12122" y="1456"/>
                </a:lnTo>
                <a:lnTo>
                  <a:pt x="12122" y="1699"/>
                </a:lnTo>
                <a:lnTo>
                  <a:pt x="11902" y="1699"/>
                </a:lnTo>
                <a:lnTo>
                  <a:pt x="11902" y="1861"/>
                </a:lnTo>
                <a:lnTo>
                  <a:pt x="11351" y="1861"/>
                </a:lnTo>
                <a:lnTo>
                  <a:pt x="11351" y="2184"/>
                </a:lnTo>
                <a:lnTo>
                  <a:pt x="11131" y="2184"/>
                </a:lnTo>
                <a:lnTo>
                  <a:pt x="11131" y="2427"/>
                </a:lnTo>
                <a:lnTo>
                  <a:pt x="11020" y="2427"/>
                </a:lnTo>
                <a:lnTo>
                  <a:pt x="11020" y="2589"/>
                </a:lnTo>
                <a:lnTo>
                  <a:pt x="10800" y="2751"/>
                </a:lnTo>
                <a:lnTo>
                  <a:pt x="10800" y="3560"/>
                </a:lnTo>
                <a:lnTo>
                  <a:pt x="10359" y="3883"/>
                </a:lnTo>
                <a:lnTo>
                  <a:pt x="10359" y="3964"/>
                </a:lnTo>
                <a:lnTo>
                  <a:pt x="10249" y="3964"/>
                </a:lnTo>
                <a:lnTo>
                  <a:pt x="10249" y="4288"/>
                </a:lnTo>
                <a:lnTo>
                  <a:pt x="10029" y="4288"/>
                </a:lnTo>
                <a:lnTo>
                  <a:pt x="10029" y="4449"/>
                </a:lnTo>
                <a:lnTo>
                  <a:pt x="10249" y="4449"/>
                </a:lnTo>
                <a:lnTo>
                  <a:pt x="10249" y="4288"/>
                </a:lnTo>
                <a:lnTo>
                  <a:pt x="10800" y="4288"/>
                </a:lnTo>
                <a:lnTo>
                  <a:pt x="10800" y="4449"/>
                </a:lnTo>
                <a:lnTo>
                  <a:pt x="11020" y="4449"/>
                </a:lnTo>
                <a:lnTo>
                  <a:pt x="11020" y="4530"/>
                </a:lnTo>
                <a:lnTo>
                  <a:pt x="11131" y="4530"/>
                </a:lnTo>
                <a:lnTo>
                  <a:pt x="11131" y="4692"/>
                </a:lnTo>
                <a:lnTo>
                  <a:pt x="11351" y="4854"/>
                </a:lnTo>
                <a:lnTo>
                  <a:pt x="11351" y="5097"/>
                </a:lnTo>
                <a:lnTo>
                  <a:pt x="11571" y="5097"/>
                </a:lnTo>
                <a:lnTo>
                  <a:pt x="11571" y="5420"/>
                </a:lnTo>
                <a:lnTo>
                  <a:pt x="11792" y="5420"/>
                </a:lnTo>
                <a:lnTo>
                  <a:pt x="11792" y="5987"/>
                </a:lnTo>
                <a:lnTo>
                  <a:pt x="11571" y="5987"/>
                </a:lnTo>
                <a:lnTo>
                  <a:pt x="11571" y="6553"/>
                </a:lnTo>
                <a:lnTo>
                  <a:pt x="11792" y="6634"/>
                </a:lnTo>
                <a:lnTo>
                  <a:pt x="11792" y="6796"/>
                </a:lnTo>
                <a:lnTo>
                  <a:pt x="11902" y="6796"/>
                </a:lnTo>
                <a:lnTo>
                  <a:pt x="11902" y="6634"/>
                </a:lnTo>
                <a:lnTo>
                  <a:pt x="12122" y="6634"/>
                </a:lnTo>
                <a:lnTo>
                  <a:pt x="12122" y="6957"/>
                </a:lnTo>
                <a:lnTo>
                  <a:pt x="12343" y="6957"/>
                </a:lnTo>
                <a:lnTo>
                  <a:pt x="12343" y="7119"/>
                </a:lnTo>
                <a:lnTo>
                  <a:pt x="12453" y="7119"/>
                </a:lnTo>
                <a:lnTo>
                  <a:pt x="12453" y="7200"/>
                </a:lnTo>
                <a:lnTo>
                  <a:pt x="14216" y="7200"/>
                </a:lnTo>
                <a:lnTo>
                  <a:pt x="14437" y="7119"/>
                </a:lnTo>
                <a:lnTo>
                  <a:pt x="15208" y="7119"/>
                </a:lnTo>
                <a:lnTo>
                  <a:pt x="15208" y="7200"/>
                </a:lnTo>
                <a:lnTo>
                  <a:pt x="15759" y="7200"/>
                </a:lnTo>
                <a:lnTo>
                  <a:pt x="15980" y="7362"/>
                </a:lnTo>
                <a:lnTo>
                  <a:pt x="15980" y="7524"/>
                </a:lnTo>
                <a:lnTo>
                  <a:pt x="16200" y="7685"/>
                </a:lnTo>
                <a:lnTo>
                  <a:pt x="16310" y="7685"/>
                </a:lnTo>
                <a:lnTo>
                  <a:pt x="16310" y="7766"/>
                </a:lnTo>
                <a:lnTo>
                  <a:pt x="16531" y="7928"/>
                </a:lnTo>
                <a:lnTo>
                  <a:pt x="16531" y="8090"/>
                </a:lnTo>
                <a:lnTo>
                  <a:pt x="16751" y="8090"/>
                </a:lnTo>
                <a:lnTo>
                  <a:pt x="16751" y="8252"/>
                </a:lnTo>
                <a:lnTo>
                  <a:pt x="16971" y="8252"/>
                </a:lnTo>
                <a:lnTo>
                  <a:pt x="16971" y="8333"/>
                </a:lnTo>
                <a:lnTo>
                  <a:pt x="17743" y="8333"/>
                </a:lnTo>
                <a:lnTo>
                  <a:pt x="17853" y="8252"/>
                </a:lnTo>
                <a:lnTo>
                  <a:pt x="19286" y="8252"/>
                </a:lnTo>
                <a:lnTo>
                  <a:pt x="19286" y="8090"/>
                </a:lnTo>
                <a:lnTo>
                  <a:pt x="20057" y="8090"/>
                </a:lnTo>
                <a:lnTo>
                  <a:pt x="20057" y="8252"/>
                </a:lnTo>
                <a:lnTo>
                  <a:pt x="20388" y="8252"/>
                </a:lnTo>
                <a:lnTo>
                  <a:pt x="20388" y="8333"/>
                </a:lnTo>
                <a:lnTo>
                  <a:pt x="20608" y="8333"/>
                </a:lnTo>
                <a:lnTo>
                  <a:pt x="20388" y="8494"/>
                </a:lnTo>
                <a:lnTo>
                  <a:pt x="20388" y="8818"/>
                </a:lnTo>
                <a:lnTo>
                  <a:pt x="20167" y="8818"/>
                </a:lnTo>
                <a:lnTo>
                  <a:pt x="20167" y="8899"/>
                </a:lnTo>
                <a:lnTo>
                  <a:pt x="20057" y="9061"/>
                </a:lnTo>
                <a:lnTo>
                  <a:pt x="20057" y="9222"/>
                </a:lnTo>
                <a:lnTo>
                  <a:pt x="19837" y="9222"/>
                </a:lnTo>
                <a:lnTo>
                  <a:pt x="19837" y="10193"/>
                </a:lnTo>
                <a:lnTo>
                  <a:pt x="19616" y="10355"/>
                </a:lnTo>
                <a:lnTo>
                  <a:pt x="19616" y="10517"/>
                </a:lnTo>
                <a:lnTo>
                  <a:pt x="19837" y="10517"/>
                </a:lnTo>
                <a:lnTo>
                  <a:pt x="19837" y="10921"/>
                </a:lnTo>
                <a:lnTo>
                  <a:pt x="20057" y="10921"/>
                </a:lnTo>
                <a:lnTo>
                  <a:pt x="20057" y="11326"/>
                </a:lnTo>
                <a:lnTo>
                  <a:pt x="20167" y="11326"/>
                </a:lnTo>
                <a:lnTo>
                  <a:pt x="20167" y="11488"/>
                </a:lnTo>
                <a:lnTo>
                  <a:pt x="20388" y="11488"/>
                </a:lnTo>
                <a:lnTo>
                  <a:pt x="20388" y="11649"/>
                </a:lnTo>
                <a:lnTo>
                  <a:pt x="20608" y="11649"/>
                </a:lnTo>
                <a:lnTo>
                  <a:pt x="20608" y="11730"/>
                </a:lnTo>
                <a:lnTo>
                  <a:pt x="20829" y="11730"/>
                </a:lnTo>
                <a:lnTo>
                  <a:pt x="20829" y="11892"/>
                </a:lnTo>
                <a:lnTo>
                  <a:pt x="20608" y="12054"/>
                </a:lnTo>
                <a:lnTo>
                  <a:pt x="20388" y="12054"/>
                </a:lnTo>
                <a:lnTo>
                  <a:pt x="20388" y="12216"/>
                </a:lnTo>
                <a:lnTo>
                  <a:pt x="20167" y="12297"/>
                </a:lnTo>
                <a:lnTo>
                  <a:pt x="20057" y="12297"/>
                </a:lnTo>
                <a:lnTo>
                  <a:pt x="20057" y="12458"/>
                </a:lnTo>
                <a:lnTo>
                  <a:pt x="19837" y="12458"/>
                </a:lnTo>
                <a:lnTo>
                  <a:pt x="19837" y="12782"/>
                </a:lnTo>
                <a:lnTo>
                  <a:pt x="20167" y="12782"/>
                </a:lnTo>
                <a:lnTo>
                  <a:pt x="20608" y="13025"/>
                </a:lnTo>
                <a:lnTo>
                  <a:pt x="20608" y="13187"/>
                </a:lnTo>
                <a:lnTo>
                  <a:pt x="20829" y="13187"/>
                </a:lnTo>
                <a:lnTo>
                  <a:pt x="20829" y="13348"/>
                </a:lnTo>
                <a:lnTo>
                  <a:pt x="20939" y="13429"/>
                </a:lnTo>
                <a:lnTo>
                  <a:pt x="20939" y="13591"/>
                </a:lnTo>
                <a:lnTo>
                  <a:pt x="21159" y="13591"/>
                </a:lnTo>
                <a:lnTo>
                  <a:pt x="21159" y="14319"/>
                </a:lnTo>
                <a:lnTo>
                  <a:pt x="20939" y="14157"/>
                </a:lnTo>
                <a:lnTo>
                  <a:pt x="20939" y="13834"/>
                </a:lnTo>
                <a:lnTo>
                  <a:pt x="20829" y="13834"/>
                </a:lnTo>
                <a:lnTo>
                  <a:pt x="20829" y="13591"/>
                </a:lnTo>
                <a:lnTo>
                  <a:pt x="20388" y="13591"/>
                </a:lnTo>
                <a:lnTo>
                  <a:pt x="20388" y="13753"/>
                </a:lnTo>
                <a:lnTo>
                  <a:pt x="20057" y="13753"/>
                </a:lnTo>
                <a:lnTo>
                  <a:pt x="20057" y="13834"/>
                </a:lnTo>
                <a:lnTo>
                  <a:pt x="19837" y="13996"/>
                </a:lnTo>
                <a:lnTo>
                  <a:pt x="19396" y="13996"/>
                </a:lnTo>
                <a:lnTo>
                  <a:pt x="19396" y="13834"/>
                </a:lnTo>
                <a:lnTo>
                  <a:pt x="19286" y="13834"/>
                </a:lnTo>
                <a:lnTo>
                  <a:pt x="19286" y="13753"/>
                </a:lnTo>
                <a:lnTo>
                  <a:pt x="19065" y="13753"/>
                </a:lnTo>
                <a:lnTo>
                  <a:pt x="19065" y="13996"/>
                </a:lnTo>
                <a:lnTo>
                  <a:pt x="16751" y="13996"/>
                </a:lnTo>
                <a:lnTo>
                  <a:pt x="16531" y="14157"/>
                </a:lnTo>
                <a:lnTo>
                  <a:pt x="16310" y="14157"/>
                </a:lnTo>
                <a:lnTo>
                  <a:pt x="16310" y="13996"/>
                </a:lnTo>
                <a:lnTo>
                  <a:pt x="16200" y="13996"/>
                </a:lnTo>
                <a:lnTo>
                  <a:pt x="16200" y="14157"/>
                </a:lnTo>
                <a:lnTo>
                  <a:pt x="16310" y="14157"/>
                </a:lnTo>
                <a:lnTo>
                  <a:pt x="16310" y="14319"/>
                </a:lnTo>
                <a:lnTo>
                  <a:pt x="16200" y="14319"/>
                </a:lnTo>
                <a:lnTo>
                  <a:pt x="16200" y="14400"/>
                </a:lnTo>
                <a:lnTo>
                  <a:pt x="16310" y="14400"/>
                </a:lnTo>
                <a:lnTo>
                  <a:pt x="16310" y="14562"/>
                </a:lnTo>
                <a:lnTo>
                  <a:pt x="16200" y="14724"/>
                </a:lnTo>
                <a:lnTo>
                  <a:pt x="16200" y="14885"/>
                </a:lnTo>
                <a:lnTo>
                  <a:pt x="16310" y="14966"/>
                </a:lnTo>
                <a:lnTo>
                  <a:pt x="16531" y="14885"/>
                </a:lnTo>
                <a:lnTo>
                  <a:pt x="16751" y="14966"/>
                </a:lnTo>
                <a:lnTo>
                  <a:pt x="17082" y="14966"/>
                </a:lnTo>
                <a:lnTo>
                  <a:pt x="17082" y="14885"/>
                </a:lnTo>
                <a:lnTo>
                  <a:pt x="17302" y="14966"/>
                </a:lnTo>
                <a:lnTo>
                  <a:pt x="17302" y="15128"/>
                </a:lnTo>
                <a:lnTo>
                  <a:pt x="17522" y="15290"/>
                </a:lnTo>
                <a:lnTo>
                  <a:pt x="17522" y="15533"/>
                </a:lnTo>
                <a:lnTo>
                  <a:pt x="17302" y="15533"/>
                </a:lnTo>
                <a:lnTo>
                  <a:pt x="17302" y="15452"/>
                </a:lnTo>
                <a:lnTo>
                  <a:pt x="17082" y="15452"/>
                </a:lnTo>
                <a:lnTo>
                  <a:pt x="16971" y="15290"/>
                </a:lnTo>
                <a:lnTo>
                  <a:pt x="16751" y="15290"/>
                </a:lnTo>
                <a:lnTo>
                  <a:pt x="16751" y="15452"/>
                </a:lnTo>
                <a:lnTo>
                  <a:pt x="16200" y="15452"/>
                </a:lnTo>
                <a:lnTo>
                  <a:pt x="16200" y="15533"/>
                </a:lnTo>
                <a:lnTo>
                  <a:pt x="15759" y="15533"/>
                </a:lnTo>
                <a:lnTo>
                  <a:pt x="15759" y="16584"/>
                </a:lnTo>
                <a:lnTo>
                  <a:pt x="15980" y="16584"/>
                </a:lnTo>
                <a:lnTo>
                  <a:pt x="15980" y="16665"/>
                </a:lnTo>
                <a:lnTo>
                  <a:pt x="16200" y="16665"/>
                </a:lnTo>
                <a:lnTo>
                  <a:pt x="16310" y="16827"/>
                </a:lnTo>
                <a:lnTo>
                  <a:pt x="16531" y="16827"/>
                </a:lnTo>
                <a:lnTo>
                  <a:pt x="16531" y="17151"/>
                </a:lnTo>
                <a:lnTo>
                  <a:pt x="16751" y="17151"/>
                </a:lnTo>
                <a:lnTo>
                  <a:pt x="16751" y="17555"/>
                </a:lnTo>
                <a:lnTo>
                  <a:pt x="16971" y="17717"/>
                </a:lnTo>
                <a:lnTo>
                  <a:pt x="16971" y="18283"/>
                </a:lnTo>
                <a:lnTo>
                  <a:pt x="16751" y="18283"/>
                </a:lnTo>
                <a:lnTo>
                  <a:pt x="16751" y="19416"/>
                </a:lnTo>
                <a:lnTo>
                  <a:pt x="16531" y="19416"/>
                </a:lnTo>
                <a:lnTo>
                  <a:pt x="16531" y="20225"/>
                </a:lnTo>
                <a:lnTo>
                  <a:pt x="16310" y="20387"/>
                </a:lnTo>
                <a:lnTo>
                  <a:pt x="16310" y="20953"/>
                </a:lnTo>
                <a:lnTo>
                  <a:pt x="16200" y="20953"/>
                </a:lnTo>
                <a:lnTo>
                  <a:pt x="16200" y="21519"/>
                </a:lnTo>
                <a:lnTo>
                  <a:pt x="15980" y="21519"/>
                </a:lnTo>
                <a:lnTo>
                  <a:pt x="15980" y="21600"/>
                </a:lnTo>
                <a:lnTo>
                  <a:pt x="15759" y="21600"/>
                </a:lnTo>
                <a:lnTo>
                  <a:pt x="15759" y="21519"/>
                </a:lnTo>
                <a:lnTo>
                  <a:pt x="15539" y="21519"/>
                </a:lnTo>
                <a:lnTo>
                  <a:pt x="15539" y="21357"/>
                </a:lnTo>
                <a:lnTo>
                  <a:pt x="15429" y="21195"/>
                </a:lnTo>
                <a:lnTo>
                  <a:pt x="14767" y="21195"/>
                </a:lnTo>
                <a:lnTo>
                  <a:pt x="14767" y="20953"/>
                </a:lnTo>
                <a:lnTo>
                  <a:pt x="14988" y="20953"/>
                </a:lnTo>
                <a:lnTo>
                  <a:pt x="14988" y="20629"/>
                </a:lnTo>
                <a:lnTo>
                  <a:pt x="15208" y="20629"/>
                </a:lnTo>
                <a:lnTo>
                  <a:pt x="15208" y="20548"/>
                </a:lnTo>
                <a:lnTo>
                  <a:pt x="15429" y="20548"/>
                </a:lnTo>
                <a:lnTo>
                  <a:pt x="15429" y="20225"/>
                </a:lnTo>
                <a:lnTo>
                  <a:pt x="15539" y="20225"/>
                </a:lnTo>
                <a:lnTo>
                  <a:pt x="15539" y="20063"/>
                </a:lnTo>
                <a:lnTo>
                  <a:pt x="15759" y="20063"/>
                </a:lnTo>
                <a:lnTo>
                  <a:pt x="15759" y="19982"/>
                </a:lnTo>
                <a:lnTo>
                  <a:pt x="15980" y="19982"/>
                </a:lnTo>
                <a:lnTo>
                  <a:pt x="15980" y="19820"/>
                </a:lnTo>
                <a:lnTo>
                  <a:pt x="15759" y="19658"/>
                </a:lnTo>
                <a:lnTo>
                  <a:pt x="15539" y="19658"/>
                </a:lnTo>
                <a:lnTo>
                  <a:pt x="15539" y="19497"/>
                </a:lnTo>
                <a:lnTo>
                  <a:pt x="14988" y="19497"/>
                </a:lnTo>
                <a:lnTo>
                  <a:pt x="14767" y="19416"/>
                </a:lnTo>
                <a:lnTo>
                  <a:pt x="14767" y="19254"/>
                </a:lnTo>
                <a:lnTo>
                  <a:pt x="14216" y="19254"/>
                </a:lnTo>
                <a:lnTo>
                  <a:pt x="14216" y="19416"/>
                </a:lnTo>
                <a:lnTo>
                  <a:pt x="13445" y="19416"/>
                </a:lnTo>
                <a:lnTo>
                  <a:pt x="13224" y="19254"/>
                </a:lnTo>
                <a:lnTo>
                  <a:pt x="13114" y="19254"/>
                </a:lnTo>
                <a:lnTo>
                  <a:pt x="12894" y="19092"/>
                </a:lnTo>
                <a:lnTo>
                  <a:pt x="12673" y="19254"/>
                </a:lnTo>
                <a:lnTo>
                  <a:pt x="12673" y="19416"/>
                </a:lnTo>
                <a:lnTo>
                  <a:pt x="12122" y="19416"/>
                </a:lnTo>
                <a:lnTo>
                  <a:pt x="12122" y="19497"/>
                </a:lnTo>
                <a:lnTo>
                  <a:pt x="11571" y="19497"/>
                </a:lnTo>
                <a:lnTo>
                  <a:pt x="11571" y="19416"/>
                </a:lnTo>
                <a:lnTo>
                  <a:pt x="11351" y="19416"/>
                </a:lnTo>
                <a:lnTo>
                  <a:pt x="11351" y="19497"/>
                </a:lnTo>
                <a:lnTo>
                  <a:pt x="10800" y="19497"/>
                </a:lnTo>
                <a:lnTo>
                  <a:pt x="10580" y="19416"/>
                </a:lnTo>
                <a:lnTo>
                  <a:pt x="10580" y="18688"/>
                </a:lnTo>
                <a:lnTo>
                  <a:pt x="9808" y="18688"/>
                </a:lnTo>
                <a:lnTo>
                  <a:pt x="9808" y="18283"/>
                </a:lnTo>
                <a:lnTo>
                  <a:pt x="9478" y="17960"/>
                </a:lnTo>
                <a:lnTo>
                  <a:pt x="9257" y="17960"/>
                </a:lnTo>
                <a:lnTo>
                  <a:pt x="9037" y="17798"/>
                </a:lnTo>
                <a:lnTo>
                  <a:pt x="9037" y="17717"/>
                </a:lnTo>
                <a:lnTo>
                  <a:pt x="8706" y="17717"/>
                </a:lnTo>
                <a:lnTo>
                  <a:pt x="8265" y="17393"/>
                </a:lnTo>
                <a:lnTo>
                  <a:pt x="8265" y="16989"/>
                </a:lnTo>
                <a:lnTo>
                  <a:pt x="7935" y="16989"/>
                </a:lnTo>
                <a:lnTo>
                  <a:pt x="7935" y="16827"/>
                </a:lnTo>
                <a:lnTo>
                  <a:pt x="7494" y="16584"/>
                </a:lnTo>
                <a:lnTo>
                  <a:pt x="7273" y="16584"/>
                </a:lnTo>
                <a:lnTo>
                  <a:pt x="7273" y="16422"/>
                </a:lnTo>
                <a:lnTo>
                  <a:pt x="7163" y="16261"/>
                </a:lnTo>
                <a:lnTo>
                  <a:pt x="6502" y="16261"/>
                </a:lnTo>
                <a:lnTo>
                  <a:pt x="6502" y="16422"/>
                </a:lnTo>
                <a:lnTo>
                  <a:pt x="6392" y="16422"/>
                </a:lnTo>
                <a:lnTo>
                  <a:pt x="6392" y="16261"/>
                </a:lnTo>
                <a:lnTo>
                  <a:pt x="6171" y="16261"/>
                </a:lnTo>
                <a:lnTo>
                  <a:pt x="6171" y="16099"/>
                </a:lnTo>
                <a:lnTo>
                  <a:pt x="5731" y="16099"/>
                </a:lnTo>
                <a:lnTo>
                  <a:pt x="5731" y="16018"/>
                </a:lnTo>
                <a:lnTo>
                  <a:pt x="5400" y="16018"/>
                </a:lnTo>
                <a:lnTo>
                  <a:pt x="5400" y="15856"/>
                </a:lnTo>
                <a:lnTo>
                  <a:pt x="5180" y="15856"/>
                </a:lnTo>
                <a:lnTo>
                  <a:pt x="5180" y="15694"/>
                </a:lnTo>
                <a:lnTo>
                  <a:pt x="4959" y="15694"/>
                </a:lnTo>
                <a:lnTo>
                  <a:pt x="4849" y="15856"/>
                </a:lnTo>
                <a:lnTo>
                  <a:pt x="4408" y="15856"/>
                </a:lnTo>
                <a:lnTo>
                  <a:pt x="4408" y="16018"/>
                </a:lnTo>
                <a:lnTo>
                  <a:pt x="3857" y="16018"/>
                </a:lnTo>
                <a:lnTo>
                  <a:pt x="3857" y="15856"/>
                </a:lnTo>
                <a:lnTo>
                  <a:pt x="2865" y="15856"/>
                </a:lnTo>
                <a:lnTo>
                  <a:pt x="2865" y="15533"/>
                </a:lnTo>
                <a:lnTo>
                  <a:pt x="2645" y="15533"/>
                </a:lnTo>
                <a:lnTo>
                  <a:pt x="2645" y="15452"/>
                </a:lnTo>
                <a:lnTo>
                  <a:pt x="2535" y="15290"/>
                </a:lnTo>
                <a:lnTo>
                  <a:pt x="2535" y="15128"/>
                </a:lnTo>
                <a:lnTo>
                  <a:pt x="1763" y="15128"/>
                </a:lnTo>
                <a:lnTo>
                  <a:pt x="1763" y="14966"/>
                </a:lnTo>
                <a:lnTo>
                  <a:pt x="1322" y="14966"/>
                </a:lnTo>
                <a:lnTo>
                  <a:pt x="1322" y="14885"/>
                </a:lnTo>
                <a:lnTo>
                  <a:pt x="1212" y="14885"/>
                </a:lnTo>
                <a:lnTo>
                  <a:pt x="771" y="14562"/>
                </a:lnTo>
                <a:lnTo>
                  <a:pt x="551" y="14562"/>
                </a:lnTo>
                <a:lnTo>
                  <a:pt x="551" y="14400"/>
                </a:lnTo>
                <a:lnTo>
                  <a:pt x="441" y="14400"/>
                </a:lnTo>
                <a:lnTo>
                  <a:pt x="441" y="14319"/>
                </a:lnTo>
                <a:lnTo>
                  <a:pt x="0" y="14319"/>
                </a:lnTo>
                <a:lnTo>
                  <a:pt x="0" y="14157"/>
                </a:lnTo>
                <a:lnTo>
                  <a:pt x="441" y="14157"/>
                </a:lnTo>
                <a:lnTo>
                  <a:pt x="441" y="13996"/>
                </a:lnTo>
                <a:lnTo>
                  <a:pt x="771" y="13996"/>
                </a:lnTo>
                <a:lnTo>
                  <a:pt x="771" y="13753"/>
                </a:lnTo>
                <a:lnTo>
                  <a:pt x="551" y="13753"/>
                </a:lnTo>
                <a:lnTo>
                  <a:pt x="551" y="13348"/>
                </a:lnTo>
                <a:lnTo>
                  <a:pt x="771" y="13348"/>
                </a:lnTo>
                <a:lnTo>
                  <a:pt x="771" y="13187"/>
                </a:lnTo>
                <a:lnTo>
                  <a:pt x="992" y="13187"/>
                </a:lnTo>
                <a:lnTo>
                  <a:pt x="992" y="13025"/>
                </a:lnTo>
                <a:lnTo>
                  <a:pt x="1873" y="13025"/>
                </a:lnTo>
                <a:lnTo>
                  <a:pt x="2094" y="12863"/>
                </a:lnTo>
                <a:lnTo>
                  <a:pt x="2094" y="12782"/>
                </a:lnTo>
                <a:lnTo>
                  <a:pt x="2314" y="12782"/>
                </a:lnTo>
                <a:lnTo>
                  <a:pt x="2314" y="12297"/>
                </a:lnTo>
                <a:lnTo>
                  <a:pt x="2535" y="12297"/>
                </a:lnTo>
                <a:lnTo>
                  <a:pt x="2535" y="12216"/>
                </a:lnTo>
                <a:lnTo>
                  <a:pt x="2645" y="12216"/>
                </a:lnTo>
                <a:lnTo>
                  <a:pt x="2865" y="12054"/>
                </a:lnTo>
                <a:lnTo>
                  <a:pt x="2865" y="11892"/>
                </a:lnTo>
                <a:lnTo>
                  <a:pt x="3086" y="11892"/>
                </a:lnTo>
                <a:lnTo>
                  <a:pt x="3086" y="11730"/>
                </a:lnTo>
                <a:lnTo>
                  <a:pt x="3306" y="11488"/>
                </a:lnTo>
                <a:lnTo>
                  <a:pt x="3416" y="11326"/>
                </a:lnTo>
                <a:lnTo>
                  <a:pt x="3306" y="11326"/>
                </a:lnTo>
                <a:lnTo>
                  <a:pt x="3306" y="11083"/>
                </a:lnTo>
                <a:lnTo>
                  <a:pt x="2645" y="11083"/>
                </a:lnTo>
                <a:lnTo>
                  <a:pt x="2645" y="10921"/>
                </a:lnTo>
                <a:lnTo>
                  <a:pt x="3086" y="10921"/>
                </a:lnTo>
                <a:lnTo>
                  <a:pt x="3086" y="10760"/>
                </a:lnTo>
                <a:lnTo>
                  <a:pt x="2865" y="10760"/>
                </a:lnTo>
                <a:lnTo>
                  <a:pt x="2865" y="10193"/>
                </a:lnTo>
                <a:lnTo>
                  <a:pt x="3086" y="10031"/>
                </a:lnTo>
                <a:lnTo>
                  <a:pt x="3086" y="9951"/>
                </a:lnTo>
                <a:lnTo>
                  <a:pt x="2865" y="9951"/>
                </a:lnTo>
                <a:lnTo>
                  <a:pt x="2865" y="9384"/>
                </a:lnTo>
                <a:lnTo>
                  <a:pt x="2645" y="9222"/>
                </a:lnTo>
                <a:lnTo>
                  <a:pt x="2645" y="9061"/>
                </a:lnTo>
                <a:lnTo>
                  <a:pt x="2865" y="9061"/>
                </a:lnTo>
                <a:lnTo>
                  <a:pt x="2865" y="8899"/>
                </a:lnTo>
                <a:lnTo>
                  <a:pt x="3086" y="8899"/>
                </a:lnTo>
                <a:lnTo>
                  <a:pt x="3086" y="8656"/>
                </a:lnTo>
                <a:lnTo>
                  <a:pt x="2865" y="8656"/>
                </a:lnTo>
                <a:lnTo>
                  <a:pt x="2865" y="8333"/>
                </a:lnTo>
                <a:lnTo>
                  <a:pt x="2645" y="8333"/>
                </a:lnTo>
                <a:lnTo>
                  <a:pt x="2645" y="8090"/>
                </a:lnTo>
                <a:lnTo>
                  <a:pt x="2865" y="7928"/>
                </a:lnTo>
                <a:lnTo>
                  <a:pt x="2865" y="7685"/>
                </a:lnTo>
                <a:lnTo>
                  <a:pt x="2645" y="7685"/>
                </a:lnTo>
                <a:lnTo>
                  <a:pt x="2645" y="7524"/>
                </a:lnTo>
                <a:lnTo>
                  <a:pt x="2535" y="7524"/>
                </a:lnTo>
                <a:lnTo>
                  <a:pt x="2535" y="7362"/>
                </a:lnTo>
                <a:lnTo>
                  <a:pt x="1873" y="6957"/>
                </a:lnTo>
                <a:lnTo>
                  <a:pt x="1873" y="6796"/>
                </a:lnTo>
                <a:lnTo>
                  <a:pt x="2094" y="6796"/>
                </a:lnTo>
                <a:lnTo>
                  <a:pt x="2094" y="6634"/>
                </a:lnTo>
                <a:lnTo>
                  <a:pt x="2314" y="6634"/>
                </a:lnTo>
                <a:lnTo>
                  <a:pt x="2314" y="6391"/>
                </a:lnTo>
                <a:lnTo>
                  <a:pt x="2535" y="6391"/>
                </a:lnTo>
                <a:lnTo>
                  <a:pt x="2535" y="6553"/>
                </a:lnTo>
                <a:lnTo>
                  <a:pt x="2645" y="6553"/>
                </a:lnTo>
                <a:lnTo>
                  <a:pt x="2645" y="6391"/>
                </a:lnTo>
                <a:lnTo>
                  <a:pt x="2865" y="6391"/>
                </a:lnTo>
                <a:lnTo>
                  <a:pt x="2865" y="6229"/>
                </a:lnTo>
                <a:lnTo>
                  <a:pt x="3086" y="6067"/>
                </a:lnTo>
                <a:lnTo>
                  <a:pt x="3306" y="6067"/>
                </a:lnTo>
                <a:lnTo>
                  <a:pt x="3306" y="5825"/>
                </a:lnTo>
                <a:lnTo>
                  <a:pt x="3086" y="5825"/>
                </a:lnTo>
                <a:lnTo>
                  <a:pt x="3086" y="5582"/>
                </a:lnTo>
                <a:lnTo>
                  <a:pt x="2865" y="5582"/>
                </a:lnTo>
                <a:lnTo>
                  <a:pt x="2865" y="5258"/>
                </a:lnTo>
                <a:lnTo>
                  <a:pt x="2645" y="5258"/>
                </a:lnTo>
                <a:lnTo>
                  <a:pt x="2865" y="5097"/>
                </a:lnTo>
                <a:lnTo>
                  <a:pt x="3086" y="5097"/>
                </a:lnTo>
                <a:lnTo>
                  <a:pt x="3306" y="5258"/>
                </a:lnTo>
                <a:lnTo>
                  <a:pt x="3306" y="5420"/>
                </a:lnTo>
                <a:lnTo>
                  <a:pt x="3857" y="5825"/>
                </a:lnTo>
                <a:lnTo>
                  <a:pt x="3857" y="5987"/>
                </a:lnTo>
                <a:lnTo>
                  <a:pt x="4078" y="5987"/>
                </a:lnTo>
                <a:lnTo>
                  <a:pt x="4078" y="5663"/>
                </a:lnTo>
                <a:lnTo>
                  <a:pt x="3857" y="5582"/>
                </a:lnTo>
                <a:lnTo>
                  <a:pt x="3857" y="5420"/>
                </a:lnTo>
                <a:lnTo>
                  <a:pt x="3637" y="5258"/>
                </a:lnTo>
                <a:lnTo>
                  <a:pt x="3637" y="5097"/>
                </a:lnTo>
                <a:lnTo>
                  <a:pt x="3857" y="5016"/>
                </a:lnTo>
                <a:lnTo>
                  <a:pt x="4188" y="5016"/>
                </a:lnTo>
                <a:lnTo>
                  <a:pt x="4188" y="4854"/>
                </a:lnTo>
                <a:lnTo>
                  <a:pt x="4629" y="4854"/>
                </a:lnTo>
                <a:lnTo>
                  <a:pt x="4849" y="4692"/>
                </a:lnTo>
                <a:lnTo>
                  <a:pt x="4849" y="4530"/>
                </a:lnTo>
                <a:lnTo>
                  <a:pt x="4959" y="4449"/>
                </a:lnTo>
                <a:lnTo>
                  <a:pt x="4959" y="4288"/>
                </a:lnTo>
                <a:lnTo>
                  <a:pt x="5180" y="4126"/>
                </a:lnTo>
                <a:lnTo>
                  <a:pt x="5400" y="4126"/>
                </a:lnTo>
                <a:lnTo>
                  <a:pt x="5400" y="3964"/>
                </a:lnTo>
                <a:lnTo>
                  <a:pt x="5951" y="3964"/>
                </a:lnTo>
                <a:lnTo>
                  <a:pt x="5951" y="2751"/>
                </a:lnTo>
                <a:lnTo>
                  <a:pt x="6392" y="2427"/>
                </a:lnTo>
                <a:lnTo>
                  <a:pt x="6502" y="2427"/>
                </a:lnTo>
                <a:lnTo>
                  <a:pt x="6722" y="2265"/>
                </a:lnTo>
                <a:lnTo>
                  <a:pt x="6722" y="2184"/>
                </a:lnTo>
                <a:lnTo>
                  <a:pt x="6943" y="2184"/>
                </a:lnTo>
                <a:lnTo>
                  <a:pt x="7273" y="1861"/>
                </a:lnTo>
                <a:lnTo>
                  <a:pt x="7714" y="1861"/>
                </a:lnTo>
                <a:lnTo>
                  <a:pt x="7935" y="2022"/>
                </a:lnTo>
                <a:lnTo>
                  <a:pt x="7935" y="2265"/>
                </a:lnTo>
                <a:lnTo>
                  <a:pt x="8045" y="2265"/>
                </a:lnTo>
                <a:lnTo>
                  <a:pt x="8265" y="2184"/>
                </a:lnTo>
                <a:lnTo>
                  <a:pt x="8265" y="2022"/>
                </a:lnTo>
                <a:lnTo>
                  <a:pt x="8486" y="1861"/>
                </a:lnTo>
                <a:lnTo>
                  <a:pt x="8486" y="1699"/>
                </a:lnTo>
                <a:lnTo>
                  <a:pt x="8706" y="1618"/>
                </a:lnTo>
                <a:lnTo>
                  <a:pt x="10249" y="1618"/>
                </a:lnTo>
                <a:lnTo>
                  <a:pt x="10800" y="1133"/>
                </a:lnTo>
                <a:lnTo>
                  <a:pt x="11020" y="1133"/>
                </a:lnTo>
                <a:lnTo>
                  <a:pt x="11131" y="1052"/>
                </a:lnTo>
                <a:lnTo>
                  <a:pt x="11571" y="1052"/>
                </a:lnTo>
                <a:lnTo>
                  <a:pt x="11571" y="890"/>
                </a:lnTo>
                <a:lnTo>
                  <a:pt x="11792" y="890"/>
                </a:lnTo>
                <a:lnTo>
                  <a:pt x="11792" y="728"/>
                </a:lnTo>
                <a:lnTo>
                  <a:pt x="11902" y="728"/>
                </a:lnTo>
                <a:lnTo>
                  <a:pt x="11902" y="485"/>
                </a:lnTo>
                <a:lnTo>
                  <a:pt x="12122" y="485"/>
                </a:lnTo>
                <a:lnTo>
                  <a:pt x="12122" y="324"/>
                </a:lnTo>
                <a:lnTo>
                  <a:pt x="12343" y="324"/>
                </a:lnTo>
                <a:lnTo>
                  <a:pt x="12453" y="162"/>
                </a:lnTo>
                <a:lnTo>
                  <a:pt x="12673" y="162"/>
                </a:lnTo>
                <a:lnTo>
                  <a:pt x="12894" y="0"/>
                </a:lnTo>
                <a:close/>
                <a:moveTo>
                  <a:pt x="12894" y="0"/>
                </a:moveTo>
              </a:path>
            </a:pathLst>
          </a:custGeom>
          <a:solidFill>
            <a:srgbClr val="00BACF">
              <a:alpha val="50000"/>
            </a:srgbClr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70" name="Freeform 17"/>
          <p:cNvSpPr>
            <a:spLocks/>
          </p:cNvSpPr>
          <p:nvPr/>
        </p:nvSpPr>
        <p:spPr bwMode="auto">
          <a:xfrm>
            <a:off x="7255941" y="5369092"/>
            <a:ext cx="58535" cy="2125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411" y="0"/>
              </a:cxn>
              <a:cxn ang="0">
                <a:pos x="5684" y="3927"/>
              </a:cxn>
              <a:cxn ang="0">
                <a:pos x="13642" y="3927"/>
              </a:cxn>
              <a:cxn ang="0">
                <a:pos x="15916" y="7855"/>
              </a:cxn>
              <a:cxn ang="0">
                <a:pos x="18189" y="7855"/>
              </a:cxn>
              <a:cxn ang="0">
                <a:pos x="19326" y="9818"/>
              </a:cxn>
              <a:cxn ang="0">
                <a:pos x="21600" y="9818"/>
              </a:cxn>
              <a:cxn ang="0">
                <a:pos x="21600" y="17673"/>
              </a:cxn>
              <a:cxn ang="0">
                <a:pos x="18189" y="17673"/>
              </a:cxn>
              <a:cxn ang="0">
                <a:pos x="18189" y="21600"/>
              </a:cxn>
              <a:cxn ang="0">
                <a:pos x="13642" y="21600"/>
              </a:cxn>
              <a:cxn ang="0">
                <a:pos x="13642" y="13745"/>
              </a:cxn>
              <a:cxn ang="0">
                <a:pos x="11368" y="13745"/>
              </a:cxn>
              <a:cxn ang="0">
                <a:pos x="11368" y="17673"/>
              </a:cxn>
              <a:cxn ang="0">
                <a:pos x="3411" y="17673"/>
              </a:cxn>
              <a:cxn ang="0">
                <a:pos x="3411" y="13745"/>
              </a:cxn>
              <a:cxn ang="0">
                <a:pos x="0" y="13745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3411" y="0"/>
                </a:lnTo>
                <a:lnTo>
                  <a:pt x="5684" y="3927"/>
                </a:lnTo>
                <a:lnTo>
                  <a:pt x="13642" y="3927"/>
                </a:lnTo>
                <a:lnTo>
                  <a:pt x="15916" y="7855"/>
                </a:lnTo>
                <a:lnTo>
                  <a:pt x="18189" y="7855"/>
                </a:lnTo>
                <a:lnTo>
                  <a:pt x="19326" y="9818"/>
                </a:lnTo>
                <a:lnTo>
                  <a:pt x="21600" y="9818"/>
                </a:lnTo>
                <a:lnTo>
                  <a:pt x="21600" y="17673"/>
                </a:lnTo>
                <a:lnTo>
                  <a:pt x="18189" y="17673"/>
                </a:lnTo>
                <a:lnTo>
                  <a:pt x="18189" y="21600"/>
                </a:lnTo>
                <a:lnTo>
                  <a:pt x="13642" y="21600"/>
                </a:lnTo>
                <a:lnTo>
                  <a:pt x="13642" y="13745"/>
                </a:lnTo>
                <a:lnTo>
                  <a:pt x="11368" y="13745"/>
                </a:lnTo>
                <a:lnTo>
                  <a:pt x="11368" y="17673"/>
                </a:lnTo>
                <a:lnTo>
                  <a:pt x="3411" y="17673"/>
                </a:lnTo>
                <a:lnTo>
                  <a:pt x="3411" y="13745"/>
                </a:lnTo>
                <a:lnTo>
                  <a:pt x="0" y="13745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rgbClr val="00BACF"/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71" name="AutoShape 18"/>
          <p:cNvSpPr>
            <a:spLocks/>
          </p:cNvSpPr>
          <p:nvPr/>
        </p:nvSpPr>
        <p:spPr bwMode="auto">
          <a:xfrm>
            <a:off x="7103029" y="5369079"/>
            <a:ext cx="52564" cy="14714"/>
          </a:xfrm>
          <a:custGeom>
            <a:avLst/>
            <a:gdLst>
              <a:gd name="T0" fmla="*/ 10800 w 21600"/>
              <a:gd name="T1" fmla="*/ 10800 h 21600"/>
            </a:gdLst>
            <a:ahLst/>
            <a:cxnLst>
              <a:cxn ang="0">
                <a:pos x="T0" y="T1"/>
              </a:cxn>
            </a:cxnLst>
            <a:rect l="0" t="0" r="r" b="b"/>
            <a:pathLst>
              <a:path w="21600" h="21600">
                <a:moveTo>
                  <a:pt x="14400" y="6171"/>
                </a:moveTo>
                <a:lnTo>
                  <a:pt x="16800" y="6171"/>
                </a:lnTo>
                <a:lnTo>
                  <a:pt x="16800" y="12343"/>
                </a:lnTo>
                <a:lnTo>
                  <a:pt x="21600" y="12343"/>
                </a:lnTo>
                <a:lnTo>
                  <a:pt x="21600" y="21600"/>
                </a:lnTo>
                <a:lnTo>
                  <a:pt x="19200" y="21600"/>
                </a:lnTo>
                <a:lnTo>
                  <a:pt x="16800" y="15429"/>
                </a:lnTo>
                <a:lnTo>
                  <a:pt x="13200" y="15429"/>
                </a:lnTo>
                <a:lnTo>
                  <a:pt x="13200" y="12343"/>
                </a:lnTo>
                <a:lnTo>
                  <a:pt x="14400" y="6171"/>
                </a:lnTo>
                <a:close/>
                <a:moveTo>
                  <a:pt x="8400" y="6171"/>
                </a:moveTo>
                <a:lnTo>
                  <a:pt x="10800" y="6171"/>
                </a:lnTo>
                <a:lnTo>
                  <a:pt x="10800" y="12343"/>
                </a:lnTo>
                <a:lnTo>
                  <a:pt x="8400" y="12343"/>
                </a:lnTo>
                <a:lnTo>
                  <a:pt x="8400" y="6171"/>
                </a:lnTo>
                <a:close/>
                <a:moveTo>
                  <a:pt x="4800" y="0"/>
                </a:moveTo>
                <a:lnTo>
                  <a:pt x="8400" y="0"/>
                </a:lnTo>
                <a:lnTo>
                  <a:pt x="8400" y="6171"/>
                </a:lnTo>
                <a:lnTo>
                  <a:pt x="4800" y="6171"/>
                </a:lnTo>
                <a:lnTo>
                  <a:pt x="4800" y="0"/>
                </a:lnTo>
                <a:close/>
                <a:moveTo>
                  <a:pt x="0" y="0"/>
                </a:moveTo>
                <a:lnTo>
                  <a:pt x="2400" y="0"/>
                </a:lnTo>
                <a:lnTo>
                  <a:pt x="2400" y="6171"/>
                </a:lnTo>
                <a:lnTo>
                  <a:pt x="0" y="6171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rgbClr val="00BACF"/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72" name="AutoShape 19"/>
          <p:cNvSpPr>
            <a:spLocks/>
          </p:cNvSpPr>
          <p:nvPr/>
        </p:nvSpPr>
        <p:spPr bwMode="auto">
          <a:xfrm>
            <a:off x="7061238" y="5318399"/>
            <a:ext cx="63315" cy="26976"/>
          </a:xfrm>
          <a:custGeom>
            <a:avLst/>
            <a:gdLst>
              <a:gd name="T0" fmla="*/ 10800 w 21600"/>
              <a:gd name="T1" fmla="*/ 10800 h 21600"/>
            </a:gdLst>
            <a:ahLst/>
            <a:cxnLst>
              <a:cxn ang="0">
                <a:pos x="T0" y="T1"/>
              </a:cxn>
            </a:cxnLst>
            <a:rect l="0" t="0" r="r" b="b"/>
            <a:pathLst>
              <a:path w="21600" h="21600">
                <a:moveTo>
                  <a:pt x="18514" y="9969"/>
                </a:moveTo>
                <a:lnTo>
                  <a:pt x="19543" y="9969"/>
                </a:lnTo>
                <a:lnTo>
                  <a:pt x="19543" y="11631"/>
                </a:lnTo>
                <a:lnTo>
                  <a:pt x="21600" y="11631"/>
                </a:lnTo>
                <a:lnTo>
                  <a:pt x="21600" y="14954"/>
                </a:lnTo>
                <a:lnTo>
                  <a:pt x="19543" y="14954"/>
                </a:lnTo>
                <a:lnTo>
                  <a:pt x="19543" y="21600"/>
                </a:lnTo>
                <a:lnTo>
                  <a:pt x="18514" y="21600"/>
                </a:lnTo>
                <a:lnTo>
                  <a:pt x="18514" y="18277"/>
                </a:lnTo>
                <a:lnTo>
                  <a:pt x="16457" y="18277"/>
                </a:lnTo>
                <a:lnTo>
                  <a:pt x="16457" y="11631"/>
                </a:lnTo>
                <a:lnTo>
                  <a:pt x="18514" y="11631"/>
                </a:lnTo>
                <a:lnTo>
                  <a:pt x="18514" y="9969"/>
                </a:lnTo>
                <a:close/>
                <a:moveTo>
                  <a:pt x="0" y="3323"/>
                </a:moveTo>
                <a:lnTo>
                  <a:pt x="2057" y="6646"/>
                </a:lnTo>
                <a:lnTo>
                  <a:pt x="0" y="6646"/>
                </a:lnTo>
                <a:lnTo>
                  <a:pt x="0" y="3323"/>
                </a:lnTo>
                <a:close/>
                <a:moveTo>
                  <a:pt x="5143" y="0"/>
                </a:moveTo>
                <a:lnTo>
                  <a:pt x="7200" y="0"/>
                </a:lnTo>
                <a:lnTo>
                  <a:pt x="7200" y="3323"/>
                </a:lnTo>
                <a:lnTo>
                  <a:pt x="11314" y="3323"/>
                </a:lnTo>
                <a:lnTo>
                  <a:pt x="11314" y="6646"/>
                </a:lnTo>
                <a:lnTo>
                  <a:pt x="9257" y="6646"/>
                </a:lnTo>
                <a:lnTo>
                  <a:pt x="9257" y="9969"/>
                </a:lnTo>
                <a:lnTo>
                  <a:pt x="11314" y="9969"/>
                </a:lnTo>
                <a:lnTo>
                  <a:pt x="11314" y="6646"/>
                </a:lnTo>
                <a:lnTo>
                  <a:pt x="16457" y="6646"/>
                </a:lnTo>
                <a:lnTo>
                  <a:pt x="16457" y="11631"/>
                </a:lnTo>
                <a:lnTo>
                  <a:pt x="12343" y="11631"/>
                </a:lnTo>
                <a:lnTo>
                  <a:pt x="12343" y="14954"/>
                </a:lnTo>
                <a:lnTo>
                  <a:pt x="9257" y="14954"/>
                </a:lnTo>
                <a:lnTo>
                  <a:pt x="9257" y="11631"/>
                </a:lnTo>
                <a:lnTo>
                  <a:pt x="7200" y="11631"/>
                </a:lnTo>
                <a:lnTo>
                  <a:pt x="7200" y="9969"/>
                </a:lnTo>
                <a:lnTo>
                  <a:pt x="5143" y="9969"/>
                </a:lnTo>
                <a:lnTo>
                  <a:pt x="5143" y="11631"/>
                </a:lnTo>
                <a:lnTo>
                  <a:pt x="7200" y="11631"/>
                </a:lnTo>
                <a:lnTo>
                  <a:pt x="7200" y="18277"/>
                </a:lnTo>
                <a:lnTo>
                  <a:pt x="5143" y="18277"/>
                </a:lnTo>
                <a:lnTo>
                  <a:pt x="5143" y="14954"/>
                </a:lnTo>
                <a:lnTo>
                  <a:pt x="4114" y="14954"/>
                </a:lnTo>
                <a:lnTo>
                  <a:pt x="4114" y="11631"/>
                </a:lnTo>
                <a:lnTo>
                  <a:pt x="2057" y="9969"/>
                </a:lnTo>
                <a:lnTo>
                  <a:pt x="2057" y="6646"/>
                </a:lnTo>
                <a:lnTo>
                  <a:pt x="4114" y="3323"/>
                </a:lnTo>
                <a:lnTo>
                  <a:pt x="5143" y="3323"/>
                </a:lnTo>
                <a:lnTo>
                  <a:pt x="5143" y="0"/>
                </a:lnTo>
                <a:close/>
                <a:moveTo>
                  <a:pt x="5143" y="0"/>
                </a:moveTo>
              </a:path>
            </a:pathLst>
          </a:custGeom>
          <a:solidFill>
            <a:srgbClr val="00BACF"/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73" name="AutoShape 20"/>
          <p:cNvSpPr>
            <a:spLocks/>
          </p:cNvSpPr>
          <p:nvPr/>
        </p:nvSpPr>
        <p:spPr bwMode="auto">
          <a:xfrm>
            <a:off x="6939370" y="5270998"/>
            <a:ext cx="75260" cy="29429"/>
          </a:xfrm>
          <a:custGeom>
            <a:avLst/>
            <a:gdLst>
              <a:gd name="T0" fmla="*/ 10800 w 21600"/>
              <a:gd name="T1" fmla="*/ 10800 h 21600"/>
            </a:gdLst>
            <a:ahLst/>
            <a:cxnLst>
              <a:cxn ang="0">
                <a:pos x="T0" y="T1"/>
              </a:cxn>
            </a:cxnLst>
            <a:rect l="0" t="0" r="r" b="b"/>
            <a:pathLst>
              <a:path w="21600" h="21600">
                <a:moveTo>
                  <a:pt x="12096" y="10800"/>
                </a:moveTo>
                <a:lnTo>
                  <a:pt x="13824" y="10800"/>
                </a:lnTo>
                <a:lnTo>
                  <a:pt x="15552" y="13886"/>
                </a:lnTo>
                <a:lnTo>
                  <a:pt x="16416" y="13886"/>
                </a:lnTo>
                <a:lnTo>
                  <a:pt x="16416" y="15429"/>
                </a:lnTo>
                <a:lnTo>
                  <a:pt x="18144" y="13886"/>
                </a:lnTo>
                <a:lnTo>
                  <a:pt x="19872" y="15429"/>
                </a:lnTo>
                <a:lnTo>
                  <a:pt x="19872" y="18514"/>
                </a:lnTo>
                <a:lnTo>
                  <a:pt x="21600" y="18514"/>
                </a:lnTo>
                <a:lnTo>
                  <a:pt x="21600" y="21600"/>
                </a:lnTo>
                <a:lnTo>
                  <a:pt x="16416" y="21600"/>
                </a:lnTo>
                <a:lnTo>
                  <a:pt x="16416" y="18514"/>
                </a:lnTo>
                <a:lnTo>
                  <a:pt x="15552" y="18514"/>
                </a:lnTo>
                <a:lnTo>
                  <a:pt x="15552" y="15429"/>
                </a:lnTo>
                <a:lnTo>
                  <a:pt x="13824" y="15429"/>
                </a:lnTo>
                <a:lnTo>
                  <a:pt x="13824" y="13886"/>
                </a:lnTo>
                <a:lnTo>
                  <a:pt x="12096" y="10800"/>
                </a:lnTo>
                <a:close/>
                <a:moveTo>
                  <a:pt x="4320" y="7714"/>
                </a:moveTo>
                <a:lnTo>
                  <a:pt x="10368" y="7714"/>
                </a:lnTo>
                <a:lnTo>
                  <a:pt x="12096" y="10800"/>
                </a:lnTo>
                <a:lnTo>
                  <a:pt x="10368" y="13886"/>
                </a:lnTo>
                <a:lnTo>
                  <a:pt x="6048" y="13886"/>
                </a:lnTo>
                <a:lnTo>
                  <a:pt x="4320" y="10800"/>
                </a:lnTo>
                <a:lnTo>
                  <a:pt x="4320" y="7714"/>
                </a:lnTo>
                <a:close/>
                <a:moveTo>
                  <a:pt x="0" y="0"/>
                </a:moveTo>
                <a:lnTo>
                  <a:pt x="1728" y="0"/>
                </a:lnTo>
                <a:lnTo>
                  <a:pt x="1728" y="3086"/>
                </a:lnTo>
                <a:lnTo>
                  <a:pt x="3456" y="3086"/>
                </a:lnTo>
                <a:lnTo>
                  <a:pt x="4320" y="4629"/>
                </a:lnTo>
                <a:lnTo>
                  <a:pt x="4320" y="7714"/>
                </a:lnTo>
                <a:lnTo>
                  <a:pt x="3456" y="7714"/>
                </a:lnTo>
                <a:lnTo>
                  <a:pt x="0" y="3086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rgbClr val="00BACF"/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74" name="Freeform 21"/>
          <p:cNvSpPr>
            <a:spLocks/>
          </p:cNvSpPr>
          <p:nvPr/>
        </p:nvSpPr>
        <p:spPr bwMode="auto">
          <a:xfrm>
            <a:off x="6996729" y="5307772"/>
            <a:ext cx="70482" cy="31063"/>
          </a:xfrm>
          <a:custGeom>
            <a:avLst/>
            <a:gdLst/>
            <a:ahLst/>
            <a:cxnLst>
              <a:cxn ang="0">
                <a:pos x="7200" y="0"/>
              </a:cxn>
              <a:cxn ang="0">
                <a:pos x="10800" y="0"/>
              </a:cxn>
              <a:cxn ang="0">
                <a:pos x="10800" y="1440"/>
              </a:cxn>
              <a:cxn ang="0">
                <a:pos x="12600" y="1440"/>
              </a:cxn>
              <a:cxn ang="0">
                <a:pos x="13500" y="4320"/>
              </a:cxn>
              <a:cxn ang="0">
                <a:pos x="17100" y="4320"/>
              </a:cxn>
              <a:cxn ang="0">
                <a:pos x="17100" y="7200"/>
              </a:cxn>
              <a:cxn ang="0">
                <a:pos x="18900" y="7200"/>
              </a:cxn>
              <a:cxn ang="0">
                <a:pos x="18900" y="10080"/>
              </a:cxn>
              <a:cxn ang="0">
                <a:pos x="19800" y="10080"/>
              </a:cxn>
              <a:cxn ang="0">
                <a:pos x="21600" y="11520"/>
              </a:cxn>
              <a:cxn ang="0">
                <a:pos x="19800" y="11520"/>
              </a:cxn>
              <a:cxn ang="0">
                <a:pos x="18900" y="14400"/>
              </a:cxn>
              <a:cxn ang="0">
                <a:pos x="18900" y="20160"/>
              </a:cxn>
              <a:cxn ang="0">
                <a:pos x="17100" y="17280"/>
              </a:cxn>
              <a:cxn ang="0">
                <a:pos x="15300" y="20160"/>
              </a:cxn>
              <a:cxn ang="0">
                <a:pos x="13500" y="20160"/>
              </a:cxn>
              <a:cxn ang="0">
                <a:pos x="13500" y="21600"/>
              </a:cxn>
              <a:cxn ang="0">
                <a:pos x="10800" y="21600"/>
              </a:cxn>
              <a:cxn ang="0">
                <a:pos x="10800" y="17280"/>
              </a:cxn>
              <a:cxn ang="0">
                <a:pos x="12600" y="17280"/>
              </a:cxn>
              <a:cxn ang="0">
                <a:pos x="12600" y="14400"/>
              </a:cxn>
              <a:cxn ang="0">
                <a:pos x="13500" y="14400"/>
              </a:cxn>
              <a:cxn ang="0">
                <a:pos x="13500" y="11520"/>
              </a:cxn>
              <a:cxn ang="0">
                <a:pos x="12600" y="11520"/>
              </a:cxn>
              <a:cxn ang="0">
                <a:pos x="12600" y="14400"/>
              </a:cxn>
              <a:cxn ang="0">
                <a:pos x="10800" y="14400"/>
              </a:cxn>
              <a:cxn ang="0">
                <a:pos x="10800" y="11520"/>
              </a:cxn>
              <a:cxn ang="0">
                <a:pos x="7200" y="11520"/>
              </a:cxn>
              <a:cxn ang="0">
                <a:pos x="7200" y="17280"/>
              </a:cxn>
              <a:cxn ang="0">
                <a:pos x="6300" y="17280"/>
              </a:cxn>
              <a:cxn ang="0">
                <a:pos x="6300" y="11520"/>
              </a:cxn>
              <a:cxn ang="0">
                <a:pos x="4500" y="11520"/>
              </a:cxn>
              <a:cxn ang="0">
                <a:pos x="4500" y="10080"/>
              </a:cxn>
              <a:cxn ang="0">
                <a:pos x="900" y="10080"/>
              </a:cxn>
              <a:cxn ang="0">
                <a:pos x="900" y="7200"/>
              </a:cxn>
              <a:cxn ang="0">
                <a:pos x="0" y="7200"/>
              </a:cxn>
              <a:cxn ang="0">
                <a:pos x="0" y="4320"/>
              </a:cxn>
              <a:cxn ang="0">
                <a:pos x="4500" y="4320"/>
              </a:cxn>
              <a:cxn ang="0">
                <a:pos x="4500" y="7200"/>
              </a:cxn>
              <a:cxn ang="0">
                <a:pos x="9000" y="7200"/>
              </a:cxn>
              <a:cxn ang="0">
                <a:pos x="9000" y="4320"/>
              </a:cxn>
              <a:cxn ang="0">
                <a:pos x="6300" y="4320"/>
              </a:cxn>
              <a:cxn ang="0">
                <a:pos x="4500" y="1440"/>
              </a:cxn>
              <a:cxn ang="0">
                <a:pos x="7200" y="1440"/>
              </a:cxn>
              <a:cxn ang="0">
                <a:pos x="7200" y="0"/>
              </a:cxn>
              <a:cxn ang="0">
                <a:pos x="7200" y="0"/>
              </a:cxn>
            </a:cxnLst>
            <a:rect l="0" t="0" r="r" b="b"/>
            <a:pathLst>
              <a:path w="21600" h="21600">
                <a:moveTo>
                  <a:pt x="7200" y="0"/>
                </a:moveTo>
                <a:lnTo>
                  <a:pt x="10800" y="0"/>
                </a:lnTo>
                <a:lnTo>
                  <a:pt x="10800" y="1440"/>
                </a:lnTo>
                <a:lnTo>
                  <a:pt x="12600" y="1440"/>
                </a:lnTo>
                <a:lnTo>
                  <a:pt x="13500" y="4320"/>
                </a:lnTo>
                <a:lnTo>
                  <a:pt x="17100" y="4320"/>
                </a:lnTo>
                <a:lnTo>
                  <a:pt x="17100" y="7200"/>
                </a:lnTo>
                <a:lnTo>
                  <a:pt x="18900" y="7200"/>
                </a:lnTo>
                <a:lnTo>
                  <a:pt x="18900" y="10080"/>
                </a:lnTo>
                <a:lnTo>
                  <a:pt x="19800" y="10080"/>
                </a:lnTo>
                <a:lnTo>
                  <a:pt x="21600" y="11520"/>
                </a:lnTo>
                <a:lnTo>
                  <a:pt x="19800" y="11520"/>
                </a:lnTo>
                <a:lnTo>
                  <a:pt x="18900" y="14400"/>
                </a:lnTo>
                <a:lnTo>
                  <a:pt x="18900" y="20160"/>
                </a:lnTo>
                <a:lnTo>
                  <a:pt x="17100" y="17280"/>
                </a:lnTo>
                <a:lnTo>
                  <a:pt x="15300" y="20160"/>
                </a:lnTo>
                <a:lnTo>
                  <a:pt x="13500" y="20160"/>
                </a:lnTo>
                <a:lnTo>
                  <a:pt x="13500" y="21600"/>
                </a:lnTo>
                <a:lnTo>
                  <a:pt x="10800" y="21600"/>
                </a:lnTo>
                <a:lnTo>
                  <a:pt x="10800" y="17280"/>
                </a:lnTo>
                <a:lnTo>
                  <a:pt x="12600" y="17280"/>
                </a:lnTo>
                <a:lnTo>
                  <a:pt x="12600" y="14400"/>
                </a:lnTo>
                <a:lnTo>
                  <a:pt x="13500" y="14400"/>
                </a:lnTo>
                <a:lnTo>
                  <a:pt x="13500" y="11520"/>
                </a:lnTo>
                <a:lnTo>
                  <a:pt x="12600" y="11520"/>
                </a:lnTo>
                <a:lnTo>
                  <a:pt x="12600" y="14400"/>
                </a:lnTo>
                <a:lnTo>
                  <a:pt x="10800" y="14400"/>
                </a:lnTo>
                <a:lnTo>
                  <a:pt x="10800" y="11520"/>
                </a:lnTo>
                <a:lnTo>
                  <a:pt x="7200" y="11520"/>
                </a:lnTo>
                <a:lnTo>
                  <a:pt x="7200" y="17280"/>
                </a:lnTo>
                <a:lnTo>
                  <a:pt x="6300" y="17280"/>
                </a:lnTo>
                <a:lnTo>
                  <a:pt x="6300" y="11520"/>
                </a:lnTo>
                <a:lnTo>
                  <a:pt x="4500" y="11520"/>
                </a:lnTo>
                <a:lnTo>
                  <a:pt x="4500" y="10080"/>
                </a:lnTo>
                <a:lnTo>
                  <a:pt x="900" y="10080"/>
                </a:lnTo>
                <a:lnTo>
                  <a:pt x="900" y="7200"/>
                </a:lnTo>
                <a:lnTo>
                  <a:pt x="0" y="7200"/>
                </a:lnTo>
                <a:lnTo>
                  <a:pt x="0" y="4320"/>
                </a:lnTo>
                <a:lnTo>
                  <a:pt x="4500" y="4320"/>
                </a:lnTo>
                <a:lnTo>
                  <a:pt x="4500" y="7200"/>
                </a:lnTo>
                <a:lnTo>
                  <a:pt x="9000" y="7200"/>
                </a:lnTo>
                <a:lnTo>
                  <a:pt x="9000" y="4320"/>
                </a:lnTo>
                <a:lnTo>
                  <a:pt x="6300" y="4320"/>
                </a:lnTo>
                <a:lnTo>
                  <a:pt x="4500" y="1440"/>
                </a:lnTo>
                <a:lnTo>
                  <a:pt x="7200" y="1440"/>
                </a:lnTo>
                <a:lnTo>
                  <a:pt x="7200" y="0"/>
                </a:lnTo>
                <a:close/>
                <a:moveTo>
                  <a:pt x="7200" y="0"/>
                </a:moveTo>
              </a:path>
            </a:pathLst>
          </a:custGeom>
          <a:solidFill>
            <a:srgbClr val="00BACF"/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75" name="AutoShape 22"/>
          <p:cNvSpPr>
            <a:spLocks/>
          </p:cNvSpPr>
          <p:nvPr/>
        </p:nvSpPr>
        <p:spPr bwMode="auto">
          <a:xfrm>
            <a:off x="6925036" y="5220304"/>
            <a:ext cx="14334" cy="21254"/>
          </a:xfrm>
          <a:custGeom>
            <a:avLst/>
            <a:gdLst>
              <a:gd name="T0" fmla="*/ 10800 w 21600"/>
              <a:gd name="T1" fmla="*/ 10800 h 21600"/>
            </a:gdLst>
            <a:ahLst/>
            <a:cxnLst>
              <a:cxn ang="0">
                <a:pos x="T0" y="T1"/>
              </a:cxn>
            </a:cxnLst>
            <a:rect l="0" t="0" r="r" b="b"/>
            <a:pathLst>
              <a:path w="21600" h="21600">
                <a:moveTo>
                  <a:pt x="12960" y="7855"/>
                </a:moveTo>
                <a:lnTo>
                  <a:pt x="12960" y="21600"/>
                </a:lnTo>
                <a:lnTo>
                  <a:pt x="8640" y="21600"/>
                </a:lnTo>
                <a:lnTo>
                  <a:pt x="8640" y="13745"/>
                </a:lnTo>
                <a:lnTo>
                  <a:pt x="0" y="13745"/>
                </a:lnTo>
                <a:lnTo>
                  <a:pt x="0" y="11782"/>
                </a:lnTo>
                <a:lnTo>
                  <a:pt x="8640" y="11782"/>
                </a:lnTo>
                <a:lnTo>
                  <a:pt x="12960" y="7855"/>
                </a:lnTo>
                <a:close/>
                <a:moveTo>
                  <a:pt x="12960" y="0"/>
                </a:moveTo>
                <a:lnTo>
                  <a:pt x="21600" y="3927"/>
                </a:lnTo>
                <a:lnTo>
                  <a:pt x="21600" y="7855"/>
                </a:lnTo>
                <a:lnTo>
                  <a:pt x="12960" y="7855"/>
                </a:lnTo>
                <a:lnTo>
                  <a:pt x="12960" y="3927"/>
                </a:lnTo>
                <a:lnTo>
                  <a:pt x="8640" y="3927"/>
                </a:lnTo>
                <a:lnTo>
                  <a:pt x="12960" y="0"/>
                </a:lnTo>
                <a:close/>
                <a:moveTo>
                  <a:pt x="12960" y="0"/>
                </a:moveTo>
              </a:path>
            </a:pathLst>
          </a:custGeom>
          <a:solidFill>
            <a:srgbClr val="00BACF"/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76" name="AutoShape 23"/>
          <p:cNvSpPr>
            <a:spLocks/>
          </p:cNvSpPr>
          <p:nvPr/>
        </p:nvSpPr>
        <p:spPr bwMode="auto">
          <a:xfrm>
            <a:off x="6934608" y="5171253"/>
            <a:ext cx="38226" cy="27794"/>
          </a:xfrm>
          <a:custGeom>
            <a:avLst/>
            <a:gdLst>
              <a:gd name="T0" fmla="*/ 10800 w 21600"/>
              <a:gd name="T1" fmla="*/ 10800 h 21600"/>
            </a:gdLst>
            <a:ahLst/>
            <a:cxnLst>
              <a:cxn ang="0">
                <a:pos x="T0" y="T1"/>
              </a:cxn>
            </a:cxnLst>
            <a:rect l="0" t="0" r="r" b="b"/>
            <a:pathLst>
              <a:path w="21600" h="21600">
                <a:moveTo>
                  <a:pt x="0" y="7714"/>
                </a:moveTo>
                <a:lnTo>
                  <a:pt x="3323" y="7714"/>
                </a:lnTo>
                <a:lnTo>
                  <a:pt x="3323" y="13886"/>
                </a:lnTo>
                <a:lnTo>
                  <a:pt x="0" y="13886"/>
                </a:lnTo>
                <a:lnTo>
                  <a:pt x="0" y="7714"/>
                </a:lnTo>
                <a:close/>
                <a:moveTo>
                  <a:pt x="6646" y="0"/>
                </a:moveTo>
                <a:lnTo>
                  <a:pt x="9969" y="0"/>
                </a:lnTo>
                <a:lnTo>
                  <a:pt x="9969" y="3086"/>
                </a:lnTo>
                <a:lnTo>
                  <a:pt x="14954" y="3086"/>
                </a:lnTo>
                <a:lnTo>
                  <a:pt x="14954" y="7714"/>
                </a:lnTo>
                <a:lnTo>
                  <a:pt x="21600" y="13886"/>
                </a:lnTo>
                <a:lnTo>
                  <a:pt x="14954" y="13886"/>
                </a:lnTo>
                <a:lnTo>
                  <a:pt x="11631" y="16971"/>
                </a:lnTo>
                <a:lnTo>
                  <a:pt x="11631" y="18514"/>
                </a:lnTo>
                <a:lnTo>
                  <a:pt x="9969" y="18514"/>
                </a:lnTo>
                <a:lnTo>
                  <a:pt x="6646" y="21600"/>
                </a:lnTo>
                <a:lnTo>
                  <a:pt x="3323" y="21600"/>
                </a:lnTo>
                <a:lnTo>
                  <a:pt x="3323" y="18514"/>
                </a:lnTo>
                <a:lnTo>
                  <a:pt x="0" y="18514"/>
                </a:lnTo>
                <a:lnTo>
                  <a:pt x="0" y="16971"/>
                </a:lnTo>
                <a:lnTo>
                  <a:pt x="3323" y="16971"/>
                </a:lnTo>
                <a:lnTo>
                  <a:pt x="3323" y="13886"/>
                </a:lnTo>
                <a:lnTo>
                  <a:pt x="6646" y="13886"/>
                </a:lnTo>
                <a:lnTo>
                  <a:pt x="6646" y="10800"/>
                </a:lnTo>
                <a:lnTo>
                  <a:pt x="9969" y="10800"/>
                </a:lnTo>
                <a:lnTo>
                  <a:pt x="9969" y="7714"/>
                </a:lnTo>
                <a:lnTo>
                  <a:pt x="6646" y="7714"/>
                </a:lnTo>
                <a:lnTo>
                  <a:pt x="6646" y="0"/>
                </a:lnTo>
                <a:close/>
                <a:moveTo>
                  <a:pt x="6646" y="0"/>
                </a:moveTo>
              </a:path>
            </a:pathLst>
          </a:custGeom>
          <a:solidFill>
            <a:srgbClr val="00BACF"/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77" name="AutoShape 24"/>
          <p:cNvSpPr>
            <a:spLocks/>
          </p:cNvSpPr>
          <p:nvPr/>
        </p:nvSpPr>
        <p:spPr bwMode="auto">
          <a:xfrm>
            <a:off x="6909504" y="5150817"/>
            <a:ext cx="29865" cy="20437"/>
          </a:xfrm>
          <a:custGeom>
            <a:avLst/>
            <a:gdLst>
              <a:gd name="T0" fmla="*/ 10800 w 21600"/>
              <a:gd name="T1" fmla="*/ 10800 h 21600"/>
            </a:gdLst>
            <a:ahLst/>
            <a:cxnLst>
              <a:cxn ang="0">
                <a:pos x="T0" y="T1"/>
              </a:cxn>
            </a:cxnLst>
            <a:rect l="0" t="0" r="r" b="b"/>
            <a:pathLst>
              <a:path w="21600" h="21600">
                <a:moveTo>
                  <a:pt x="0" y="9600"/>
                </a:moveTo>
                <a:lnTo>
                  <a:pt x="2160" y="9600"/>
                </a:lnTo>
                <a:lnTo>
                  <a:pt x="2160" y="14400"/>
                </a:lnTo>
                <a:lnTo>
                  <a:pt x="0" y="14400"/>
                </a:lnTo>
                <a:lnTo>
                  <a:pt x="0" y="9600"/>
                </a:lnTo>
                <a:close/>
                <a:moveTo>
                  <a:pt x="0" y="0"/>
                </a:moveTo>
                <a:lnTo>
                  <a:pt x="6480" y="0"/>
                </a:lnTo>
                <a:lnTo>
                  <a:pt x="10800" y="4800"/>
                </a:lnTo>
                <a:lnTo>
                  <a:pt x="15120" y="4800"/>
                </a:lnTo>
                <a:lnTo>
                  <a:pt x="15120" y="9600"/>
                </a:lnTo>
                <a:lnTo>
                  <a:pt x="21600" y="9600"/>
                </a:lnTo>
                <a:lnTo>
                  <a:pt x="21600" y="14400"/>
                </a:lnTo>
                <a:lnTo>
                  <a:pt x="15120" y="14400"/>
                </a:lnTo>
                <a:lnTo>
                  <a:pt x="6480" y="21600"/>
                </a:lnTo>
                <a:lnTo>
                  <a:pt x="6480" y="16800"/>
                </a:lnTo>
                <a:lnTo>
                  <a:pt x="2160" y="16800"/>
                </a:lnTo>
                <a:lnTo>
                  <a:pt x="2160" y="14400"/>
                </a:lnTo>
                <a:lnTo>
                  <a:pt x="6480" y="14400"/>
                </a:lnTo>
                <a:lnTo>
                  <a:pt x="6480" y="9600"/>
                </a:lnTo>
                <a:lnTo>
                  <a:pt x="2160" y="9600"/>
                </a:lnTo>
                <a:lnTo>
                  <a:pt x="2160" y="48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rgbClr val="00BACF"/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78" name="AutoShape 25"/>
          <p:cNvSpPr>
            <a:spLocks/>
          </p:cNvSpPr>
          <p:nvPr/>
        </p:nvSpPr>
        <p:spPr bwMode="auto">
          <a:xfrm>
            <a:off x="6896363" y="5102586"/>
            <a:ext cx="20309" cy="20437"/>
          </a:xfrm>
          <a:custGeom>
            <a:avLst/>
            <a:gdLst>
              <a:gd name="T0" fmla="*/ 10800 w 21600"/>
              <a:gd name="T1" fmla="*/ 10800 h 21600"/>
            </a:gdLst>
            <a:ahLst/>
            <a:cxnLst>
              <a:cxn ang="0">
                <a:pos x="T0" y="T1"/>
              </a:cxn>
            </a:cxnLst>
            <a:rect l="0" t="0" r="r" b="b"/>
            <a:pathLst>
              <a:path w="21600" h="21600">
                <a:moveTo>
                  <a:pt x="12343" y="0"/>
                </a:moveTo>
                <a:lnTo>
                  <a:pt x="15429" y="0"/>
                </a:lnTo>
                <a:lnTo>
                  <a:pt x="15429" y="4320"/>
                </a:lnTo>
                <a:lnTo>
                  <a:pt x="21600" y="4320"/>
                </a:lnTo>
                <a:lnTo>
                  <a:pt x="21600" y="6480"/>
                </a:lnTo>
                <a:lnTo>
                  <a:pt x="15429" y="6480"/>
                </a:lnTo>
                <a:lnTo>
                  <a:pt x="15429" y="15120"/>
                </a:lnTo>
                <a:lnTo>
                  <a:pt x="12343" y="15120"/>
                </a:lnTo>
                <a:lnTo>
                  <a:pt x="6171" y="19440"/>
                </a:lnTo>
                <a:lnTo>
                  <a:pt x="6171" y="21600"/>
                </a:lnTo>
                <a:lnTo>
                  <a:pt x="0" y="21600"/>
                </a:lnTo>
                <a:lnTo>
                  <a:pt x="0" y="15120"/>
                </a:lnTo>
                <a:lnTo>
                  <a:pt x="6171" y="10800"/>
                </a:lnTo>
                <a:lnTo>
                  <a:pt x="12343" y="10800"/>
                </a:lnTo>
                <a:lnTo>
                  <a:pt x="12343" y="6480"/>
                </a:lnTo>
                <a:lnTo>
                  <a:pt x="6171" y="6480"/>
                </a:lnTo>
                <a:lnTo>
                  <a:pt x="6171" y="4320"/>
                </a:lnTo>
                <a:lnTo>
                  <a:pt x="12343" y="4320"/>
                </a:lnTo>
                <a:lnTo>
                  <a:pt x="12343" y="0"/>
                </a:lnTo>
                <a:close/>
                <a:moveTo>
                  <a:pt x="0" y="0"/>
                </a:moveTo>
                <a:lnTo>
                  <a:pt x="6171" y="0"/>
                </a:lnTo>
                <a:lnTo>
                  <a:pt x="6171" y="4320"/>
                </a:lnTo>
                <a:lnTo>
                  <a:pt x="0" y="432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rgbClr val="00BACF"/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79" name="Freeform 26"/>
          <p:cNvSpPr>
            <a:spLocks/>
          </p:cNvSpPr>
          <p:nvPr/>
        </p:nvSpPr>
        <p:spPr bwMode="auto">
          <a:xfrm>
            <a:off x="6903549" y="5065819"/>
            <a:ext cx="19115" cy="2942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257" y="0"/>
              </a:cxn>
              <a:cxn ang="0">
                <a:pos x="9257" y="9257"/>
              </a:cxn>
              <a:cxn ang="0">
                <a:pos x="15429" y="9257"/>
              </a:cxn>
              <a:cxn ang="0">
                <a:pos x="15429" y="13886"/>
              </a:cxn>
              <a:cxn ang="0">
                <a:pos x="21600" y="13886"/>
              </a:cxn>
              <a:cxn ang="0">
                <a:pos x="21600" y="21600"/>
              </a:cxn>
              <a:cxn ang="0">
                <a:pos x="9257" y="21600"/>
              </a:cxn>
              <a:cxn ang="0">
                <a:pos x="9257" y="13886"/>
              </a:cxn>
              <a:cxn ang="0">
                <a:pos x="6171" y="13886"/>
              </a:cxn>
              <a:cxn ang="0">
                <a:pos x="6171" y="9257"/>
              </a:cxn>
              <a:cxn ang="0">
                <a:pos x="0" y="9257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9257" y="0"/>
                </a:lnTo>
                <a:lnTo>
                  <a:pt x="9257" y="9257"/>
                </a:lnTo>
                <a:lnTo>
                  <a:pt x="15429" y="9257"/>
                </a:lnTo>
                <a:lnTo>
                  <a:pt x="15429" y="13886"/>
                </a:lnTo>
                <a:lnTo>
                  <a:pt x="21600" y="13886"/>
                </a:lnTo>
                <a:lnTo>
                  <a:pt x="21600" y="21600"/>
                </a:lnTo>
                <a:lnTo>
                  <a:pt x="9257" y="21600"/>
                </a:lnTo>
                <a:lnTo>
                  <a:pt x="9257" y="13886"/>
                </a:lnTo>
                <a:lnTo>
                  <a:pt x="6171" y="13886"/>
                </a:lnTo>
                <a:lnTo>
                  <a:pt x="6171" y="9257"/>
                </a:lnTo>
                <a:lnTo>
                  <a:pt x="0" y="9257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rgbClr val="00BACF"/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80" name="Freeform 27"/>
          <p:cNvSpPr>
            <a:spLocks/>
          </p:cNvSpPr>
          <p:nvPr/>
        </p:nvSpPr>
        <p:spPr bwMode="auto">
          <a:xfrm>
            <a:off x="6919081" y="5069890"/>
            <a:ext cx="15529" cy="1880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8640" y="0"/>
              </a:cxn>
              <a:cxn ang="0">
                <a:pos x="17280" y="4800"/>
              </a:cxn>
              <a:cxn ang="0">
                <a:pos x="21600" y="4800"/>
              </a:cxn>
              <a:cxn ang="0">
                <a:pos x="21600" y="12000"/>
              </a:cxn>
              <a:cxn ang="0">
                <a:pos x="17280" y="12000"/>
              </a:cxn>
              <a:cxn ang="0">
                <a:pos x="17280" y="16800"/>
              </a:cxn>
              <a:cxn ang="0">
                <a:pos x="8640" y="21600"/>
              </a:cxn>
              <a:cxn ang="0">
                <a:pos x="8640" y="12000"/>
              </a:cxn>
              <a:cxn ang="0">
                <a:pos x="0" y="1200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8640" y="0"/>
                </a:lnTo>
                <a:lnTo>
                  <a:pt x="17280" y="4800"/>
                </a:lnTo>
                <a:lnTo>
                  <a:pt x="21600" y="4800"/>
                </a:lnTo>
                <a:lnTo>
                  <a:pt x="21600" y="12000"/>
                </a:lnTo>
                <a:lnTo>
                  <a:pt x="17280" y="12000"/>
                </a:lnTo>
                <a:lnTo>
                  <a:pt x="17280" y="16800"/>
                </a:lnTo>
                <a:lnTo>
                  <a:pt x="8640" y="21600"/>
                </a:lnTo>
                <a:lnTo>
                  <a:pt x="8640" y="12000"/>
                </a:lnTo>
                <a:lnTo>
                  <a:pt x="0" y="120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rgbClr val="00BACF"/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81" name="Freeform 28"/>
          <p:cNvSpPr>
            <a:spLocks/>
          </p:cNvSpPr>
          <p:nvPr/>
        </p:nvSpPr>
        <p:spPr bwMode="auto">
          <a:xfrm>
            <a:off x="6966844" y="4937463"/>
            <a:ext cx="27476" cy="1226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200" y="0"/>
              </a:cxn>
              <a:cxn ang="0">
                <a:pos x="7200" y="2700"/>
              </a:cxn>
              <a:cxn ang="0">
                <a:pos x="12000" y="8100"/>
              </a:cxn>
              <a:cxn ang="0">
                <a:pos x="16800" y="8100"/>
              </a:cxn>
              <a:cxn ang="0">
                <a:pos x="16800" y="13500"/>
              </a:cxn>
              <a:cxn ang="0">
                <a:pos x="21600" y="18900"/>
              </a:cxn>
              <a:cxn ang="0">
                <a:pos x="21600" y="21600"/>
              </a:cxn>
              <a:cxn ang="0">
                <a:pos x="16800" y="21600"/>
              </a:cxn>
              <a:cxn ang="0">
                <a:pos x="16800" y="18900"/>
              </a:cxn>
              <a:cxn ang="0">
                <a:pos x="12000" y="18900"/>
              </a:cxn>
              <a:cxn ang="0">
                <a:pos x="7200" y="13500"/>
              </a:cxn>
              <a:cxn ang="0">
                <a:pos x="0" y="1350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7200" y="0"/>
                </a:lnTo>
                <a:lnTo>
                  <a:pt x="7200" y="2700"/>
                </a:lnTo>
                <a:lnTo>
                  <a:pt x="12000" y="8100"/>
                </a:lnTo>
                <a:lnTo>
                  <a:pt x="16800" y="8100"/>
                </a:lnTo>
                <a:lnTo>
                  <a:pt x="16800" y="13500"/>
                </a:lnTo>
                <a:lnTo>
                  <a:pt x="21600" y="18900"/>
                </a:lnTo>
                <a:lnTo>
                  <a:pt x="21600" y="21600"/>
                </a:lnTo>
                <a:lnTo>
                  <a:pt x="16800" y="21600"/>
                </a:lnTo>
                <a:lnTo>
                  <a:pt x="16800" y="18900"/>
                </a:lnTo>
                <a:lnTo>
                  <a:pt x="12000" y="18900"/>
                </a:lnTo>
                <a:lnTo>
                  <a:pt x="7200" y="13500"/>
                </a:lnTo>
                <a:lnTo>
                  <a:pt x="0" y="135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rgbClr val="00BACF"/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82" name="AutoShape 29"/>
          <p:cNvSpPr>
            <a:spLocks/>
          </p:cNvSpPr>
          <p:nvPr/>
        </p:nvSpPr>
        <p:spPr bwMode="auto">
          <a:xfrm>
            <a:off x="7073165" y="5260375"/>
            <a:ext cx="187553" cy="147143"/>
          </a:xfrm>
          <a:custGeom>
            <a:avLst/>
            <a:gdLst>
              <a:gd name="T0" fmla="*/ 10800 w 21600"/>
              <a:gd name="T1" fmla="*/ 10800 h 21600"/>
            </a:gdLst>
            <a:ahLst/>
            <a:cxnLst>
              <a:cxn ang="0">
                <a:pos x="T0" y="T1"/>
              </a:cxn>
            </a:cxnLst>
            <a:rect l="0" t="0" r="r" b="b"/>
            <a:pathLst>
              <a:path w="21600" h="21600">
                <a:moveTo>
                  <a:pt x="16875" y="17341"/>
                </a:moveTo>
                <a:lnTo>
                  <a:pt x="16875" y="17949"/>
                </a:lnTo>
                <a:lnTo>
                  <a:pt x="18225" y="17949"/>
                </a:lnTo>
                <a:lnTo>
                  <a:pt x="18225" y="17341"/>
                </a:lnTo>
                <a:lnTo>
                  <a:pt x="16875" y="17341"/>
                </a:lnTo>
                <a:close/>
                <a:moveTo>
                  <a:pt x="12825" y="17037"/>
                </a:moveTo>
                <a:lnTo>
                  <a:pt x="12825" y="17341"/>
                </a:lnTo>
                <a:lnTo>
                  <a:pt x="13500" y="17341"/>
                </a:lnTo>
                <a:lnTo>
                  <a:pt x="13500" y="17037"/>
                </a:lnTo>
                <a:lnTo>
                  <a:pt x="12825" y="17037"/>
                </a:lnTo>
                <a:close/>
                <a:moveTo>
                  <a:pt x="6412" y="15211"/>
                </a:moveTo>
                <a:lnTo>
                  <a:pt x="7087" y="15211"/>
                </a:lnTo>
                <a:lnTo>
                  <a:pt x="7087" y="15820"/>
                </a:lnTo>
                <a:lnTo>
                  <a:pt x="6412" y="15820"/>
                </a:lnTo>
                <a:lnTo>
                  <a:pt x="6412" y="15211"/>
                </a:lnTo>
                <a:close/>
                <a:moveTo>
                  <a:pt x="8100" y="14299"/>
                </a:moveTo>
                <a:lnTo>
                  <a:pt x="7425" y="14907"/>
                </a:lnTo>
                <a:lnTo>
                  <a:pt x="8100" y="14907"/>
                </a:lnTo>
                <a:lnTo>
                  <a:pt x="8100" y="14299"/>
                </a:lnTo>
                <a:close/>
                <a:moveTo>
                  <a:pt x="0" y="14299"/>
                </a:moveTo>
                <a:lnTo>
                  <a:pt x="338" y="14299"/>
                </a:lnTo>
                <a:lnTo>
                  <a:pt x="0" y="14907"/>
                </a:lnTo>
                <a:lnTo>
                  <a:pt x="0" y="14299"/>
                </a:lnTo>
                <a:close/>
                <a:moveTo>
                  <a:pt x="13500" y="0"/>
                </a:moveTo>
                <a:lnTo>
                  <a:pt x="14512" y="0"/>
                </a:lnTo>
                <a:lnTo>
                  <a:pt x="15862" y="913"/>
                </a:lnTo>
                <a:lnTo>
                  <a:pt x="18225" y="913"/>
                </a:lnTo>
                <a:lnTo>
                  <a:pt x="18900" y="1521"/>
                </a:lnTo>
                <a:lnTo>
                  <a:pt x="18900" y="15820"/>
                </a:lnTo>
                <a:lnTo>
                  <a:pt x="17550" y="15820"/>
                </a:lnTo>
                <a:lnTo>
                  <a:pt x="17550" y="15211"/>
                </a:lnTo>
                <a:lnTo>
                  <a:pt x="16875" y="15211"/>
                </a:lnTo>
                <a:lnTo>
                  <a:pt x="16875" y="15820"/>
                </a:lnTo>
                <a:lnTo>
                  <a:pt x="16537" y="15820"/>
                </a:lnTo>
                <a:lnTo>
                  <a:pt x="16537" y="16428"/>
                </a:lnTo>
                <a:lnTo>
                  <a:pt x="15187" y="16428"/>
                </a:lnTo>
                <a:lnTo>
                  <a:pt x="15862" y="17037"/>
                </a:lnTo>
                <a:lnTo>
                  <a:pt x="16875" y="17037"/>
                </a:lnTo>
                <a:lnTo>
                  <a:pt x="16875" y="16428"/>
                </a:lnTo>
                <a:lnTo>
                  <a:pt x="19912" y="16428"/>
                </a:lnTo>
                <a:lnTo>
                  <a:pt x="19912" y="17341"/>
                </a:lnTo>
                <a:lnTo>
                  <a:pt x="18900" y="17341"/>
                </a:lnTo>
                <a:lnTo>
                  <a:pt x="18900" y="17949"/>
                </a:lnTo>
                <a:lnTo>
                  <a:pt x="19912" y="17949"/>
                </a:lnTo>
                <a:lnTo>
                  <a:pt x="19912" y="18558"/>
                </a:lnTo>
                <a:lnTo>
                  <a:pt x="20588" y="18558"/>
                </a:lnTo>
                <a:lnTo>
                  <a:pt x="20588" y="19166"/>
                </a:lnTo>
                <a:lnTo>
                  <a:pt x="19912" y="19166"/>
                </a:lnTo>
                <a:lnTo>
                  <a:pt x="19912" y="19470"/>
                </a:lnTo>
                <a:lnTo>
                  <a:pt x="21263" y="19470"/>
                </a:lnTo>
                <a:lnTo>
                  <a:pt x="21263" y="20079"/>
                </a:lnTo>
                <a:lnTo>
                  <a:pt x="21600" y="20079"/>
                </a:lnTo>
                <a:lnTo>
                  <a:pt x="21600" y="21600"/>
                </a:lnTo>
                <a:lnTo>
                  <a:pt x="21263" y="21600"/>
                </a:lnTo>
                <a:lnTo>
                  <a:pt x="21263" y="21296"/>
                </a:lnTo>
                <a:lnTo>
                  <a:pt x="20588" y="21296"/>
                </a:lnTo>
                <a:lnTo>
                  <a:pt x="20588" y="20687"/>
                </a:lnTo>
                <a:lnTo>
                  <a:pt x="19912" y="20687"/>
                </a:lnTo>
                <a:lnTo>
                  <a:pt x="18900" y="19470"/>
                </a:lnTo>
                <a:lnTo>
                  <a:pt x="18225" y="19470"/>
                </a:lnTo>
                <a:lnTo>
                  <a:pt x="18225" y="20079"/>
                </a:lnTo>
                <a:lnTo>
                  <a:pt x="16537" y="20079"/>
                </a:lnTo>
                <a:lnTo>
                  <a:pt x="16537" y="19470"/>
                </a:lnTo>
                <a:lnTo>
                  <a:pt x="16875" y="19166"/>
                </a:lnTo>
                <a:lnTo>
                  <a:pt x="16875" y="18558"/>
                </a:lnTo>
                <a:lnTo>
                  <a:pt x="16537" y="18558"/>
                </a:lnTo>
                <a:lnTo>
                  <a:pt x="15862" y="17949"/>
                </a:lnTo>
                <a:lnTo>
                  <a:pt x="14512" y="17949"/>
                </a:lnTo>
                <a:lnTo>
                  <a:pt x="14512" y="18558"/>
                </a:lnTo>
                <a:lnTo>
                  <a:pt x="14175" y="18558"/>
                </a:lnTo>
                <a:lnTo>
                  <a:pt x="14175" y="19166"/>
                </a:lnTo>
                <a:lnTo>
                  <a:pt x="14512" y="19166"/>
                </a:lnTo>
                <a:lnTo>
                  <a:pt x="14512" y="19470"/>
                </a:lnTo>
                <a:lnTo>
                  <a:pt x="14175" y="19470"/>
                </a:lnTo>
                <a:lnTo>
                  <a:pt x="14175" y="20079"/>
                </a:lnTo>
                <a:lnTo>
                  <a:pt x="13500" y="20079"/>
                </a:lnTo>
                <a:lnTo>
                  <a:pt x="13500" y="19470"/>
                </a:lnTo>
                <a:lnTo>
                  <a:pt x="12825" y="19470"/>
                </a:lnTo>
                <a:lnTo>
                  <a:pt x="12825" y="19166"/>
                </a:lnTo>
                <a:lnTo>
                  <a:pt x="12150" y="19166"/>
                </a:lnTo>
                <a:lnTo>
                  <a:pt x="12150" y="18558"/>
                </a:lnTo>
                <a:lnTo>
                  <a:pt x="12825" y="18558"/>
                </a:lnTo>
                <a:lnTo>
                  <a:pt x="12825" y="17949"/>
                </a:lnTo>
                <a:lnTo>
                  <a:pt x="11137" y="17949"/>
                </a:lnTo>
                <a:lnTo>
                  <a:pt x="11137" y="17341"/>
                </a:lnTo>
                <a:lnTo>
                  <a:pt x="12150" y="17341"/>
                </a:lnTo>
                <a:lnTo>
                  <a:pt x="12150" y="17037"/>
                </a:lnTo>
                <a:lnTo>
                  <a:pt x="11812" y="17037"/>
                </a:lnTo>
                <a:lnTo>
                  <a:pt x="11812" y="15820"/>
                </a:lnTo>
                <a:lnTo>
                  <a:pt x="12825" y="15820"/>
                </a:lnTo>
                <a:lnTo>
                  <a:pt x="12825" y="15211"/>
                </a:lnTo>
                <a:lnTo>
                  <a:pt x="12150" y="15211"/>
                </a:lnTo>
                <a:lnTo>
                  <a:pt x="12150" y="14907"/>
                </a:lnTo>
                <a:lnTo>
                  <a:pt x="11812" y="15211"/>
                </a:lnTo>
                <a:lnTo>
                  <a:pt x="9787" y="15211"/>
                </a:lnTo>
                <a:lnTo>
                  <a:pt x="9787" y="15820"/>
                </a:lnTo>
                <a:lnTo>
                  <a:pt x="9450" y="15820"/>
                </a:lnTo>
                <a:lnTo>
                  <a:pt x="9450" y="15211"/>
                </a:lnTo>
                <a:lnTo>
                  <a:pt x="7087" y="15211"/>
                </a:lnTo>
                <a:lnTo>
                  <a:pt x="7087" y="14907"/>
                </a:lnTo>
                <a:lnTo>
                  <a:pt x="6412" y="14907"/>
                </a:lnTo>
                <a:lnTo>
                  <a:pt x="6412" y="14299"/>
                </a:lnTo>
                <a:lnTo>
                  <a:pt x="5737" y="14907"/>
                </a:lnTo>
                <a:lnTo>
                  <a:pt x="5737" y="15211"/>
                </a:lnTo>
                <a:lnTo>
                  <a:pt x="5062" y="15211"/>
                </a:lnTo>
                <a:lnTo>
                  <a:pt x="5062" y="14299"/>
                </a:lnTo>
                <a:lnTo>
                  <a:pt x="4725" y="14907"/>
                </a:lnTo>
                <a:lnTo>
                  <a:pt x="4050" y="14907"/>
                </a:lnTo>
                <a:lnTo>
                  <a:pt x="4050" y="13690"/>
                </a:lnTo>
                <a:lnTo>
                  <a:pt x="3375" y="13690"/>
                </a:lnTo>
                <a:lnTo>
                  <a:pt x="3375" y="14299"/>
                </a:lnTo>
                <a:lnTo>
                  <a:pt x="338" y="14299"/>
                </a:lnTo>
                <a:lnTo>
                  <a:pt x="338" y="13690"/>
                </a:lnTo>
                <a:lnTo>
                  <a:pt x="1687" y="13690"/>
                </a:lnTo>
                <a:lnTo>
                  <a:pt x="1687" y="13082"/>
                </a:lnTo>
                <a:lnTo>
                  <a:pt x="6412" y="13082"/>
                </a:lnTo>
                <a:lnTo>
                  <a:pt x="6412" y="12777"/>
                </a:lnTo>
                <a:lnTo>
                  <a:pt x="7087" y="12777"/>
                </a:lnTo>
                <a:lnTo>
                  <a:pt x="7087" y="13690"/>
                </a:lnTo>
                <a:lnTo>
                  <a:pt x="7425" y="13690"/>
                </a:lnTo>
                <a:lnTo>
                  <a:pt x="7425" y="12777"/>
                </a:lnTo>
                <a:lnTo>
                  <a:pt x="8100" y="12777"/>
                </a:lnTo>
                <a:lnTo>
                  <a:pt x="8100" y="13082"/>
                </a:lnTo>
                <a:lnTo>
                  <a:pt x="8775" y="13082"/>
                </a:lnTo>
                <a:lnTo>
                  <a:pt x="8775" y="12777"/>
                </a:lnTo>
                <a:lnTo>
                  <a:pt x="8100" y="12777"/>
                </a:lnTo>
                <a:lnTo>
                  <a:pt x="8100" y="12169"/>
                </a:lnTo>
                <a:lnTo>
                  <a:pt x="7425" y="12169"/>
                </a:lnTo>
                <a:lnTo>
                  <a:pt x="7425" y="12777"/>
                </a:lnTo>
                <a:lnTo>
                  <a:pt x="7087" y="12777"/>
                </a:lnTo>
                <a:lnTo>
                  <a:pt x="7087" y="11561"/>
                </a:lnTo>
                <a:lnTo>
                  <a:pt x="6412" y="11561"/>
                </a:lnTo>
                <a:lnTo>
                  <a:pt x="6412" y="10039"/>
                </a:lnTo>
                <a:lnTo>
                  <a:pt x="5737" y="10039"/>
                </a:lnTo>
                <a:lnTo>
                  <a:pt x="7087" y="8823"/>
                </a:lnTo>
                <a:lnTo>
                  <a:pt x="7087" y="8518"/>
                </a:lnTo>
                <a:lnTo>
                  <a:pt x="8100" y="7301"/>
                </a:lnTo>
                <a:lnTo>
                  <a:pt x="8100" y="8518"/>
                </a:lnTo>
                <a:lnTo>
                  <a:pt x="8775" y="8823"/>
                </a:lnTo>
                <a:lnTo>
                  <a:pt x="8775" y="10039"/>
                </a:lnTo>
                <a:lnTo>
                  <a:pt x="9450" y="10039"/>
                </a:lnTo>
                <a:lnTo>
                  <a:pt x="9450" y="10648"/>
                </a:lnTo>
                <a:lnTo>
                  <a:pt x="8775" y="10648"/>
                </a:lnTo>
                <a:lnTo>
                  <a:pt x="8100" y="10039"/>
                </a:lnTo>
                <a:lnTo>
                  <a:pt x="7425" y="10039"/>
                </a:lnTo>
                <a:lnTo>
                  <a:pt x="8100" y="10648"/>
                </a:lnTo>
                <a:lnTo>
                  <a:pt x="8100" y="11561"/>
                </a:lnTo>
                <a:lnTo>
                  <a:pt x="8775" y="11561"/>
                </a:lnTo>
                <a:lnTo>
                  <a:pt x="8775" y="12169"/>
                </a:lnTo>
                <a:lnTo>
                  <a:pt x="9450" y="12169"/>
                </a:lnTo>
                <a:lnTo>
                  <a:pt x="9787" y="12777"/>
                </a:lnTo>
                <a:lnTo>
                  <a:pt x="10463" y="12777"/>
                </a:lnTo>
                <a:lnTo>
                  <a:pt x="10463" y="11561"/>
                </a:lnTo>
                <a:lnTo>
                  <a:pt x="11137" y="11561"/>
                </a:lnTo>
                <a:lnTo>
                  <a:pt x="11137" y="12169"/>
                </a:lnTo>
                <a:lnTo>
                  <a:pt x="11812" y="12777"/>
                </a:lnTo>
                <a:lnTo>
                  <a:pt x="11812" y="13082"/>
                </a:lnTo>
                <a:lnTo>
                  <a:pt x="12150" y="13690"/>
                </a:lnTo>
                <a:lnTo>
                  <a:pt x="12150" y="13082"/>
                </a:lnTo>
                <a:lnTo>
                  <a:pt x="11812" y="12777"/>
                </a:lnTo>
                <a:lnTo>
                  <a:pt x="12150" y="12169"/>
                </a:lnTo>
                <a:lnTo>
                  <a:pt x="12825" y="12777"/>
                </a:lnTo>
                <a:lnTo>
                  <a:pt x="15187" y="12777"/>
                </a:lnTo>
                <a:lnTo>
                  <a:pt x="15187" y="13690"/>
                </a:lnTo>
                <a:lnTo>
                  <a:pt x="14512" y="13690"/>
                </a:lnTo>
                <a:lnTo>
                  <a:pt x="14512" y="14299"/>
                </a:lnTo>
                <a:lnTo>
                  <a:pt x="15187" y="14299"/>
                </a:lnTo>
                <a:lnTo>
                  <a:pt x="15187" y="13690"/>
                </a:lnTo>
                <a:lnTo>
                  <a:pt x="15862" y="13690"/>
                </a:lnTo>
                <a:lnTo>
                  <a:pt x="16537" y="13082"/>
                </a:lnTo>
                <a:lnTo>
                  <a:pt x="16537" y="12777"/>
                </a:lnTo>
                <a:lnTo>
                  <a:pt x="15187" y="12777"/>
                </a:lnTo>
                <a:lnTo>
                  <a:pt x="14512" y="12169"/>
                </a:lnTo>
                <a:lnTo>
                  <a:pt x="13500" y="12169"/>
                </a:lnTo>
                <a:lnTo>
                  <a:pt x="13500" y="11561"/>
                </a:lnTo>
                <a:lnTo>
                  <a:pt x="12150" y="11561"/>
                </a:lnTo>
                <a:lnTo>
                  <a:pt x="11812" y="10952"/>
                </a:lnTo>
                <a:lnTo>
                  <a:pt x="11137" y="10952"/>
                </a:lnTo>
                <a:lnTo>
                  <a:pt x="11137" y="10648"/>
                </a:lnTo>
                <a:lnTo>
                  <a:pt x="10463" y="10648"/>
                </a:lnTo>
                <a:lnTo>
                  <a:pt x="10463" y="10039"/>
                </a:lnTo>
                <a:lnTo>
                  <a:pt x="9787" y="10039"/>
                </a:lnTo>
                <a:lnTo>
                  <a:pt x="10463" y="9431"/>
                </a:lnTo>
                <a:lnTo>
                  <a:pt x="10463" y="8823"/>
                </a:lnTo>
                <a:lnTo>
                  <a:pt x="9787" y="8823"/>
                </a:lnTo>
                <a:lnTo>
                  <a:pt x="9787" y="8518"/>
                </a:lnTo>
                <a:lnTo>
                  <a:pt x="10463" y="7910"/>
                </a:lnTo>
                <a:lnTo>
                  <a:pt x="11812" y="7910"/>
                </a:lnTo>
                <a:lnTo>
                  <a:pt x="11812" y="7301"/>
                </a:lnTo>
                <a:lnTo>
                  <a:pt x="14175" y="7301"/>
                </a:lnTo>
                <a:lnTo>
                  <a:pt x="14175" y="6693"/>
                </a:lnTo>
                <a:lnTo>
                  <a:pt x="14512" y="6693"/>
                </a:lnTo>
                <a:lnTo>
                  <a:pt x="14512" y="5780"/>
                </a:lnTo>
                <a:lnTo>
                  <a:pt x="11137" y="5780"/>
                </a:lnTo>
                <a:lnTo>
                  <a:pt x="11137" y="6389"/>
                </a:lnTo>
                <a:lnTo>
                  <a:pt x="8775" y="6389"/>
                </a:lnTo>
                <a:lnTo>
                  <a:pt x="8775" y="5172"/>
                </a:lnTo>
                <a:lnTo>
                  <a:pt x="8100" y="4563"/>
                </a:lnTo>
                <a:lnTo>
                  <a:pt x="8100" y="4259"/>
                </a:lnTo>
                <a:lnTo>
                  <a:pt x="8775" y="4259"/>
                </a:lnTo>
                <a:lnTo>
                  <a:pt x="8775" y="3042"/>
                </a:lnTo>
                <a:lnTo>
                  <a:pt x="9450" y="3042"/>
                </a:lnTo>
                <a:lnTo>
                  <a:pt x="9450" y="3651"/>
                </a:lnTo>
                <a:lnTo>
                  <a:pt x="9787" y="3042"/>
                </a:lnTo>
                <a:lnTo>
                  <a:pt x="10463" y="3042"/>
                </a:lnTo>
                <a:lnTo>
                  <a:pt x="9787" y="2434"/>
                </a:lnTo>
                <a:lnTo>
                  <a:pt x="9450" y="2434"/>
                </a:lnTo>
                <a:lnTo>
                  <a:pt x="9450" y="2130"/>
                </a:lnTo>
                <a:lnTo>
                  <a:pt x="8775" y="2130"/>
                </a:lnTo>
                <a:lnTo>
                  <a:pt x="8775" y="1521"/>
                </a:lnTo>
                <a:lnTo>
                  <a:pt x="10463" y="1521"/>
                </a:lnTo>
                <a:lnTo>
                  <a:pt x="10463" y="2130"/>
                </a:lnTo>
                <a:lnTo>
                  <a:pt x="11812" y="2130"/>
                </a:lnTo>
                <a:lnTo>
                  <a:pt x="12150" y="1521"/>
                </a:lnTo>
                <a:lnTo>
                  <a:pt x="12150" y="913"/>
                </a:lnTo>
                <a:lnTo>
                  <a:pt x="12825" y="913"/>
                </a:lnTo>
                <a:lnTo>
                  <a:pt x="12825" y="304"/>
                </a:lnTo>
                <a:lnTo>
                  <a:pt x="13500" y="0"/>
                </a:lnTo>
                <a:close/>
                <a:moveTo>
                  <a:pt x="13500" y="0"/>
                </a:moveTo>
              </a:path>
            </a:pathLst>
          </a:custGeom>
          <a:solidFill>
            <a:srgbClr val="00BACF">
              <a:alpha val="50000"/>
            </a:srgbClr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83" name="AutoShape 30"/>
          <p:cNvSpPr>
            <a:spLocks/>
          </p:cNvSpPr>
          <p:nvPr/>
        </p:nvSpPr>
        <p:spPr bwMode="auto">
          <a:xfrm>
            <a:off x="6890388" y="3930351"/>
            <a:ext cx="427671" cy="1394587"/>
          </a:xfrm>
          <a:custGeom>
            <a:avLst/>
            <a:gdLst>
              <a:gd name="T0" fmla="*/ 10800 w 21600"/>
              <a:gd name="T1" fmla="*/ 10800 h 21600"/>
            </a:gdLst>
            <a:ahLst/>
            <a:cxnLst>
              <a:cxn ang="0">
                <a:pos x="T0" y="T1"/>
              </a:cxn>
            </a:cxnLst>
            <a:rect l="0" t="0" r="r" b="b"/>
            <a:pathLst>
              <a:path w="21600" h="21600">
                <a:moveTo>
                  <a:pt x="9279" y="20707"/>
                </a:moveTo>
                <a:lnTo>
                  <a:pt x="9279" y="20770"/>
                </a:lnTo>
                <a:lnTo>
                  <a:pt x="9887" y="20770"/>
                </a:lnTo>
                <a:lnTo>
                  <a:pt x="9887" y="20707"/>
                </a:lnTo>
                <a:lnTo>
                  <a:pt x="9279" y="20707"/>
                </a:lnTo>
                <a:close/>
                <a:moveTo>
                  <a:pt x="7301" y="20643"/>
                </a:moveTo>
                <a:lnTo>
                  <a:pt x="7301" y="20707"/>
                </a:lnTo>
                <a:lnTo>
                  <a:pt x="7454" y="20707"/>
                </a:lnTo>
                <a:lnTo>
                  <a:pt x="7454" y="20770"/>
                </a:lnTo>
                <a:lnTo>
                  <a:pt x="7758" y="20770"/>
                </a:lnTo>
                <a:lnTo>
                  <a:pt x="7758" y="20834"/>
                </a:lnTo>
                <a:lnTo>
                  <a:pt x="8366" y="20834"/>
                </a:lnTo>
                <a:lnTo>
                  <a:pt x="8366" y="20770"/>
                </a:lnTo>
                <a:lnTo>
                  <a:pt x="8823" y="20770"/>
                </a:lnTo>
                <a:lnTo>
                  <a:pt x="8823" y="20707"/>
                </a:lnTo>
                <a:lnTo>
                  <a:pt x="8518" y="20707"/>
                </a:lnTo>
                <a:lnTo>
                  <a:pt x="8366" y="20770"/>
                </a:lnTo>
                <a:lnTo>
                  <a:pt x="8366" y="20707"/>
                </a:lnTo>
                <a:lnTo>
                  <a:pt x="8062" y="20707"/>
                </a:lnTo>
                <a:lnTo>
                  <a:pt x="8062" y="20643"/>
                </a:lnTo>
                <a:lnTo>
                  <a:pt x="7301" y="20643"/>
                </a:lnTo>
                <a:close/>
                <a:moveTo>
                  <a:pt x="4563" y="20611"/>
                </a:moveTo>
                <a:lnTo>
                  <a:pt x="5172" y="20611"/>
                </a:lnTo>
                <a:lnTo>
                  <a:pt x="5172" y="20643"/>
                </a:lnTo>
                <a:lnTo>
                  <a:pt x="4868" y="20707"/>
                </a:lnTo>
                <a:lnTo>
                  <a:pt x="4868" y="20770"/>
                </a:lnTo>
                <a:lnTo>
                  <a:pt x="4563" y="20834"/>
                </a:lnTo>
                <a:lnTo>
                  <a:pt x="4563" y="20707"/>
                </a:lnTo>
                <a:lnTo>
                  <a:pt x="4259" y="20707"/>
                </a:lnTo>
                <a:lnTo>
                  <a:pt x="4259" y="20643"/>
                </a:lnTo>
                <a:lnTo>
                  <a:pt x="4563" y="20611"/>
                </a:lnTo>
                <a:close/>
                <a:moveTo>
                  <a:pt x="17341" y="20483"/>
                </a:moveTo>
                <a:lnTo>
                  <a:pt x="17645" y="20483"/>
                </a:lnTo>
                <a:lnTo>
                  <a:pt x="17645" y="20547"/>
                </a:lnTo>
                <a:lnTo>
                  <a:pt x="17341" y="20483"/>
                </a:lnTo>
                <a:close/>
                <a:moveTo>
                  <a:pt x="16580" y="20419"/>
                </a:moveTo>
                <a:lnTo>
                  <a:pt x="17037" y="20419"/>
                </a:lnTo>
                <a:lnTo>
                  <a:pt x="17341" y="20483"/>
                </a:lnTo>
                <a:lnTo>
                  <a:pt x="16580" y="20483"/>
                </a:lnTo>
                <a:lnTo>
                  <a:pt x="16580" y="20419"/>
                </a:lnTo>
                <a:close/>
                <a:moveTo>
                  <a:pt x="8062" y="20419"/>
                </a:moveTo>
                <a:lnTo>
                  <a:pt x="7758" y="20483"/>
                </a:lnTo>
                <a:lnTo>
                  <a:pt x="8062" y="20483"/>
                </a:lnTo>
                <a:lnTo>
                  <a:pt x="8062" y="20419"/>
                </a:lnTo>
                <a:close/>
                <a:moveTo>
                  <a:pt x="3499" y="20164"/>
                </a:moveTo>
                <a:lnTo>
                  <a:pt x="3803" y="20164"/>
                </a:lnTo>
                <a:lnTo>
                  <a:pt x="4259" y="20260"/>
                </a:lnTo>
                <a:lnTo>
                  <a:pt x="4107" y="20260"/>
                </a:lnTo>
                <a:lnTo>
                  <a:pt x="3499" y="20164"/>
                </a:lnTo>
                <a:close/>
                <a:moveTo>
                  <a:pt x="7758" y="20100"/>
                </a:moveTo>
                <a:lnTo>
                  <a:pt x="7758" y="20196"/>
                </a:lnTo>
                <a:lnTo>
                  <a:pt x="7454" y="20196"/>
                </a:lnTo>
                <a:lnTo>
                  <a:pt x="7454" y="20164"/>
                </a:lnTo>
                <a:lnTo>
                  <a:pt x="6389" y="20164"/>
                </a:lnTo>
                <a:lnTo>
                  <a:pt x="6693" y="20196"/>
                </a:lnTo>
                <a:lnTo>
                  <a:pt x="6389" y="20260"/>
                </a:lnTo>
                <a:lnTo>
                  <a:pt x="6389" y="20324"/>
                </a:lnTo>
                <a:lnTo>
                  <a:pt x="6237" y="20324"/>
                </a:lnTo>
                <a:lnTo>
                  <a:pt x="6237" y="20388"/>
                </a:lnTo>
                <a:lnTo>
                  <a:pt x="6389" y="20388"/>
                </a:lnTo>
                <a:lnTo>
                  <a:pt x="6389" y="20324"/>
                </a:lnTo>
                <a:lnTo>
                  <a:pt x="6693" y="20324"/>
                </a:lnTo>
                <a:lnTo>
                  <a:pt x="6693" y="20419"/>
                </a:lnTo>
                <a:lnTo>
                  <a:pt x="7301" y="20419"/>
                </a:lnTo>
                <a:lnTo>
                  <a:pt x="7301" y="20388"/>
                </a:lnTo>
                <a:lnTo>
                  <a:pt x="6997" y="20388"/>
                </a:lnTo>
                <a:lnTo>
                  <a:pt x="6997" y="20260"/>
                </a:lnTo>
                <a:lnTo>
                  <a:pt x="7758" y="20260"/>
                </a:lnTo>
                <a:lnTo>
                  <a:pt x="8062" y="20196"/>
                </a:lnTo>
                <a:lnTo>
                  <a:pt x="8062" y="20100"/>
                </a:lnTo>
                <a:lnTo>
                  <a:pt x="7758" y="20100"/>
                </a:lnTo>
                <a:close/>
                <a:moveTo>
                  <a:pt x="6693" y="19941"/>
                </a:moveTo>
                <a:lnTo>
                  <a:pt x="6693" y="19973"/>
                </a:lnTo>
                <a:lnTo>
                  <a:pt x="6997" y="19973"/>
                </a:lnTo>
                <a:lnTo>
                  <a:pt x="6693" y="19941"/>
                </a:lnTo>
                <a:close/>
                <a:moveTo>
                  <a:pt x="4868" y="19271"/>
                </a:moveTo>
                <a:lnTo>
                  <a:pt x="4868" y="19367"/>
                </a:lnTo>
                <a:lnTo>
                  <a:pt x="5324" y="19367"/>
                </a:lnTo>
                <a:lnTo>
                  <a:pt x="5172" y="19335"/>
                </a:lnTo>
                <a:lnTo>
                  <a:pt x="5172" y="19271"/>
                </a:lnTo>
                <a:lnTo>
                  <a:pt x="4868" y="19271"/>
                </a:lnTo>
                <a:close/>
                <a:moveTo>
                  <a:pt x="3803" y="18888"/>
                </a:moveTo>
                <a:lnTo>
                  <a:pt x="3803" y="18920"/>
                </a:lnTo>
                <a:lnTo>
                  <a:pt x="4107" y="18920"/>
                </a:lnTo>
                <a:lnTo>
                  <a:pt x="4107" y="18984"/>
                </a:lnTo>
                <a:lnTo>
                  <a:pt x="4259" y="18984"/>
                </a:lnTo>
                <a:lnTo>
                  <a:pt x="4259" y="18920"/>
                </a:lnTo>
                <a:lnTo>
                  <a:pt x="4563" y="18920"/>
                </a:lnTo>
                <a:lnTo>
                  <a:pt x="4563" y="18888"/>
                </a:lnTo>
                <a:lnTo>
                  <a:pt x="4259" y="18888"/>
                </a:lnTo>
                <a:lnTo>
                  <a:pt x="4259" y="18920"/>
                </a:lnTo>
                <a:lnTo>
                  <a:pt x="4107" y="18920"/>
                </a:lnTo>
                <a:lnTo>
                  <a:pt x="4107" y="18888"/>
                </a:lnTo>
                <a:lnTo>
                  <a:pt x="3803" y="18888"/>
                </a:lnTo>
                <a:close/>
                <a:moveTo>
                  <a:pt x="4107" y="18441"/>
                </a:moveTo>
                <a:lnTo>
                  <a:pt x="4107" y="18473"/>
                </a:lnTo>
                <a:lnTo>
                  <a:pt x="4259" y="18473"/>
                </a:lnTo>
                <a:lnTo>
                  <a:pt x="4259" y="18441"/>
                </a:lnTo>
                <a:lnTo>
                  <a:pt x="4107" y="18441"/>
                </a:lnTo>
                <a:close/>
                <a:moveTo>
                  <a:pt x="5324" y="17708"/>
                </a:moveTo>
                <a:lnTo>
                  <a:pt x="5324" y="17771"/>
                </a:lnTo>
                <a:lnTo>
                  <a:pt x="5932" y="17771"/>
                </a:lnTo>
                <a:lnTo>
                  <a:pt x="6237" y="17708"/>
                </a:lnTo>
                <a:lnTo>
                  <a:pt x="5324" y="17708"/>
                </a:lnTo>
                <a:close/>
                <a:moveTo>
                  <a:pt x="5172" y="17420"/>
                </a:moveTo>
                <a:lnTo>
                  <a:pt x="4868" y="17484"/>
                </a:lnTo>
                <a:lnTo>
                  <a:pt x="4563" y="17484"/>
                </a:lnTo>
                <a:lnTo>
                  <a:pt x="4563" y="17548"/>
                </a:lnTo>
                <a:lnTo>
                  <a:pt x="4868" y="17548"/>
                </a:lnTo>
                <a:lnTo>
                  <a:pt x="4868" y="17580"/>
                </a:lnTo>
                <a:lnTo>
                  <a:pt x="4107" y="17580"/>
                </a:lnTo>
                <a:lnTo>
                  <a:pt x="4563" y="17644"/>
                </a:lnTo>
                <a:lnTo>
                  <a:pt x="5324" y="17644"/>
                </a:lnTo>
                <a:lnTo>
                  <a:pt x="5172" y="17580"/>
                </a:lnTo>
                <a:lnTo>
                  <a:pt x="5324" y="17580"/>
                </a:lnTo>
                <a:lnTo>
                  <a:pt x="5324" y="17548"/>
                </a:lnTo>
                <a:lnTo>
                  <a:pt x="5172" y="17548"/>
                </a:lnTo>
                <a:lnTo>
                  <a:pt x="5172" y="17420"/>
                </a:lnTo>
                <a:close/>
                <a:moveTo>
                  <a:pt x="3194" y="17325"/>
                </a:moveTo>
                <a:lnTo>
                  <a:pt x="3499" y="17357"/>
                </a:lnTo>
                <a:lnTo>
                  <a:pt x="3499" y="17420"/>
                </a:lnTo>
                <a:lnTo>
                  <a:pt x="3194" y="17484"/>
                </a:lnTo>
                <a:lnTo>
                  <a:pt x="2738" y="17484"/>
                </a:lnTo>
                <a:lnTo>
                  <a:pt x="2738" y="17420"/>
                </a:lnTo>
                <a:lnTo>
                  <a:pt x="3042" y="17420"/>
                </a:lnTo>
                <a:lnTo>
                  <a:pt x="3042" y="17357"/>
                </a:lnTo>
                <a:lnTo>
                  <a:pt x="3194" y="17325"/>
                </a:lnTo>
                <a:close/>
                <a:moveTo>
                  <a:pt x="1673" y="16368"/>
                </a:moveTo>
                <a:lnTo>
                  <a:pt x="1977" y="16368"/>
                </a:lnTo>
                <a:lnTo>
                  <a:pt x="1977" y="16431"/>
                </a:lnTo>
                <a:lnTo>
                  <a:pt x="1673" y="16431"/>
                </a:lnTo>
                <a:lnTo>
                  <a:pt x="1673" y="16368"/>
                </a:lnTo>
                <a:close/>
                <a:moveTo>
                  <a:pt x="8062" y="14038"/>
                </a:moveTo>
                <a:lnTo>
                  <a:pt x="8062" y="14070"/>
                </a:lnTo>
                <a:lnTo>
                  <a:pt x="8366" y="14070"/>
                </a:lnTo>
                <a:lnTo>
                  <a:pt x="8366" y="14038"/>
                </a:lnTo>
                <a:lnTo>
                  <a:pt x="8062" y="14038"/>
                </a:lnTo>
                <a:close/>
                <a:moveTo>
                  <a:pt x="15211" y="0"/>
                </a:moveTo>
                <a:lnTo>
                  <a:pt x="15211" y="64"/>
                </a:lnTo>
                <a:lnTo>
                  <a:pt x="15515" y="64"/>
                </a:lnTo>
                <a:lnTo>
                  <a:pt x="15515" y="160"/>
                </a:lnTo>
                <a:lnTo>
                  <a:pt x="15668" y="160"/>
                </a:lnTo>
                <a:lnTo>
                  <a:pt x="15668" y="287"/>
                </a:lnTo>
                <a:lnTo>
                  <a:pt x="16276" y="287"/>
                </a:lnTo>
                <a:lnTo>
                  <a:pt x="16276" y="383"/>
                </a:lnTo>
                <a:lnTo>
                  <a:pt x="16580" y="447"/>
                </a:lnTo>
                <a:lnTo>
                  <a:pt x="16580" y="830"/>
                </a:lnTo>
                <a:lnTo>
                  <a:pt x="16732" y="830"/>
                </a:lnTo>
                <a:lnTo>
                  <a:pt x="17341" y="957"/>
                </a:lnTo>
                <a:lnTo>
                  <a:pt x="17645" y="957"/>
                </a:lnTo>
                <a:lnTo>
                  <a:pt x="17645" y="989"/>
                </a:lnTo>
                <a:lnTo>
                  <a:pt x="17797" y="989"/>
                </a:lnTo>
                <a:lnTo>
                  <a:pt x="17797" y="1053"/>
                </a:lnTo>
                <a:lnTo>
                  <a:pt x="17645" y="1117"/>
                </a:lnTo>
                <a:lnTo>
                  <a:pt x="17645" y="1181"/>
                </a:lnTo>
                <a:lnTo>
                  <a:pt x="17341" y="1181"/>
                </a:lnTo>
                <a:lnTo>
                  <a:pt x="17341" y="1212"/>
                </a:lnTo>
                <a:lnTo>
                  <a:pt x="17645" y="1212"/>
                </a:lnTo>
                <a:lnTo>
                  <a:pt x="17645" y="1340"/>
                </a:lnTo>
                <a:lnTo>
                  <a:pt x="17341" y="1340"/>
                </a:lnTo>
                <a:lnTo>
                  <a:pt x="17341" y="1404"/>
                </a:lnTo>
                <a:lnTo>
                  <a:pt x="17037" y="1436"/>
                </a:lnTo>
                <a:lnTo>
                  <a:pt x="17037" y="1500"/>
                </a:lnTo>
                <a:lnTo>
                  <a:pt x="17341" y="1500"/>
                </a:lnTo>
                <a:lnTo>
                  <a:pt x="17037" y="1563"/>
                </a:lnTo>
                <a:lnTo>
                  <a:pt x="17341" y="1563"/>
                </a:lnTo>
                <a:lnTo>
                  <a:pt x="17341" y="1659"/>
                </a:lnTo>
                <a:lnTo>
                  <a:pt x="17797" y="1659"/>
                </a:lnTo>
                <a:lnTo>
                  <a:pt x="17797" y="1882"/>
                </a:lnTo>
                <a:lnTo>
                  <a:pt x="18101" y="1882"/>
                </a:lnTo>
                <a:lnTo>
                  <a:pt x="18101" y="2010"/>
                </a:lnTo>
                <a:lnTo>
                  <a:pt x="18406" y="2010"/>
                </a:lnTo>
                <a:lnTo>
                  <a:pt x="18406" y="2106"/>
                </a:lnTo>
                <a:lnTo>
                  <a:pt x="18710" y="2106"/>
                </a:lnTo>
                <a:lnTo>
                  <a:pt x="18710" y="2393"/>
                </a:lnTo>
                <a:lnTo>
                  <a:pt x="18862" y="2393"/>
                </a:lnTo>
                <a:lnTo>
                  <a:pt x="18862" y="2489"/>
                </a:lnTo>
                <a:lnTo>
                  <a:pt x="19166" y="2489"/>
                </a:lnTo>
                <a:lnTo>
                  <a:pt x="19166" y="2776"/>
                </a:lnTo>
                <a:lnTo>
                  <a:pt x="19470" y="2776"/>
                </a:lnTo>
                <a:lnTo>
                  <a:pt x="19470" y="2903"/>
                </a:lnTo>
                <a:lnTo>
                  <a:pt x="19775" y="2903"/>
                </a:lnTo>
                <a:lnTo>
                  <a:pt x="19775" y="2840"/>
                </a:lnTo>
                <a:lnTo>
                  <a:pt x="19927" y="2840"/>
                </a:lnTo>
                <a:lnTo>
                  <a:pt x="19927" y="2903"/>
                </a:lnTo>
                <a:lnTo>
                  <a:pt x="20535" y="2903"/>
                </a:lnTo>
                <a:lnTo>
                  <a:pt x="20535" y="2840"/>
                </a:lnTo>
                <a:lnTo>
                  <a:pt x="20992" y="2840"/>
                </a:lnTo>
                <a:lnTo>
                  <a:pt x="20992" y="2903"/>
                </a:lnTo>
                <a:lnTo>
                  <a:pt x="21296" y="2903"/>
                </a:lnTo>
                <a:lnTo>
                  <a:pt x="21296" y="2935"/>
                </a:lnTo>
                <a:lnTo>
                  <a:pt x="21600" y="2935"/>
                </a:lnTo>
                <a:lnTo>
                  <a:pt x="21296" y="2999"/>
                </a:lnTo>
                <a:lnTo>
                  <a:pt x="21296" y="3127"/>
                </a:lnTo>
                <a:lnTo>
                  <a:pt x="20992" y="3127"/>
                </a:lnTo>
                <a:lnTo>
                  <a:pt x="20992" y="3350"/>
                </a:lnTo>
                <a:lnTo>
                  <a:pt x="20839" y="3350"/>
                </a:lnTo>
                <a:lnTo>
                  <a:pt x="20839" y="3446"/>
                </a:lnTo>
                <a:lnTo>
                  <a:pt x="20535" y="3510"/>
                </a:lnTo>
                <a:lnTo>
                  <a:pt x="20535" y="3573"/>
                </a:lnTo>
                <a:lnTo>
                  <a:pt x="19775" y="3573"/>
                </a:lnTo>
                <a:lnTo>
                  <a:pt x="19166" y="3669"/>
                </a:lnTo>
                <a:lnTo>
                  <a:pt x="18710" y="3669"/>
                </a:lnTo>
                <a:lnTo>
                  <a:pt x="18710" y="3733"/>
                </a:lnTo>
                <a:lnTo>
                  <a:pt x="18101" y="3733"/>
                </a:lnTo>
                <a:lnTo>
                  <a:pt x="18101" y="3797"/>
                </a:lnTo>
                <a:lnTo>
                  <a:pt x="17797" y="3797"/>
                </a:lnTo>
                <a:lnTo>
                  <a:pt x="17797" y="3829"/>
                </a:lnTo>
                <a:lnTo>
                  <a:pt x="17645" y="3829"/>
                </a:lnTo>
                <a:lnTo>
                  <a:pt x="17645" y="3956"/>
                </a:lnTo>
                <a:lnTo>
                  <a:pt x="17797" y="4020"/>
                </a:lnTo>
                <a:lnTo>
                  <a:pt x="17797" y="4052"/>
                </a:lnTo>
                <a:lnTo>
                  <a:pt x="18101" y="4052"/>
                </a:lnTo>
                <a:lnTo>
                  <a:pt x="18101" y="4116"/>
                </a:lnTo>
                <a:lnTo>
                  <a:pt x="17645" y="4116"/>
                </a:lnTo>
                <a:lnTo>
                  <a:pt x="17645" y="4913"/>
                </a:lnTo>
                <a:lnTo>
                  <a:pt x="17797" y="4945"/>
                </a:lnTo>
                <a:lnTo>
                  <a:pt x="17797" y="5009"/>
                </a:lnTo>
                <a:lnTo>
                  <a:pt x="18101" y="5009"/>
                </a:lnTo>
                <a:lnTo>
                  <a:pt x="18101" y="5073"/>
                </a:lnTo>
                <a:lnTo>
                  <a:pt x="18406" y="5073"/>
                </a:lnTo>
                <a:lnTo>
                  <a:pt x="18406" y="5105"/>
                </a:lnTo>
                <a:lnTo>
                  <a:pt x="18101" y="5105"/>
                </a:lnTo>
                <a:lnTo>
                  <a:pt x="18101" y="5169"/>
                </a:lnTo>
                <a:lnTo>
                  <a:pt x="17645" y="5169"/>
                </a:lnTo>
                <a:lnTo>
                  <a:pt x="17645" y="5232"/>
                </a:lnTo>
                <a:lnTo>
                  <a:pt x="17341" y="5232"/>
                </a:lnTo>
                <a:lnTo>
                  <a:pt x="17341" y="5169"/>
                </a:lnTo>
                <a:lnTo>
                  <a:pt x="16732" y="5169"/>
                </a:lnTo>
                <a:lnTo>
                  <a:pt x="16732" y="5328"/>
                </a:lnTo>
                <a:lnTo>
                  <a:pt x="16580" y="5328"/>
                </a:lnTo>
                <a:lnTo>
                  <a:pt x="16580" y="5456"/>
                </a:lnTo>
                <a:lnTo>
                  <a:pt x="16276" y="5520"/>
                </a:lnTo>
                <a:lnTo>
                  <a:pt x="16276" y="5615"/>
                </a:lnTo>
                <a:lnTo>
                  <a:pt x="15972" y="5615"/>
                </a:lnTo>
                <a:lnTo>
                  <a:pt x="15668" y="5679"/>
                </a:lnTo>
                <a:lnTo>
                  <a:pt x="15668" y="5743"/>
                </a:lnTo>
                <a:lnTo>
                  <a:pt x="15515" y="5743"/>
                </a:lnTo>
                <a:lnTo>
                  <a:pt x="15515" y="5775"/>
                </a:lnTo>
                <a:lnTo>
                  <a:pt x="15211" y="5775"/>
                </a:lnTo>
                <a:lnTo>
                  <a:pt x="15211" y="5903"/>
                </a:lnTo>
                <a:lnTo>
                  <a:pt x="14907" y="5903"/>
                </a:lnTo>
                <a:lnTo>
                  <a:pt x="14907" y="5966"/>
                </a:lnTo>
                <a:lnTo>
                  <a:pt x="14603" y="5966"/>
                </a:lnTo>
                <a:lnTo>
                  <a:pt x="14603" y="6126"/>
                </a:lnTo>
                <a:lnTo>
                  <a:pt x="14451" y="6190"/>
                </a:lnTo>
                <a:lnTo>
                  <a:pt x="14451" y="6285"/>
                </a:lnTo>
                <a:lnTo>
                  <a:pt x="14146" y="6349"/>
                </a:lnTo>
                <a:lnTo>
                  <a:pt x="14146" y="6636"/>
                </a:lnTo>
                <a:lnTo>
                  <a:pt x="14451" y="6636"/>
                </a:lnTo>
                <a:lnTo>
                  <a:pt x="14451" y="6668"/>
                </a:lnTo>
                <a:lnTo>
                  <a:pt x="14146" y="6732"/>
                </a:lnTo>
                <a:lnTo>
                  <a:pt x="14146" y="6796"/>
                </a:lnTo>
                <a:lnTo>
                  <a:pt x="14451" y="6860"/>
                </a:lnTo>
                <a:lnTo>
                  <a:pt x="14451" y="6892"/>
                </a:lnTo>
                <a:lnTo>
                  <a:pt x="14146" y="6955"/>
                </a:lnTo>
                <a:lnTo>
                  <a:pt x="13842" y="6955"/>
                </a:lnTo>
                <a:lnTo>
                  <a:pt x="13842" y="7019"/>
                </a:lnTo>
                <a:lnTo>
                  <a:pt x="13538" y="7019"/>
                </a:lnTo>
                <a:lnTo>
                  <a:pt x="13538" y="7179"/>
                </a:lnTo>
                <a:lnTo>
                  <a:pt x="13386" y="7179"/>
                </a:lnTo>
                <a:lnTo>
                  <a:pt x="13386" y="7402"/>
                </a:lnTo>
                <a:lnTo>
                  <a:pt x="13082" y="7402"/>
                </a:lnTo>
                <a:lnTo>
                  <a:pt x="12777" y="7530"/>
                </a:lnTo>
                <a:lnTo>
                  <a:pt x="12777" y="7625"/>
                </a:lnTo>
                <a:lnTo>
                  <a:pt x="13082" y="7689"/>
                </a:lnTo>
                <a:lnTo>
                  <a:pt x="13082" y="7785"/>
                </a:lnTo>
                <a:lnTo>
                  <a:pt x="13386" y="7785"/>
                </a:lnTo>
                <a:lnTo>
                  <a:pt x="13386" y="7849"/>
                </a:lnTo>
                <a:lnTo>
                  <a:pt x="13538" y="7849"/>
                </a:lnTo>
                <a:lnTo>
                  <a:pt x="13538" y="7913"/>
                </a:lnTo>
                <a:lnTo>
                  <a:pt x="13386" y="7913"/>
                </a:lnTo>
                <a:lnTo>
                  <a:pt x="13386" y="8072"/>
                </a:lnTo>
                <a:lnTo>
                  <a:pt x="13538" y="8072"/>
                </a:lnTo>
                <a:lnTo>
                  <a:pt x="13538" y="8168"/>
                </a:lnTo>
                <a:lnTo>
                  <a:pt x="13842" y="8232"/>
                </a:lnTo>
                <a:lnTo>
                  <a:pt x="13842" y="8583"/>
                </a:lnTo>
                <a:lnTo>
                  <a:pt x="14146" y="8583"/>
                </a:lnTo>
                <a:lnTo>
                  <a:pt x="14146" y="8678"/>
                </a:lnTo>
                <a:lnTo>
                  <a:pt x="14603" y="8678"/>
                </a:lnTo>
                <a:lnTo>
                  <a:pt x="14603" y="8838"/>
                </a:lnTo>
                <a:lnTo>
                  <a:pt x="14451" y="8838"/>
                </a:lnTo>
                <a:lnTo>
                  <a:pt x="14451" y="9125"/>
                </a:lnTo>
                <a:lnTo>
                  <a:pt x="14603" y="9125"/>
                </a:lnTo>
                <a:lnTo>
                  <a:pt x="14603" y="9189"/>
                </a:lnTo>
                <a:lnTo>
                  <a:pt x="14451" y="9253"/>
                </a:lnTo>
                <a:lnTo>
                  <a:pt x="13842" y="9253"/>
                </a:lnTo>
                <a:lnTo>
                  <a:pt x="13842" y="9348"/>
                </a:lnTo>
                <a:lnTo>
                  <a:pt x="13538" y="9348"/>
                </a:lnTo>
                <a:lnTo>
                  <a:pt x="13538" y="9476"/>
                </a:lnTo>
                <a:lnTo>
                  <a:pt x="13386" y="9508"/>
                </a:lnTo>
                <a:lnTo>
                  <a:pt x="13386" y="9699"/>
                </a:lnTo>
                <a:lnTo>
                  <a:pt x="13082" y="9731"/>
                </a:lnTo>
                <a:lnTo>
                  <a:pt x="12777" y="9731"/>
                </a:lnTo>
                <a:lnTo>
                  <a:pt x="12777" y="9859"/>
                </a:lnTo>
                <a:lnTo>
                  <a:pt x="13082" y="9923"/>
                </a:lnTo>
                <a:lnTo>
                  <a:pt x="13082" y="10305"/>
                </a:lnTo>
                <a:lnTo>
                  <a:pt x="12777" y="10305"/>
                </a:lnTo>
                <a:lnTo>
                  <a:pt x="12473" y="10369"/>
                </a:lnTo>
                <a:lnTo>
                  <a:pt x="12473" y="10465"/>
                </a:lnTo>
                <a:lnTo>
                  <a:pt x="12321" y="10465"/>
                </a:lnTo>
                <a:lnTo>
                  <a:pt x="12321" y="10529"/>
                </a:lnTo>
                <a:lnTo>
                  <a:pt x="11408" y="10529"/>
                </a:lnTo>
                <a:lnTo>
                  <a:pt x="11408" y="10816"/>
                </a:lnTo>
                <a:lnTo>
                  <a:pt x="11256" y="10848"/>
                </a:lnTo>
                <a:lnTo>
                  <a:pt x="11256" y="11135"/>
                </a:lnTo>
                <a:lnTo>
                  <a:pt x="11408" y="11135"/>
                </a:lnTo>
                <a:lnTo>
                  <a:pt x="11408" y="11454"/>
                </a:lnTo>
                <a:lnTo>
                  <a:pt x="11713" y="11454"/>
                </a:lnTo>
                <a:lnTo>
                  <a:pt x="11713" y="11677"/>
                </a:lnTo>
                <a:lnTo>
                  <a:pt x="12017" y="11677"/>
                </a:lnTo>
                <a:lnTo>
                  <a:pt x="12017" y="11805"/>
                </a:lnTo>
                <a:lnTo>
                  <a:pt x="11713" y="11869"/>
                </a:lnTo>
                <a:lnTo>
                  <a:pt x="11408" y="11869"/>
                </a:lnTo>
                <a:lnTo>
                  <a:pt x="11256" y="11901"/>
                </a:lnTo>
                <a:lnTo>
                  <a:pt x="10952" y="11901"/>
                </a:lnTo>
                <a:lnTo>
                  <a:pt x="10648" y="11965"/>
                </a:lnTo>
                <a:lnTo>
                  <a:pt x="10648" y="12188"/>
                </a:lnTo>
                <a:lnTo>
                  <a:pt x="10344" y="12188"/>
                </a:lnTo>
                <a:lnTo>
                  <a:pt x="10344" y="12347"/>
                </a:lnTo>
                <a:lnTo>
                  <a:pt x="10192" y="12347"/>
                </a:lnTo>
                <a:lnTo>
                  <a:pt x="10192" y="12635"/>
                </a:lnTo>
                <a:lnTo>
                  <a:pt x="9583" y="12635"/>
                </a:lnTo>
                <a:lnTo>
                  <a:pt x="9583" y="12762"/>
                </a:lnTo>
                <a:lnTo>
                  <a:pt x="9887" y="12762"/>
                </a:lnTo>
                <a:lnTo>
                  <a:pt x="9887" y="12794"/>
                </a:lnTo>
                <a:lnTo>
                  <a:pt x="10192" y="12794"/>
                </a:lnTo>
                <a:lnTo>
                  <a:pt x="9887" y="12858"/>
                </a:lnTo>
                <a:lnTo>
                  <a:pt x="9583" y="12858"/>
                </a:lnTo>
                <a:lnTo>
                  <a:pt x="9583" y="12986"/>
                </a:lnTo>
                <a:lnTo>
                  <a:pt x="9279" y="12986"/>
                </a:lnTo>
                <a:lnTo>
                  <a:pt x="9279" y="13081"/>
                </a:lnTo>
                <a:lnTo>
                  <a:pt x="9583" y="13081"/>
                </a:lnTo>
                <a:lnTo>
                  <a:pt x="9583" y="13368"/>
                </a:lnTo>
                <a:lnTo>
                  <a:pt x="9279" y="13464"/>
                </a:lnTo>
                <a:lnTo>
                  <a:pt x="9279" y="13687"/>
                </a:lnTo>
                <a:lnTo>
                  <a:pt x="9583" y="13687"/>
                </a:lnTo>
                <a:lnTo>
                  <a:pt x="9583" y="13751"/>
                </a:lnTo>
                <a:lnTo>
                  <a:pt x="9887" y="13815"/>
                </a:lnTo>
                <a:lnTo>
                  <a:pt x="9887" y="13911"/>
                </a:lnTo>
                <a:lnTo>
                  <a:pt x="9279" y="13911"/>
                </a:lnTo>
                <a:lnTo>
                  <a:pt x="9279" y="13975"/>
                </a:lnTo>
                <a:lnTo>
                  <a:pt x="9127" y="13975"/>
                </a:lnTo>
                <a:lnTo>
                  <a:pt x="9127" y="14198"/>
                </a:lnTo>
                <a:lnTo>
                  <a:pt x="8823" y="14262"/>
                </a:lnTo>
                <a:lnTo>
                  <a:pt x="8823" y="14485"/>
                </a:lnTo>
                <a:lnTo>
                  <a:pt x="9583" y="14485"/>
                </a:lnTo>
                <a:lnTo>
                  <a:pt x="9583" y="14517"/>
                </a:lnTo>
                <a:lnTo>
                  <a:pt x="9887" y="14517"/>
                </a:lnTo>
                <a:lnTo>
                  <a:pt x="9887" y="14581"/>
                </a:lnTo>
                <a:lnTo>
                  <a:pt x="9583" y="14645"/>
                </a:lnTo>
                <a:lnTo>
                  <a:pt x="9583" y="14740"/>
                </a:lnTo>
                <a:lnTo>
                  <a:pt x="9887" y="14740"/>
                </a:lnTo>
                <a:lnTo>
                  <a:pt x="9887" y="14964"/>
                </a:lnTo>
                <a:lnTo>
                  <a:pt x="10192" y="14964"/>
                </a:lnTo>
                <a:lnTo>
                  <a:pt x="10192" y="15027"/>
                </a:lnTo>
                <a:lnTo>
                  <a:pt x="9887" y="15027"/>
                </a:lnTo>
                <a:lnTo>
                  <a:pt x="9887" y="15155"/>
                </a:lnTo>
                <a:lnTo>
                  <a:pt x="9583" y="15187"/>
                </a:lnTo>
                <a:lnTo>
                  <a:pt x="9583" y="15315"/>
                </a:lnTo>
                <a:lnTo>
                  <a:pt x="10952" y="15315"/>
                </a:lnTo>
                <a:lnTo>
                  <a:pt x="11256" y="15378"/>
                </a:lnTo>
                <a:lnTo>
                  <a:pt x="11408" y="15378"/>
                </a:lnTo>
                <a:lnTo>
                  <a:pt x="11408" y="15410"/>
                </a:lnTo>
                <a:lnTo>
                  <a:pt x="11256" y="15410"/>
                </a:lnTo>
                <a:lnTo>
                  <a:pt x="11256" y="15474"/>
                </a:lnTo>
                <a:lnTo>
                  <a:pt x="10952" y="15474"/>
                </a:lnTo>
                <a:lnTo>
                  <a:pt x="10952" y="15602"/>
                </a:lnTo>
                <a:lnTo>
                  <a:pt x="10648" y="15602"/>
                </a:lnTo>
                <a:lnTo>
                  <a:pt x="10648" y="15538"/>
                </a:lnTo>
                <a:lnTo>
                  <a:pt x="9127" y="15538"/>
                </a:lnTo>
                <a:lnTo>
                  <a:pt x="9127" y="15602"/>
                </a:lnTo>
                <a:lnTo>
                  <a:pt x="9279" y="15602"/>
                </a:lnTo>
                <a:lnTo>
                  <a:pt x="9279" y="15634"/>
                </a:lnTo>
                <a:lnTo>
                  <a:pt x="10192" y="15634"/>
                </a:lnTo>
                <a:lnTo>
                  <a:pt x="10344" y="15697"/>
                </a:lnTo>
                <a:lnTo>
                  <a:pt x="10344" y="15761"/>
                </a:lnTo>
                <a:lnTo>
                  <a:pt x="10648" y="15761"/>
                </a:lnTo>
                <a:lnTo>
                  <a:pt x="10648" y="15825"/>
                </a:lnTo>
                <a:lnTo>
                  <a:pt x="10952" y="15825"/>
                </a:lnTo>
                <a:lnTo>
                  <a:pt x="10952" y="15857"/>
                </a:lnTo>
                <a:lnTo>
                  <a:pt x="10648" y="15921"/>
                </a:lnTo>
                <a:lnTo>
                  <a:pt x="10648" y="15985"/>
                </a:lnTo>
                <a:lnTo>
                  <a:pt x="10344" y="15985"/>
                </a:lnTo>
                <a:lnTo>
                  <a:pt x="10344" y="16048"/>
                </a:lnTo>
                <a:lnTo>
                  <a:pt x="9887" y="16048"/>
                </a:lnTo>
                <a:lnTo>
                  <a:pt x="9887" y="16272"/>
                </a:lnTo>
                <a:lnTo>
                  <a:pt x="10192" y="16272"/>
                </a:lnTo>
                <a:lnTo>
                  <a:pt x="10192" y="16304"/>
                </a:lnTo>
                <a:lnTo>
                  <a:pt x="9887" y="16368"/>
                </a:lnTo>
                <a:lnTo>
                  <a:pt x="9887" y="16431"/>
                </a:lnTo>
                <a:lnTo>
                  <a:pt x="9583" y="16431"/>
                </a:lnTo>
                <a:lnTo>
                  <a:pt x="9583" y="16527"/>
                </a:lnTo>
                <a:lnTo>
                  <a:pt x="9887" y="16527"/>
                </a:lnTo>
                <a:lnTo>
                  <a:pt x="9887" y="16655"/>
                </a:lnTo>
                <a:lnTo>
                  <a:pt x="10192" y="16655"/>
                </a:lnTo>
                <a:lnTo>
                  <a:pt x="10192" y="16718"/>
                </a:lnTo>
                <a:lnTo>
                  <a:pt x="9887" y="16750"/>
                </a:lnTo>
                <a:lnTo>
                  <a:pt x="9887" y="16814"/>
                </a:lnTo>
                <a:lnTo>
                  <a:pt x="9583" y="16814"/>
                </a:lnTo>
                <a:lnTo>
                  <a:pt x="9583" y="16878"/>
                </a:lnTo>
                <a:lnTo>
                  <a:pt x="9279" y="16878"/>
                </a:lnTo>
                <a:lnTo>
                  <a:pt x="9279" y="17038"/>
                </a:lnTo>
                <a:lnTo>
                  <a:pt x="9583" y="17038"/>
                </a:lnTo>
                <a:lnTo>
                  <a:pt x="9583" y="17101"/>
                </a:lnTo>
                <a:lnTo>
                  <a:pt x="9279" y="17133"/>
                </a:lnTo>
                <a:lnTo>
                  <a:pt x="9127" y="17133"/>
                </a:lnTo>
                <a:lnTo>
                  <a:pt x="8823" y="17197"/>
                </a:lnTo>
                <a:lnTo>
                  <a:pt x="8518" y="17197"/>
                </a:lnTo>
                <a:lnTo>
                  <a:pt x="8518" y="17261"/>
                </a:lnTo>
                <a:lnTo>
                  <a:pt x="8366" y="17261"/>
                </a:lnTo>
                <a:lnTo>
                  <a:pt x="8518" y="17325"/>
                </a:lnTo>
                <a:lnTo>
                  <a:pt x="8062" y="17420"/>
                </a:lnTo>
                <a:lnTo>
                  <a:pt x="8062" y="17580"/>
                </a:lnTo>
                <a:lnTo>
                  <a:pt x="8366" y="17580"/>
                </a:lnTo>
                <a:lnTo>
                  <a:pt x="8518" y="17644"/>
                </a:lnTo>
                <a:lnTo>
                  <a:pt x="8518" y="17803"/>
                </a:lnTo>
                <a:lnTo>
                  <a:pt x="8366" y="17803"/>
                </a:lnTo>
                <a:lnTo>
                  <a:pt x="8366" y="17867"/>
                </a:lnTo>
                <a:lnTo>
                  <a:pt x="7758" y="17867"/>
                </a:lnTo>
                <a:lnTo>
                  <a:pt x="7758" y="18154"/>
                </a:lnTo>
                <a:lnTo>
                  <a:pt x="7454" y="18218"/>
                </a:lnTo>
                <a:lnTo>
                  <a:pt x="7301" y="18218"/>
                </a:lnTo>
                <a:lnTo>
                  <a:pt x="7301" y="18250"/>
                </a:lnTo>
                <a:lnTo>
                  <a:pt x="6997" y="18250"/>
                </a:lnTo>
                <a:lnTo>
                  <a:pt x="6997" y="18314"/>
                </a:lnTo>
                <a:lnTo>
                  <a:pt x="6693" y="18314"/>
                </a:lnTo>
                <a:lnTo>
                  <a:pt x="6693" y="18378"/>
                </a:lnTo>
                <a:lnTo>
                  <a:pt x="6389" y="18441"/>
                </a:lnTo>
                <a:lnTo>
                  <a:pt x="6237" y="18441"/>
                </a:lnTo>
                <a:lnTo>
                  <a:pt x="5932" y="18473"/>
                </a:lnTo>
                <a:lnTo>
                  <a:pt x="5324" y="18473"/>
                </a:lnTo>
                <a:lnTo>
                  <a:pt x="5324" y="18665"/>
                </a:lnTo>
                <a:lnTo>
                  <a:pt x="5628" y="18665"/>
                </a:lnTo>
                <a:lnTo>
                  <a:pt x="5628" y="18824"/>
                </a:lnTo>
                <a:lnTo>
                  <a:pt x="5324" y="18824"/>
                </a:lnTo>
                <a:lnTo>
                  <a:pt x="5324" y="19048"/>
                </a:lnTo>
                <a:lnTo>
                  <a:pt x="5932" y="19048"/>
                </a:lnTo>
                <a:lnTo>
                  <a:pt x="6237" y="19111"/>
                </a:lnTo>
                <a:lnTo>
                  <a:pt x="6237" y="19367"/>
                </a:lnTo>
                <a:lnTo>
                  <a:pt x="6389" y="19367"/>
                </a:lnTo>
                <a:lnTo>
                  <a:pt x="6389" y="19494"/>
                </a:lnTo>
                <a:lnTo>
                  <a:pt x="6693" y="19494"/>
                </a:lnTo>
                <a:lnTo>
                  <a:pt x="6997" y="19430"/>
                </a:lnTo>
                <a:lnTo>
                  <a:pt x="6997" y="19367"/>
                </a:lnTo>
                <a:lnTo>
                  <a:pt x="7758" y="19367"/>
                </a:lnTo>
                <a:lnTo>
                  <a:pt x="8062" y="19335"/>
                </a:lnTo>
                <a:lnTo>
                  <a:pt x="8366" y="19335"/>
                </a:lnTo>
                <a:lnTo>
                  <a:pt x="8366" y="19367"/>
                </a:lnTo>
                <a:lnTo>
                  <a:pt x="8518" y="19367"/>
                </a:lnTo>
                <a:lnTo>
                  <a:pt x="8518" y="19654"/>
                </a:lnTo>
                <a:lnTo>
                  <a:pt x="8366" y="19654"/>
                </a:lnTo>
                <a:lnTo>
                  <a:pt x="8366" y="19718"/>
                </a:lnTo>
                <a:lnTo>
                  <a:pt x="8518" y="19718"/>
                </a:lnTo>
                <a:lnTo>
                  <a:pt x="8518" y="19877"/>
                </a:lnTo>
                <a:lnTo>
                  <a:pt x="8366" y="19877"/>
                </a:lnTo>
                <a:lnTo>
                  <a:pt x="8366" y="20037"/>
                </a:lnTo>
                <a:lnTo>
                  <a:pt x="8518" y="20037"/>
                </a:lnTo>
                <a:lnTo>
                  <a:pt x="8823" y="20100"/>
                </a:lnTo>
                <a:lnTo>
                  <a:pt x="9127" y="20100"/>
                </a:lnTo>
                <a:lnTo>
                  <a:pt x="9127" y="20164"/>
                </a:lnTo>
                <a:lnTo>
                  <a:pt x="9279" y="20164"/>
                </a:lnTo>
                <a:lnTo>
                  <a:pt x="9279" y="20260"/>
                </a:lnTo>
                <a:lnTo>
                  <a:pt x="14451" y="20260"/>
                </a:lnTo>
                <a:lnTo>
                  <a:pt x="14451" y="20324"/>
                </a:lnTo>
                <a:lnTo>
                  <a:pt x="15211" y="20324"/>
                </a:lnTo>
                <a:lnTo>
                  <a:pt x="15211" y="20388"/>
                </a:lnTo>
                <a:lnTo>
                  <a:pt x="15515" y="20388"/>
                </a:lnTo>
                <a:lnTo>
                  <a:pt x="15515" y="20324"/>
                </a:lnTo>
                <a:lnTo>
                  <a:pt x="15668" y="20324"/>
                </a:lnTo>
                <a:lnTo>
                  <a:pt x="15668" y="20388"/>
                </a:lnTo>
                <a:lnTo>
                  <a:pt x="16580" y="20388"/>
                </a:lnTo>
                <a:lnTo>
                  <a:pt x="16580" y="20419"/>
                </a:lnTo>
                <a:lnTo>
                  <a:pt x="15972" y="20419"/>
                </a:lnTo>
                <a:lnTo>
                  <a:pt x="15515" y="20483"/>
                </a:lnTo>
                <a:lnTo>
                  <a:pt x="15211" y="20547"/>
                </a:lnTo>
                <a:lnTo>
                  <a:pt x="14603" y="20611"/>
                </a:lnTo>
                <a:lnTo>
                  <a:pt x="14451" y="20643"/>
                </a:lnTo>
                <a:lnTo>
                  <a:pt x="13842" y="20707"/>
                </a:lnTo>
                <a:lnTo>
                  <a:pt x="13386" y="20707"/>
                </a:lnTo>
                <a:lnTo>
                  <a:pt x="12777" y="20770"/>
                </a:lnTo>
                <a:lnTo>
                  <a:pt x="12321" y="20770"/>
                </a:lnTo>
                <a:lnTo>
                  <a:pt x="12017" y="20834"/>
                </a:lnTo>
                <a:lnTo>
                  <a:pt x="12017" y="21090"/>
                </a:lnTo>
                <a:lnTo>
                  <a:pt x="11713" y="21090"/>
                </a:lnTo>
                <a:lnTo>
                  <a:pt x="11713" y="21440"/>
                </a:lnTo>
                <a:lnTo>
                  <a:pt x="11408" y="21536"/>
                </a:lnTo>
                <a:lnTo>
                  <a:pt x="11256" y="21600"/>
                </a:lnTo>
                <a:lnTo>
                  <a:pt x="10648" y="21600"/>
                </a:lnTo>
                <a:lnTo>
                  <a:pt x="10344" y="21536"/>
                </a:lnTo>
                <a:lnTo>
                  <a:pt x="9887" y="21536"/>
                </a:lnTo>
                <a:lnTo>
                  <a:pt x="9583" y="21504"/>
                </a:lnTo>
                <a:lnTo>
                  <a:pt x="9279" y="21504"/>
                </a:lnTo>
                <a:lnTo>
                  <a:pt x="9279" y="21440"/>
                </a:lnTo>
                <a:lnTo>
                  <a:pt x="8518" y="21440"/>
                </a:lnTo>
                <a:lnTo>
                  <a:pt x="8518" y="21313"/>
                </a:lnTo>
                <a:lnTo>
                  <a:pt x="8366" y="21313"/>
                </a:lnTo>
                <a:lnTo>
                  <a:pt x="8366" y="21153"/>
                </a:lnTo>
                <a:lnTo>
                  <a:pt x="8518" y="21153"/>
                </a:lnTo>
                <a:lnTo>
                  <a:pt x="8518" y="21090"/>
                </a:lnTo>
                <a:lnTo>
                  <a:pt x="8823" y="21090"/>
                </a:lnTo>
                <a:lnTo>
                  <a:pt x="8823" y="21281"/>
                </a:lnTo>
                <a:lnTo>
                  <a:pt x="9127" y="21217"/>
                </a:lnTo>
                <a:lnTo>
                  <a:pt x="9127" y="21090"/>
                </a:lnTo>
                <a:lnTo>
                  <a:pt x="9279" y="21090"/>
                </a:lnTo>
                <a:lnTo>
                  <a:pt x="9583" y="21153"/>
                </a:lnTo>
                <a:lnTo>
                  <a:pt x="9887" y="21090"/>
                </a:lnTo>
                <a:lnTo>
                  <a:pt x="10344" y="21090"/>
                </a:lnTo>
                <a:lnTo>
                  <a:pt x="11256" y="20930"/>
                </a:lnTo>
                <a:lnTo>
                  <a:pt x="11256" y="20866"/>
                </a:lnTo>
                <a:lnTo>
                  <a:pt x="10192" y="20866"/>
                </a:lnTo>
                <a:lnTo>
                  <a:pt x="9583" y="20930"/>
                </a:lnTo>
                <a:lnTo>
                  <a:pt x="9279" y="20994"/>
                </a:lnTo>
                <a:lnTo>
                  <a:pt x="9279" y="21058"/>
                </a:lnTo>
                <a:lnTo>
                  <a:pt x="9127" y="21058"/>
                </a:lnTo>
                <a:lnTo>
                  <a:pt x="9127" y="21090"/>
                </a:lnTo>
                <a:lnTo>
                  <a:pt x="8823" y="21058"/>
                </a:lnTo>
                <a:lnTo>
                  <a:pt x="8518" y="21058"/>
                </a:lnTo>
                <a:lnTo>
                  <a:pt x="8518" y="21090"/>
                </a:lnTo>
                <a:lnTo>
                  <a:pt x="8366" y="21090"/>
                </a:lnTo>
                <a:lnTo>
                  <a:pt x="8366" y="21153"/>
                </a:lnTo>
                <a:lnTo>
                  <a:pt x="8062" y="21153"/>
                </a:lnTo>
                <a:lnTo>
                  <a:pt x="8062" y="21217"/>
                </a:lnTo>
                <a:lnTo>
                  <a:pt x="7758" y="21217"/>
                </a:lnTo>
                <a:lnTo>
                  <a:pt x="7758" y="21281"/>
                </a:lnTo>
                <a:lnTo>
                  <a:pt x="8062" y="21281"/>
                </a:lnTo>
                <a:lnTo>
                  <a:pt x="8366" y="21313"/>
                </a:lnTo>
                <a:lnTo>
                  <a:pt x="8366" y="21377"/>
                </a:lnTo>
                <a:lnTo>
                  <a:pt x="8062" y="21377"/>
                </a:lnTo>
                <a:lnTo>
                  <a:pt x="8062" y="21313"/>
                </a:lnTo>
                <a:lnTo>
                  <a:pt x="7454" y="21313"/>
                </a:lnTo>
                <a:lnTo>
                  <a:pt x="7454" y="21281"/>
                </a:lnTo>
                <a:lnTo>
                  <a:pt x="7301" y="21281"/>
                </a:lnTo>
                <a:lnTo>
                  <a:pt x="6693" y="21153"/>
                </a:lnTo>
                <a:lnTo>
                  <a:pt x="6237" y="21153"/>
                </a:lnTo>
                <a:lnTo>
                  <a:pt x="6237" y="21090"/>
                </a:lnTo>
                <a:lnTo>
                  <a:pt x="6997" y="21090"/>
                </a:lnTo>
                <a:lnTo>
                  <a:pt x="6997" y="20994"/>
                </a:lnTo>
                <a:lnTo>
                  <a:pt x="6693" y="20994"/>
                </a:lnTo>
                <a:lnTo>
                  <a:pt x="6693" y="21058"/>
                </a:lnTo>
                <a:lnTo>
                  <a:pt x="5932" y="21058"/>
                </a:lnTo>
                <a:lnTo>
                  <a:pt x="5932" y="20994"/>
                </a:lnTo>
                <a:lnTo>
                  <a:pt x="5628" y="20994"/>
                </a:lnTo>
                <a:lnTo>
                  <a:pt x="5628" y="20930"/>
                </a:lnTo>
                <a:lnTo>
                  <a:pt x="6237" y="20930"/>
                </a:lnTo>
                <a:lnTo>
                  <a:pt x="5932" y="20866"/>
                </a:lnTo>
                <a:lnTo>
                  <a:pt x="5324" y="20866"/>
                </a:lnTo>
                <a:lnTo>
                  <a:pt x="5324" y="20834"/>
                </a:lnTo>
                <a:lnTo>
                  <a:pt x="6237" y="20834"/>
                </a:lnTo>
                <a:lnTo>
                  <a:pt x="6237" y="20707"/>
                </a:lnTo>
                <a:lnTo>
                  <a:pt x="6389" y="20707"/>
                </a:lnTo>
                <a:lnTo>
                  <a:pt x="6389" y="20643"/>
                </a:lnTo>
                <a:lnTo>
                  <a:pt x="6237" y="20643"/>
                </a:lnTo>
                <a:lnTo>
                  <a:pt x="6237" y="20707"/>
                </a:lnTo>
                <a:lnTo>
                  <a:pt x="5932" y="20707"/>
                </a:lnTo>
                <a:lnTo>
                  <a:pt x="5932" y="20643"/>
                </a:lnTo>
                <a:lnTo>
                  <a:pt x="5628" y="20707"/>
                </a:lnTo>
                <a:lnTo>
                  <a:pt x="5628" y="20770"/>
                </a:lnTo>
                <a:lnTo>
                  <a:pt x="5324" y="20770"/>
                </a:lnTo>
                <a:lnTo>
                  <a:pt x="5324" y="20834"/>
                </a:lnTo>
                <a:lnTo>
                  <a:pt x="5172" y="20834"/>
                </a:lnTo>
                <a:lnTo>
                  <a:pt x="5172" y="20643"/>
                </a:lnTo>
                <a:lnTo>
                  <a:pt x="5324" y="20611"/>
                </a:lnTo>
                <a:lnTo>
                  <a:pt x="5172" y="20611"/>
                </a:lnTo>
                <a:lnTo>
                  <a:pt x="5172" y="20547"/>
                </a:lnTo>
                <a:lnTo>
                  <a:pt x="5324" y="20547"/>
                </a:lnTo>
                <a:lnTo>
                  <a:pt x="5324" y="20419"/>
                </a:lnTo>
                <a:lnTo>
                  <a:pt x="5172" y="20388"/>
                </a:lnTo>
                <a:lnTo>
                  <a:pt x="4868" y="20388"/>
                </a:lnTo>
                <a:lnTo>
                  <a:pt x="4259" y="20260"/>
                </a:lnTo>
                <a:lnTo>
                  <a:pt x="4563" y="20260"/>
                </a:lnTo>
                <a:lnTo>
                  <a:pt x="4868" y="20324"/>
                </a:lnTo>
                <a:lnTo>
                  <a:pt x="5324" y="20324"/>
                </a:lnTo>
                <a:lnTo>
                  <a:pt x="5324" y="20260"/>
                </a:lnTo>
                <a:lnTo>
                  <a:pt x="5172" y="20260"/>
                </a:lnTo>
                <a:lnTo>
                  <a:pt x="5172" y="20196"/>
                </a:lnTo>
                <a:lnTo>
                  <a:pt x="5324" y="20196"/>
                </a:lnTo>
                <a:lnTo>
                  <a:pt x="5324" y="20100"/>
                </a:lnTo>
                <a:lnTo>
                  <a:pt x="5172" y="20100"/>
                </a:lnTo>
                <a:lnTo>
                  <a:pt x="5172" y="20164"/>
                </a:lnTo>
                <a:lnTo>
                  <a:pt x="4868" y="20164"/>
                </a:lnTo>
                <a:lnTo>
                  <a:pt x="4868" y="20037"/>
                </a:lnTo>
                <a:lnTo>
                  <a:pt x="4563" y="20037"/>
                </a:lnTo>
                <a:lnTo>
                  <a:pt x="4563" y="19877"/>
                </a:lnTo>
                <a:lnTo>
                  <a:pt x="4868" y="19877"/>
                </a:lnTo>
                <a:lnTo>
                  <a:pt x="4868" y="19941"/>
                </a:lnTo>
                <a:lnTo>
                  <a:pt x="5172" y="19941"/>
                </a:lnTo>
                <a:lnTo>
                  <a:pt x="5172" y="19877"/>
                </a:lnTo>
                <a:lnTo>
                  <a:pt x="4868" y="19877"/>
                </a:lnTo>
                <a:lnTo>
                  <a:pt x="4868" y="19781"/>
                </a:lnTo>
                <a:lnTo>
                  <a:pt x="4259" y="19781"/>
                </a:lnTo>
                <a:lnTo>
                  <a:pt x="4259" y="19718"/>
                </a:lnTo>
                <a:lnTo>
                  <a:pt x="4107" y="19718"/>
                </a:lnTo>
                <a:lnTo>
                  <a:pt x="3803" y="19654"/>
                </a:lnTo>
                <a:lnTo>
                  <a:pt x="3803" y="19558"/>
                </a:lnTo>
                <a:lnTo>
                  <a:pt x="4868" y="19558"/>
                </a:lnTo>
                <a:lnTo>
                  <a:pt x="4868" y="19430"/>
                </a:lnTo>
                <a:lnTo>
                  <a:pt x="4563" y="19494"/>
                </a:lnTo>
                <a:lnTo>
                  <a:pt x="4107" y="19494"/>
                </a:lnTo>
                <a:lnTo>
                  <a:pt x="4107" y="19367"/>
                </a:lnTo>
                <a:lnTo>
                  <a:pt x="3803" y="19367"/>
                </a:lnTo>
                <a:lnTo>
                  <a:pt x="3803" y="19271"/>
                </a:lnTo>
                <a:lnTo>
                  <a:pt x="4259" y="19271"/>
                </a:lnTo>
                <a:lnTo>
                  <a:pt x="4259" y="19207"/>
                </a:lnTo>
                <a:lnTo>
                  <a:pt x="3499" y="19207"/>
                </a:lnTo>
                <a:lnTo>
                  <a:pt x="3194" y="19143"/>
                </a:lnTo>
                <a:lnTo>
                  <a:pt x="3042" y="19143"/>
                </a:lnTo>
                <a:lnTo>
                  <a:pt x="2738" y="19111"/>
                </a:lnTo>
                <a:lnTo>
                  <a:pt x="2738" y="19048"/>
                </a:lnTo>
                <a:lnTo>
                  <a:pt x="3042" y="19048"/>
                </a:lnTo>
                <a:lnTo>
                  <a:pt x="3042" y="18984"/>
                </a:lnTo>
                <a:lnTo>
                  <a:pt x="3499" y="18984"/>
                </a:lnTo>
                <a:lnTo>
                  <a:pt x="3499" y="19048"/>
                </a:lnTo>
                <a:lnTo>
                  <a:pt x="3803" y="19048"/>
                </a:lnTo>
                <a:lnTo>
                  <a:pt x="3803" y="18984"/>
                </a:lnTo>
                <a:lnTo>
                  <a:pt x="3499" y="18984"/>
                </a:lnTo>
                <a:lnTo>
                  <a:pt x="3499" y="18665"/>
                </a:lnTo>
                <a:lnTo>
                  <a:pt x="4107" y="18665"/>
                </a:lnTo>
                <a:lnTo>
                  <a:pt x="4259" y="18601"/>
                </a:lnTo>
                <a:lnTo>
                  <a:pt x="3499" y="18601"/>
                </a:lnTo>
                <a:lnTo>
                  <a:pt x="3499" y="18537"/>
                </a:lnTo>
                <a:lnTo>
                  <a:pt x="3194" y="18537"/>
                </a:lnTo>
                <a:lnTo>
                  <a:pt x="3194" y="18601"/>
                </a:lnTo>
                <a:lnTo>
                  <a:pt x="3042" y="18601"/>
                </a:lnTo>
                <a:lnTo>
                  <a:pt x="3042" y="18665"/>
                </a:lnTo>
                <a:lnTo>
                  <a:pt x="3194" y="18665"/>
                </a:lnTo>
                <a:lnTo>
                  <a:pt x="3194" y="18888"/>
                </a:lnTo>
                <a:lnTo>
                  <a:pt x="3042" y="18888"/>
                </a:lnTo>
                <a:lnTo>
                  <a:pt x="3042" y="18920"/>
                </a:lnTo>
                <a:lnTo>
                  <a:pt x="2738" y="18984"/>
                </a:lnTo>
                <a:lnTo>
                  <a:pt x="2434" y="18984"/>
                </a:lnTo>
                <a:lnTo>
                  <a:pt x="2130" y="18920"/>
                </a:lnTo>
                <a:lnTo>
                  <a:pt x="2434" y="18920"/>
                </a:lnTo>
                <a:lnTo>
                  <a:pt x="2434" y="18888"/>
                </a:lnTo>
                <a:lnTo>
                  <a:pt x="2130" y="18888"/>
                </a:lnTo>
                <a:lnTo>
                  <a:pt x="2130" y="18824"/>
                </a:lnTo>
                <a:lnTo>
                  <a:pt x="2434" y="18824"/>
                </a:lnTo>
                <a:lnTo>
                  <a:pt x="2434" y="18760"/>
                </a:lnTo>
                <a:lnTo>
                  <a:pt x="2130" y="18697"/>
                </a:lnTo>
                <a:lnTo>
                  <a:pt x="2434" y="18697"/>
                </a:lnTo>
                <a:lnTo>
                  <a:pt x="2434" y="18665"/>
                </a:lnTo>
                <a:lnTo>
                  <a:pt x="2130" y="18665"/>
                </a:lnTo>
                <a:lnTo>
                  <a:pt x="2130" y="18601"/>
                </a:lnTo>
                <a:lnTo>
                  <a:pt x="1977" y="18601"/>
                </a:lnTo>
                <a:lnTo>
                  <a:pt x="1977" y="18824"/>
                </a:lnTo>
                <a:lnTo>
                  <a:pt x="1369" y="18824"/>
                </a:lnTo>
                <a:lnTo>
                  <a:pt x="1369" y="18760"/>
                </a:lnTo>
                <a:lnTo>
                  <a:pt x="1065" y="18697"/>
                </a:lnTo>
                <a:lnTo>
                  <a:pt x="1065" y="18665"/>
                </a:lnTo>
                <a:lnTo>
                  <a:pt x="913" y="18601"/>
                </a:lnTo>
                <a:lnTo>
                  <a:pt x="913" y="18473"/>
                </a:lnTo>
                <a:lnTo>
                  <a:pt x="1065" y="18473"/>
                </a:lnTo>
                <a:lnTo>
                  <a:pt x="1065" y="18441"/>
                </a:lnTo>
                <a:lnTo>
                  <a:pt x="1369" y="18441"/>
                </a:lnTo>
                <a:lnTo>
                  <a:pt x="1369" y="18473"/>
                </a:lnTo>
                <a:lnTo>
                  <a:pt x="1673" y="18473"/>
                </a:lnTo>
                <a:lnTo>
                  <a:pt x="1673" y="18378"/>
                </a:lnTo>
                <a:lnTo>
                  <a:pt x="1369" y="18378"/>
                </a:lnTo>
                <a:lnTo>
                  <a:pt x="1369" y="18314"/>
                </a:lnTo>
                <a:lnTo>
                  <a:pt x="1673" y="18314"/>
                </a:lnTo>
                <a:lnTo>
                  <a:pt x="1673" y="18250"/>
                </a:lnTo>
                <a:lnTo>
                  <a:pt x="1977" y="18250"/>
                </a:lnTo>
                <a:lnTo>
                  <a:pt x="2130" y="18314"/>
                </a:lnTo>
                <a:lnTo>
                  <a:pt x="2130" y="18378"/>
                </a:lnTo>
                <a:lnTo>
                  <a:pt x="2434" y="18378"/>
                </a:lnTo>
                <a:lnTo>
                  <a:pt x="2434" y="18314"/>
                </a:lnTo>
                <a:lnTo>
                  <a:pt x="2130" y="18314"/>
                </a:lnTo>
                <a:lnTo>
                  <a:pt x="2130" y="18250"/>
                </a:lnTo>
                <a:lnTo>
                  <a:pt x="1977" y="18250"/>
                </a:lnTo>
                <a:lnTo>
                  <a:pt x="1977" y="18090"/>
                </a:lnTo>
                <a:lnTo>
                  <a:pt x="2130" y="18090"/>
                </a:lnTo>
                <a:lnTo>
                  <a:pt x="2434" y="18027"/>
                </a:lnTo>
                <a:lnTo>
                  <a:pt x="2130" y="18027"/>
                </a:lnTo>
                <a:lnTo>
                  <a:pt x="1977" y="17995"/>
                </a:lnTo>
                <a:lnTo>
                  <a:pt x="1977" y="17867"/>
                </a:lnTo>
                <a:lnTo>
                  <a:pt x="2130" y="17867"/>
                </a:lnTo>
                <a:lnTo>
                  <a:pt x="2130" y="17931"/>
                </a:lnTo>
                <a:lnTo>
                  <a:pt x="2434" y="17931"/>
                </a:lnTo>
                <a:lnTo>
                  <a:pt x="2434" y="17771"/>
                </a:lnTo>
                <a:lnTo>
                  <a:pt x="2130" y="17771"/>
                </a:lnTo>
                <a:lnTo>
                  <a:pt x="2130" y="17708"/>
                </a:lnTo>
                <a:lnTo>
                  <a:pt x="2738" y="17708"/>
                </a:lnTo>
                <a:lnTo>
                  <a:pt x="2738" y="17931"/>
                </a:lnTo>
                <a:lnTo>
                  <a:pt x="3042" y="17931"/>
                </a:lnTo>
                <a:lnTo>
                  <a:pt x="3042" y="18027"/>
                </a:lnTo>
                <a:lnTo>
                  <a:pt x="2738" y="18027"/>
                </a:lnTo>
                <a:lnTo>
                  <a:pt x="2738" y="18090"/>
                </a:lnTo>
                <a:lnTo>
                  <a:pt x="3042" y="18090"/>
                </a:lnTo>
                <a:lnTo>
                  <a:pt x="3042" y="18218"/>
                </a:lnTo>
                <a:lnTo>
                  <a:pt x="3194" y="18218"/>
                </a:lnTo>
                <a:lnTo>
                  <a:pt x="3194" y="18090"/>
                </a:lnTo>
                <a:lnTo>
                  <a:pt x="3499" y="18090"/>
                </a:lnTo>
                <a:lnTo>
                  <a:pt x="3499" y="17931"/>
                </a:lnTo>
                <a:lnTo>
                  <a:pt x="4107" y="17931"/>
                </a:lnTo>
                <a:lnTo>
                  <a:pt x="4107" y="17995"/>
                </a:lnTo>
                <a:lnTo>
                  <a:pt x="4259" y="17995"/>
                </a:lnTo>
                <a:lnTo>
                  <a:pt x="4259" y="17867"/>
                </a:lnTo>
                <a:lnTo>
                  <a:pt x="4107" y="17867"/>
                </a:lnTo>
                <a:lnTo>
                  <a:pt x="4107" y="17803"/>
                </a:lnTo>
                <a:lnTo>
                  <a:pt x="3499" y="17803"/>
                </a:lnTo>
                <a:lnTo>
                  <a:pt x="3499" y="17771"/>
                </a:lnTo>
                <a:lnTo>
                  <a:pt x="3042" y="17644"/>
                </a:lnTo>
                <a:lnTo>
                  <a:pt x="2738" y="17644"/>
                </a:lnTo>
                <a:lnTo>
                  <a:pt x="3042" y="17580"/>
                </a:lnTo>
                <a:lnTo>
                  <a:pt x="3194" y="17580"/>
                </a:lnTo>
                <a:lnTo>
                  <a:pt x="3194" y="17548"/>
                </a:lnTo>
                <a:lnTo>
                  <a:pt x="3499" y="17484"/>
                </a:lnTo>
                <a:lnTo>
                  <a:pt x="3499" y="17420"/>
                </a:lnTo>
                <a:lnTo>
                  <a:pt x="3803" y="17420"/>
                </a:lnTo>
                <a:lnTo>
                  <a:pt x="3803" y="17357"/>
                </a:lnTo>
                <a:lnTo>
                  <a:pt x="3194" y="17261"/>
                </a:lnTo>
                <a:lnTo>
                  <a:pt x="3194" y="17197"/>
                </a:lnTo>
                <a:lnTo>
                  <a:pt x="3499" y="17133"/>
                </a:lnTo>
                <a:lnTo>
                  <a:pt x="3803" y="17133"/>
                </a:lnTo>
                <a:lnTo>
                  <a:pt x="3803" y="17101"/>
                </a:lnTo>
                <a:lnTo>
                  <a:pt x="4107" y="17101"/>
                </a:lnTo>
                <a:lnTo>
                  <a:pt x="4107" y="17133"/>
                </a:lnTo>
                <a:lnTo>
                  <a:pt x="4259" y="17101"/>
                </a:lnTo>
                <a:lnTo>
                  <a:pt x="4259" y="17038"/>
                </a:lnTo>
                <a:lnTo>
                  <a:pt x="4563" y="16974"/>
                </a:lnTo>
                <a:lnTo>
                  <a:pt x="4259" y="16974"/>
                </a:lnTo>
                <a:lnTo>
                  <a:pt x="4107" y="16942"/>
                </a:lnTo>
                <a:lnTo>
                  <a:pt x="3803" y="16942"/>
                </a:lnTo>
                <a:lnTo>
                  <a:pt x="3803" y="16878"/>
                </a:lnTo>
                <a:lnTo>
                  <a:pt x="3499" y="16878"/>
                </a:lnTo>
                <a:lnTo>
                  <a:pt x="3499" y="16814"/>
                </a:lnTo>
                <a:lnTo>
                  <a:pt x="3042" y="16814"/>
                </a:lnTo>
                <a:lnTo>
                  <a:pt x="3042" y="16942"/>
                </a:lnTo>
                <a:lnTo>
                  <a:pt x="2738" y="16942"/>
                </a:lnTo>
                <a:lnTo>
                  <a:pt x="2434" y="16878"/>
                </a:lnTo>
                <a:lnTo>
                  <a:pt x="2434" y="16814"/>
                </a:lnTo>
                <a:lnTo>
                  <a:pt x="1673" y="16814"/>
                </a:lnTo>
                <a:lnTo>
                  <a:pt x="1673" y="16718"/>
                </a:lnTo>
                <a:lnTo>
                  <a:pt x="1369" y="16718"/>
                </a:lnTo>
                <a:lnTo>
                  <a:pt x="1065" y="16750"/>
                </a:lnTo>
                <a:lnTo>
                  <a:pt x="913" y="16750"/>
                </a:lnTo>
                <a:lnTo>
                  <a:pt x="913" y="16878"/>
                </a:lnTo>
                <a:lnTo>
                  <a:pt x="1065" y="16878"/>
                </a:lnTo>
                <a:lnTo>
                  <a:pt x="1065" y="16942"/>
                </a:lnTo>
                <a:lnTo>
                  <a:pt x="608" y="16942"/>
                </a:lnTo>
                <a:lnTo>
                  <a:pt x="304" y="16878"/>
                </a:lnTo>
                <a:lnTo>
                  <a:pt x="0" y="16878"/>
                </a:lnTo>
                <a:lnTo>
                  <a:pt x="0" y="16718"/>
                </a:lnTo>
                <a:lnTo>
                  <a:pt x="304" y="16718"/>
                </a:lnTo>
                <a:lnTo>
                  <a:pt x="608" y="16655"/>
                </a:lnTo>
                <a:lnTo>
                  <a:pt x="913" y="16655"/>
                </a:lnTo>
                <a:lnTo>
                  <a:pt x="1065" y="16591"/>
                </a:lnTo>
                <a:lnTo>
                  <a:pt x="1065" y="16527"/>
                </a:lnTo>
                <a:lnTo>
                  <a:pt x="1673" y="16527"/>
                </a:lnTo>
                <a:lnTo>
                  <a:pt x="1673" y="16495"/>
                </a:lnTo>
                <a:lnTo>
                  <a:pt x="2130" y="16495"/>
                </a:lnTo>
                <a:lnTo>
                  <a:pt x="2130" y="16431"/>
                </a:lnTo>
                <a:lnTo>
                  <a:pt x="2434" y="16431"/>
                </a:lnTo>
                <a:lnTo>
                  <a:pt x="2434" y="16304"/>
                </a:lnTo>
                <a:lnTo>
                  <a:pt x="2130" y="16304"/>
                </a:lnTo>
                <a:lnTo>
                  <a:pt x="2130" y="16368"/>
                </a:lnTo>
                <a:lnTo>
                  <a:pt x="1977" y="16368"/>
                </a:lnTo>
                <a:lnTo>
                  <a:pt x="1977" y="16304"/>
                </a:lnTo>
                <a:lnTo>
                  <a:pt x="1673" y="16304"/>
                </a:lnTo>
                <a:lnTo>
                  <a:pt x="1673" y="16272"/>
                </a:lnTo>
                <a:lnTo>
                  <a:pt x="2130" y="16272"/>
                </a:lnTo>
                <a:lnTo>
                  <a:pt x="2130" y="16208"/>
                </a:lnTo>
                <a:lnTo>
                  <a:pt x="2434" y="16208"/>
                </a:lnTo>
                <a:lnTo>
                  <a:pt x="2738" y="16272"/>
                </a:lnTo>
                <a:lnTo>
                  <a:pt x="3042" y="16208"/>
                </a:lnTo>
                <a:lnTo>
                  <a:pt x="3042" y="16272"/>
                </a:lnTo>
                <a:lnTo>
                  <a:pt x="3194" y="16272"/>
                </a:lnTo>
                <a:lnTo>
                  <a:pt x="3194" y="16208"/>
                </a:lnTo>
                <a:lnTo>
                  <a:pt x="4107" y="16208"/>
                </a:lnTo>
                <a:lnTo>
                  <a:pt x="4107" y="16272"/>
                </a:lnTo>
                <a:lnTo>
                  <a:pt x="4259" y="16272"/>
                </a:lnTo>
                <a:lnTo>
                  <a:pt x="4259" y="16431"/>
                </a:lnTo>
                <a:lnTo>
                  <a:pt x="4107" y="16431"/>
                </a:lnTo>
                <a:lnTo>
                  <a:pt x="4107" y="16495"/>
                </a:lnTo>
                <a:lnTo>
                  <a:pt x="4259" y="16495"/>
                </a:lnTo>
                <a:lnTo>
                  <a:pt x="4259" y="16527"/>
                </a:lnTo>
                <a:lnTo>
                  <a:pt x="4563" y="16527"/>
                </a:lnTo>
                <a:lnTo>
                  <a:pt x="4563" y="16495"/>
                </a:lnTo>
                <a:lnTo>
                  <a:pt x="4259" y="16495"/>
                </a:lnTo>
                <a:lnTo>
                  <a:pt x="4259" y="16431"/>
                </a:lnTo>
                <a:lnTo>
                  <a:pt x="4868" y="16431"/>
                </a:lnTo>
                <a:lnTo>
                  <a:pt x="4868" y="16527"/>
                </a:lnTo>
                <a:lnTo>
                  <a:pt x="4563" y="16591"/>
                </a:lnTo>
                <a:lnTo>
                  <a:pt x="4563" y="16718"/>
                </a:lnTo>
                <a:lnTo>
                  <a:pt x="4868" y="16718"/>
                </a:lnTo>
                <a:lnTo>
                  <a:pt x="4868" y="16655"/>
                </a:lnTo>
                <a:lnTo>
                  <a:pt x="5172" y="16591"/>
                </a:lnTo>
                <a:lnTo>
                  <a:pt x="5324" y="16591"/>
                </a:lnTo>
                <a:lnTo>
                  <a:pt x="5324" y="16495"/>
                </a:lnTo>
                <a:lnTo>
                  <a:pt x="5172" y="16527"/>
                </a:lnTo>
                <a:lnTo>
                  <a:pt x="5172" y="16304"/>
                </a:lnTo>
                <a:lnTo>
                  <a:pt x="5324" y="16272"/>
                </a:lnTo>
                <a:lnTo>
                  <a:pt x="5324" y="16208"/>
                </a:lnTo>
                <a:lnTo>
                  <a:pt x="5628" y="16208"/>
                </a:lnTo>
                <a:lnTo>
                  <a:pt x="5628" y="16144"/>
                </a:lnTo>
                <a:lnTo>
                  <a:pt x="5932" y="16144"/>
                </a:lnTo>
                <a:lnTo>
                  <a:pt x="5932" y="16080"/>
                </a:lnTo>
                <a:lnTo>
                  <a:pt x="5628" y="16144"/>
                </a:lnTo>
                <a:lnTo>
                  <a:pt x="5324" y="16144"/>
                </a:lnTo>
                <a:lnTo>
                  <a:pt x="5628" y="16080"/>
                </a:lnTo>
                <a:lnTo>
                  <a:pt x="5628" y="15985"/>
                </a:lnTo>
                <a:lnTo>
                  <a:pt x="5932" y="15985"/>
                </a:lnTo>
                <a:lnTo>
                  <a:pt x="5932" y="15857"/>
                </a:lnTo>
                <a:lnTo>
                  <a:pt x="5628" y="15857"/>
                </a:lnTo>
                <a:lnTo>
                  <a:pt x="5628" y="15825"/>
                </a:lnTo>
                <a:lnTo>
                  <a:pt x="5932" y="15825"/>
                </a:lnTo>
                <a:lnTo>
                  <a:pt x="5932" y="15474"/>
                </a:lnTo>
                <a:lnTo>
                  <a:pt x="5628" y="15474"/>
                </a:lnTo>
                <a:lnTo>
                  <a:pt x="5628" y="15410"/>
                </a:lnTo>
                <a:lnTo>
                  <a:pt x="6237" y="15410"/>
                </a:lnTo>
                <a:lnTo>
                  <a:pt x="6237" y="15315"/>
                </a:lnTo>
                <a:lnTo>
                  <a:pt x="6997" y="15315"/>
                </a:lnTo>
                <a:lnTo>
                  <a:pt x="6997" y="15378"/>
                </a:lnTo>
                <a:lnTo>
                  <a:pt x="7301" y="15378"/>
                </a:lnTo>
                <a:lnTo>
                  <a:pt x="7301" y="15474"/>
                </a:lnTo>
                <a:lnTo>
                  <a:pt x="6997" y="15474"/>
                </a:lnTo>
                <a:lnTo>
                  <a:pt x="6997" y="15538"/>
                </a:lnTo>
                <a:lnTo>
                  <a:pt x="6693" y="15602"/>
                </a:lnTo>
                <a:lnTo>
                  <a:pt x="6389" y="15602"/>
                </a:lnTo>
                <a:lnTo>
                  <a:pt x="6389" y="15634"/>
                </a:lnTo>
                <a:lnTo>
                  <a:pt x="6693" y="15602"/>
                </a:lnTo>
                <a:lnTo>
                  <a:pt x="6997" y="15602"/>
                </a:lnTo>
                <a:lnTo>
                  <a:pt x="7454" y="15474"/>
                </a:lnTo>
                <a:lnTo>
                  <a:pt x="7454" y="15378"/>
                </a:lnTo>
                <a:lnTo>
                  <a:pt x="7301" y="15378"/>
                </a:lnTo>
                <a:lnTo>
                  <a:pt x="6997" y="15315"/>
                </a:lnTo>
                <a:lnTo>
                  <a:pt x="6997" y="15251"/>
                </a:lnTo>
                <a:lnTo>
                  <a:pt x="6693" y="15251"/>
                </a:lnTo>
                <a:lnTo>
                  <a:pt x="6389" y="15187"/>
                </a:lnTo>
                <a:lnTo>
                  <a:pt x="6237" y="15187"/>
                </a:lnTo>
                <a:lnTo>
                  <a:pt x="6237" y="15155"/>
                </a:lnTo>
                <a:lnTo>
                  <a:pt x="6389" y="15155"/>
                </a:lnTo>
                <a:lnTo>
                  <a:pt x="6389" y="15027"/>
                </a:lnTo>
                <a:lnTo>
                  <a:pt x="6693" y="15027"/>
                </a:lnTo>
                <a:lnTo>
                  <a:pt x="6693" y="14932"/>
                </a:lnTo>
                <a:lnTo>
                  <a:pt x="7301" y="14932"/>
                </a:lnTo>
                <a:lnTo>
                  <a:pt x="7301" y="14868"/>
                </a:lnTo>
                <a:lnTo>
                  <a:pt x="6693" y="14868"/>
                </a:lnTo>
                <a:lnTo>
                  <a:pt x="6693" y="14804"/>
                </a:lnTo>
                <a:lnTo>
                  <a:pt x="6389" y="14740"/>
                </a:lnTo>
                <a:lnTo>
                  <a:pt x="6389" y="14708"/>
                </a:lnTo>
                <a:lnTo>
                  <a:pt x="6997" y="14581"/>
                </a:lnTo>
                <a:lnTo>
                  <a:pt x="6997" y="14485"/>
                </a:lnTo>
                <a:lnTo>
                  <a:pt x="7301" y="14485"/>
                </a:lnTo>
                <a:lnTo>
                  <a:pt x="7301" y="14262"/>
                </a:lnTo>
                <a:lnTo>
                  <a:pt x="6997" y="14262"/>
                </a:lnTo>
                <a:lnTo>
                  <a:pt x="6997" y="14134"/>
                </a:lnTo>
                <a:lnTo>
                  <a:pt x="7454" y="14134"/>
                </a:lnTo>
                <a:lnTo>
                  <a:pt x="7454" y="14070"/>
                </a:lnTo>
                <a:lnTo>
                  <a:pt x="7301" y="14038"/>
                </a:lnTo>
                <a:lnTo>
                  <a:pt x="7301" y="13975"/>
                </a:lnTo>
                <a:lnTo>
                  <a:pt x="7454" y="13975"/>
                </a:lnTo>
                <a:lnTo>
                  <a:pt x="7454" y="13911"/>
                </a:lnTo>
                <a:lnTo>
                  <a:pt x="7758" y="13911"/>
                </a:lnTo>
                <a:lnTo>
                  <a:pt x="8062" y="13975"/>
                </a:lnTo>
                <a:lnTo>
                  <a:pt x="8062" y="13815"/>
                </a:lnTo>
                <a:lnTo>
                  <a:pt x="6997" y="13815"/>
                </a:lnTo>
                <a:lnTo>
                  <a:pt x="6997" y="13751"/>
                </a:lnTo>
                <a:lnTo>
                  <a:pt x="7301" y="13751"/>
                </a:lnTo>
                <a:lnTo>
                  <a:pt x="7454" y="13687"/>
                </a:lnTo>
                <a:lnTo>
                  <a:pt x="7758" y="13687"/>
                </a:lnTo>
                <a:lnTo>
                  <a:pt x="7758" y="13656"/>
                </a:lnTo>
                <a:lnTo>
                  <a:pt x="7301" y="13656"/>
                </a:lnTo>
                <a:lnTo>
                  <a:pt x="6997" y="13592"/>
                </a:lnTo>
                <a:lnTo>
                  <a:pt x="6389" y="13592"/>
                </a:lnTo>
                <a:lnTo>
                  <a:pt x="6389" y="13687"/>
                </a:lnTo>
                <a:lnTo>
                  <a:pt x="5324" y="13687"/>
                </a:lnTo>
                <a:lnTo>
                  <a:pt x="5324" y="13815"/>
                </a:lnTo>
                <a:lnTo>
                  <a:pt x="5628" y="13815"/>
                </a:lnTo>
                <a:lnTo>
                  <a:pt x="5628" y="13911"/>
                </a:lnTo>
                <a:lnTo>
                  <a:pt x="5932" y="13911"/>
                </a:lnTo>
                <a:lnTo>
                  <a:pt x="5932" y="14038"/>
                </a:lnTo>
                <a:lnTo>
                  <a:pt x="5172" y="14038"/>
                </a:lnTo>
                <a:lnTo>
                  <a:pt x="5172" y="14134"/>
                </a:lnTo>
                <a:lnTo>
                  <a:pt x="4868" y="14134"/>
                </a:lnTo>
                <a:lnTo>
                  <a:pt x="4868" y="14198"/>
                </a:lnTo>
                <a:lnTo>
                  <a:pt x="5172" y="14198"/>
                </a:lnTo>
                <a:lnTo>
                  <a:pt x="5172" y="14262"/>
                </a:lnTo>
                <a:lnTo>
                  <a:pt x="5324" y="14262"/>
                </a:lnTo>
                <a:lnTo>
                  <a:pt x="5324" y="14294"/>
                </a:lnTo>
                <a:lnTo>
                  <a:pt x="5628" y="14294"/>
                </a:lnTo>
                <a:lnTo>
                  <a:pt x="5628" y="14357"/>
                </a:lnTo>
                <a:lnTo>
                  <a:pt x="5324" y="14357"/>
                </a:lnTo>
                <a:lnTo>
                  <a:pt x="5324" y="14421"/>
                </a:lnTo>
                <a:lnTo>
                  <a:pt x="5628" y="14485"/>
                </a:lnTo>
                <a:lnTo>
                  <a:pt x="4868" y="14485"/>
                </a:lnTo>
                <a:lnTo>
                  <a:pt x="4868" y="14581"/>
                </a:lnTo>
                <a:lnTo>
                  <a:pt x="5172" y="14581"/>
                </a:lnTo>
                <a:lnTo>
                  <a:pt x="5172" y="14645"/>
                </a:lnTo>
                <a:lnTo>
                  <a:pt x="4868" y="14645"/>
                </a:lnTo>
                <a:lnTo>
                  <a:pt x="4868" y="14708"/>
                </a:lnTo>
                <a:lnTo>
                  <a:pt x="4563" y="14708"/>
                </a:lnTo>
                <a:lnTo>
                  <a:pt x="4259" y="14645"/>
                </a:lnTo>
                <a:lnTo>
                  <a:pt x="3803" y="14645"/>
                </a:lnTo>
                <a:lnTo>
                  <a:pt x="3803" y="14581"/>
                </a:lnTo>
                <a:lnTo>
                  <a:pt x="3194" y="14581"/>
                </a:lnTo>
                <a:lnTo>
                  <a:pt x="3194" y="14517"/>
                </a:lnTo>
                <a:lnTo>
                  <a:pt x="3499" y="14517"/>
                </a:lnTo>
                <a:lnTo>
                  <a:pt x="3803" y="14485"/>
                </a:lnTo>
                <a:lnTo>
                  <a:pt x="3803" y="13975"/>
                </a:lnTo>
                <a:lnTo>
                  <a:pt x="4107" y="13911"/>
                </a:lnTo>
                <a:lnTo>
                  <a:pt x="4107" y="13751"/>
                </a:lnTo>
                <a:lnTo>
                  <a:pt x="4259" y="13751"/>
                </a:lnTo>
                <a:lnTo>
                  <a:pt x="4259" y="13687"/>
                </a:lnTo>
                <a:lnTo>
                  <a:pt x="4563" y="13687"/>
                </a:lnTo>
                <a:lnTo>
                  <a:pt x="4563" y="13751"/>
                </a:lnTo>
                <a:lnTo>
                  <a:pt x="4868" y="13751"/>
                </a:lnTo>
                <a:lnTo>
                  <a:pt x="4868" y="13687"/>
                </a:lnTo>
                <a:lnTo>
                  <a:pt x="5172" y="13687"/>
                </a:lnTo>
                <a:lnTo>
                  <a:pt x="5172" y="13528"/>
                </a:lnTo>
                <a:lnTo>
                  <a:pt x="4868" y="13528"/>
                </a:lnTo>
                <a:lnTo>
                  <a:pt x="4868" y="13464"/>
                </a:lnTo>
                <a:lnTo>
                  <a:pt x="4563" y="13432"/>
                </a:lnTo>
                <a:lnTo>
                  <a:pt x="4563" y="13241"/>
                </a:lnTo>
                <a:lnTo>
                  <a:pt x="4259" y="13241"/>
                </a:lnTo>
                <a:lnTo>
                  <a:pt x="4259" y="13081"/>
                </a:lnTo>
                <a:lnTo>
                  <a:pt x="4563" y="13017"/>
                </a:lnTo>
                <a:lnTo>
                  <a:pt x="4563" y="12922"/>
                </a:lnTo>
                <a:lnTo>
                  <a:pt x="4868" y="12922"/>
                </a:lnTo>
                <a:lnTo>
                  <a:pt x="4868" y="12794"/>
                </a:lnTo>
                <a:lnTo>
                  <a:pt x="5172" y="12762"/>
                </a:lnTo>
                <a:lnTo>
                  <a:pt x="5172" y="12571"/>
                </a:lnTo>
                <a:lnTo>
                  <a:pt x="5324" y="12539"/>
                </a:lnTo>
                <a:lnTo>
                  <a:pt x="5932" y="12539"/>
                </a:lnTo>
                <a:lnTo>
                  <a:pt x="5932" y="12347"/>
                </a:lnTo>
                <a:lnTo>
                  <a:pt x="6237" y="12347"/>
                </a:lnTo>
                <a:lnTo>
                  <a:pt x="6237" y="12188"/>
                </a:lnTo>
                <a:lnTo>
                  <a:pt x="5932" y="12124"/>
                </a:lnTo>
                <a:lnTo>
                  <a:pt x="5932" y="11965"/>
                </a:lnTo>
                <a:lnTo>
                  <a:pt x="5324" y="11869"/>
                </a:lnTo>
                <a:lnTo>
                  <a:pt x="5324" y="11295"/>
                </a:lnTo>
                <a:lnTo>
                  <a:pt x="5172" y="11199"/>
                </a:lnTo>
                <a:lnTo>
                  <a:pt x="5172" y="10912"/>
                </a:lnTo>
                <a:lnTo>
                  <a:pt x="6389" y="10912"/>
                </a:lnTo>
                <a:lnTo>
                  <a:pt x="6389" y="10625"/>
                </a:lnTo>
                <a:lnTo>
                  <a:pt x="6693" y="10625"/>
                </a:lnTo>
                <a:lnTo>
                  <a:pt x="6997" y="10593"/>
                </a:lnTo>
                <a:lnTo>
                  <a:pt x="6997" y="10465"/>
                </a:lnTo>
                <a:lnTo>
                  <a:pt x="7301" y="10369"/>
                </a:lnTo>
                <a:lnTo>
                  <a:pt x="7301" y="10242"/>
                </a:lnTo>
                <a:lnTo>
                  <a:pt x="7454" y="10178"/>
                </a:lnTo>
                <a:lnTo>
                  <a:pt x="7758" y="10082"/>
                </a:lnTo>
                <a:lnTo>
                  <a:pt x="7758" y="9923"/>
                </a:lnTo>
                <a:lnTo>
                  <a:pt x="8062" y="9923"/>
                </a:lnTo>
                <a:lnTo>
                  <a:pt x="8062" y="9859"/>
                </a:lnTo>
                <a:lnTo>
                  <a:pt x="8366" y="9795"/>
                </a:lnTo>
                <a:lnTo>
                  <a:pt x="8366" y="9731"/>
                </a:lnTo>
                <a:lnTo>
                  <a:pt x="8518" y="9731"/>
                </a:lnTo>
                <a:lnTo>
                  <a:pt x="8518" y="9635"/>
                </a:lnTo>
                <a:lnTo>
                  <a:pt x="8823" y="9572"/>
                </a:lnTo>
                <a:lnTo>
                  <a:pt x="8823" y="9476"/>
                </a:lnTo>
                <a:lnTo>
                  <a:pt x="9127" y="9476"/>
                </a:lnTo>
                <a:lnTo>
                  <a:pt x="9127" y="9189"/>
                </a:lnTo>
                <a:lnTo>
                  <a:pt x="9279" y="9125"/>
                </a:lnTo>
                <a:lnTo>
                  <a:pt x="9583" y="9029"/>
                </a:lnTo>
                <a:lnTo>
                  <a:pt x="9583" y="8965"/>
                </a:lnTo>
                <a:lnTo>
                  <a:pt x="9887" y="8965"/>
                </a:lnTo>
                <a:lnTo>
                  <a:pt x="9887" y="8455"/>
                </a:lnTo>
                <a:lnTo>
                  <a:pt x="10344" y="8359"/>
                </a:lnTo>
                <a:lnTo>
                  <a:pt x="10344" y="8232"/>
                </a:lnTo>
                <a:lnTo>
                  <a:pt x="10648" y="8232"/>
                </a:lnTo>
                <a:lnTo>
                  <a:pt x="10648" y="8136"/>
                </a:lnTo>
                <a:lnTo>
                  <a:pt x="10344" y="8072"/>
                </a:lnTo>
                <a:lnTo>
                  <a:pt x="10192" y="7944"/>
                </a:lnTo>
                <a:lnTo>
                  <a:pt x="10192" y="7338"/>
                </a:lnTo>
                <a:lnTo>
                  <a:pt x="9887" y="7306"/>
                </a:lnTo>
                <a:lnTo>
                  <a:pt x="9887" y="7019"/>
                </a:lnTo>
                <a:lnTo>
                  <a:pt x="10192" y="6955"/>
                </a:lnTo>
                <a:lnTo>
                  <a:pt x="10344" y="6955"/>
                </a:lnTo>
                <a:lnTo>
                  <a:pt x="10344" y="6892"/>
                </a:lnTo>
                <a:lnTo>
                  <a:pt x="10648" y="6892"/>
                </a:lnTo>
                <a:lnTo>
                  <a:pt x="10648" y="6860"/>
                </a:lnTo>
                <a:lnTo>
                  <a:pt x="10952" y="6860"/>
                </a:lnTo>
                <a:lnTo>
                  <a:pt x="10952" y="6509"/>
                </a:lnTo>
                <a:lnTo>
                  <a:pt x="10648" y="6445"/>
                </a:lnTo>
                <a:lnTo>
                  <a:pt x="10648" y="6413"/>
                </a:lnTo>
                <a:lnTo>
                  <a:pt x="10344" y="6349"/>
                </a:lnTo>
                <a:lnTo>
                  <a:pt x="10344" y="6190"/>
                </a:lnTo>
                <a:lnTo>
                  <a:pt x="10952" y="6062"/>
                </a:lnTo>
                <a:lnTo>
                  <a:pt x="11256" y="5966"/>
                </a:lnTo>
                <a:lnTo>
                  <a:pt x="11256" y="5679"/>
                </a:lnTo>
                <a:lnTo>
                  <a:pt x="11408" y="5615"/>
                </a:lnTo>
                <a:lnTo>
                  <a:pt x="11408" y="5552"/>
                </a:lnTo>
                <a:lnTo>
                  <a:pt x="11713" y="5520"/>
                </a:lnTo>
                <a:lnTo>
                  <a:pt x="11713" y="5169"/>
                </a:lnTo>
                <a:lnTo>
                  <a:pt x="12017" y="5105"/>
                </a:lnTo>
                <a:lnTo>
                  <a:pt x="12017" y="5073"/>
                </a:lnTo>
                <a:lnTo>
                  <a:pt x="12321" y="5009"/>
                </a:lnTo>
                <a:lnTo>
                  <a:pt x="12321" y="4786"/>
                </a:lnTo>
                <a:lnTo>
                  <a:pt x="12473" y="4786"/>
                </a:lnTo>
                <a:lnTo>
                  <a:pt x="12473" y="4626"/>
                </a:lnTo>
                <a:lnTo>
                  <a:pt x="12321" y="4562"/>
                </a:lnTo>
                <a:lnTo>
                  <a:pt x="12321" y="4467"/>
                </a:lnTo>
                <a:lnTo>
                  <a:pt x="12777" y="4339"/>
                </a:lnTo>
                <a:lnTo>
                  <a:pt x="13082" y="4243"/>
                </a:lnTo>
                <a:lnTo>
                  <a:pt x="13082" y="4116"/>
                </a:lnTo>
                <a:lnTo>
                  <a:pt x="12777" y="4116"/>
                </a:lnTo>
                <a:lnTo>
                  <a:pt x="12777" y="4020"/>
                </a:lnTo>
                <a:lnTo>
                  <a:pt x="12473" y="3892"/>
                </a:lnTo>
                <a:lnTo>
                  <a:pt x="12473" y="3573"/>
                </a:lnTo>
                <a:lnTo>
                  <a:pt x="12777" y="3510"/>
                </a:lnTo>
                <a:lnTo>
                  <a:pt x="12777" y="3222"/>
                </a:lnTo>
                <a:lnTo>
                  <a:pt x="12473" y="3222"/>
                </a:lnTo>
                <a:lnTo>
                  <a:pt x="12473" y="3127"/>
                </a:lnTo>
                <a:lnTo>
                  <a:pt x="12777" y="2999"/>
                </a:lnTo>
                <a:lnTo>
                  <a:pt x="12777" y="2935"/>
                </a:lnTo>
                <a:lnTo>
                  <a:pt x="13082" y="2935"/>
                </a:lnTo>
                <a:lnTo>
                  <a:pt x="13386" y="2903"/>
                </a:lnTo>
                <a:lnTo>
                  <a:pt x="13386" y="2712"/>
                </a:lnTo>
                <a:lnTo>
                  <a:pt x="13538" y="2712"/>
                </a:lnTo>
                <a:lnTo>
                  <a:pt x="13538" y="2393"/>
                </a:lnTo>
                <a:lnTo>
                  <a:pt x="13842" y="2329"/>
                </a:lnTo>
                <a:lnTo>
                  <a:pt x="13842" y="1787"/>
                </a:lnTo>
                <a:lnTo>
                  <a:pt x="13538" y="1723"/>
                </a:lnTo>
                <a:lnTo>
                  <a:pt x="13538" y="989"/>
                </a:lnTo>
                <a:lnTo>
                  <a:pt x="13386" y="957"/>
                </a:lnTo>
                <a:lnTo>
                  <a:pt x="13386" y="734"/>
                </a:lnTo>
                <a:lnTo>
                  <a:pt x="13082" y="670"/>
                </a:lnTo>
                <a:lnTo>
                  <a:pt x="13082" y="510"/>
                </a:lnTo>
                <a:lnTo>
                  <a:pt x="13386" y="510"/>
                </a:lnTo>
                <a:lnTo>
                  <a:pt x="13386" y="447"/>
                </a:lnTo>
                <a:lnTo>
                  <a:pt x="13842" y="447"/>
                </a:lnTo>
                <a:lnTo>
                  <a:pt x="13842" y="383"/>
                </a:lnTo>
                <a:lnTo>
                  <a:pt x="14451" y="383"/>
                </a:lnTo>
                <a:lnTo>
                  <a:pt x="14603" y="319"/>
                </a:lnTo>
                <a:lnTo>
                  <a:pt x="14603" y="223"/>
                </a:lnTo>
                <a:lnTo>
                  <a:pt x="14451" y="223"/>
                </a:lnTo>
                <a:lnTo>
                  <a:pt x="14451" y="160"/>
                </a:lnTo>
                <a:lnTo>
                  <a:pt x="14603" y="160"/>
                </a:lnTo>
                <a:lnTo>
                  <a:pt x="14603" y="96"/>
                </a:lnTo>
                <a:lnTo>
                  <a:pt x="14907" y="96"/>
                </a:lnTo>
                <a:lnTo>
                  <a:pt x="14907" y="64"/>
                </a:lnTo>
                <a:lnTo>
                  <a:pt x="15211" y="0"/>
                </a:lnTo>
                <a:close/>
                <a:moveTo>
                  <a:pt x="15211" y="0"/>
                </a:moveTo>
              </a:path>
            </a:pathLst>
          </a:custGeom>
          <a:solidFill>
            <a:srgbClr val="00BACF">
              <a:alpha val="50000"/>
            </a:srgbClr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84" name="Freeform 31"/>
          <p:cNvSpPr>
            <a:spLocks/>
          </p:cNvSpPr>
          <p:nvPr/>
        </p:nvSpPr>
        <p:spPr bwMode="auto">
          <a:xfrm>
            <a:off x="8118451" y="3336882"/>
            <a:ext cx="37033" cy="10627"/>
          </a:xfrm>
          <a:custGeom>
            <a:avLst/>
            <a:gdLst/>
            <a:ahLst/>
            <a:cxnLst>
              <a:cxn ang="0">
                <a:pos x="12600" y="0"/>
              </a:cxn>
              <a:cxn ang="0">
                <a:pos x="21600" y="0"/>
              </a:cxn>
              <a:cxn ang="0">
                <a:pos x="21600" y="8640"/>
              </a:cxn>
              <a:cxn ang="0">
                <a:pos x="19800" y="8640"/>
              </a:cxn>
              <a:cxn ang="0">
                <a:pos x="16200" y="12960"/>
              </a:cxn>
              <a:cxn ang="0">
                <a:pos x="16200" y="21600"/>
              </a:cxn>
              <a:cxn ang="0">
                <a:pos x="0" y="21600"/>
              </a:cxn>
              <a:cxn ang="0">
                <a:pos x="0" y="12960"/>
              </a:cxn>
              <a:cxn ang="0">
                <a:pos x="3600" y="8640"/>
              </a:cxn>
              <a:cxn ang="0">
                <a:pos x="12600" y="8640"/>
              </a:cxn>
              <a:cxn ang="0">
                <a:pos x="12600" y="0"/>
              </a:cxn>
              <a:cxn ang="0">
                <a:pos x="12600" y="0"/>
              </a:cxn>
            </a:cxnLst>
            <a:rect l="0" t="0" r="r" b="b"/>
            <a:pathLst>
              <a:path w="21600" h="21600">
                <a:moveTo>
                  <a:pt x="12600" y="0"/>
                </a:moveTo>
                <a:lnTo>
                  <a:pt x="21600" y="0"/>
                </a:lnTo>
                <a:lnTo>
                  <a:pt x="21600" y="8640"/>
                </a:lnTo>
                <a:lnTo>
                  <a:pt x="19800" y="8640"/>
                </a:lnTo>
                <a:lnTo>
                  <a:pt x="16200" y="12960"/>
                </a:lnTo>
                <a:lnTo>
                  <a:pt x="16200" y="21600"/>
                </a:lnTo>
                <a:lnTo>
                  <a:pt x="0" y="21600"/>
                </a:lnTo>
                <a:lnTo>
                  <a:pt x="0" y="12960"/>
                </a:lnTo>
                <a:lnTo>
                  <a:pt x="3600" y="8640"/>
                </a:lnTo>
                <a:lnTo>
                  <a:pt x="12600" y="8640"/>
                </a:lnTo>
                <a:lnTo>
                  <a:pt x="12600" y="0"/>
                </a:lnTo>
                <a:close/>
                <a:moveTo>
                  <a:pt x="12600" y="0"/>
                </a:moveTo>
              </a:path>
            </a:pathLst>
          </a:custGeom>
          <a:solidFill>
            <a:srgbClr val="00BACF"/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85" name="AutoShape 32"/>
          <p:cNvSpPr>
            <a:spLocks/>
          </p:cNvSpPr>
          <p:nvPr/>
        </p:nvSpPr>
        <p:spPr bwMode="auto">
          <a:xfrm>
            <a:off x="6976406" y="3174203"/>
            <a:ext cx="1895845" cy="1331643"/>
          </a:xfrm>
          <a:custGeom>
            <a:avLst/>
            <a:gdLst>
              <a:gd name="T0" fmla="*/ 10800 w 21600"/>
              <a:gd name="T1" fmla="*/ 10800 h 21600"/>
            </a:gdLst>
            <a:ahLst/>
            <a:cxnLst>
              <a:cxn ang="0">
                <a:pos x="T0" y="T1"/>
              </a:cxn>
            </a:cxnLst>
            <a:rect l="0" t="0" r="r" b="b"/>
            <a:pathLst>
              <a:path w="21600" h="21600">
                <a:moveTo>
                  <a:pt x="12843" y="3645"/>
                </a:moveTo>
                <a:lnTo>
                  <a:pt x="12843" y="3745"/>
                </a:lnTo>
                <a:lnTo>
                  <a:pt x="12912" y="3812"/>
                </a:lnTo>
                <a:lnTo>
                  <a:pt x="12946" y="3812"/>
                </a:lnTo>
                <a:lnTo>
                  <a:pt x="12912" y="3745"/>
                </a:lnTo>
                <a:lnTo>
                  <a:pt x="12912" y="3678"/>
                </a:lnTo>
                <a:lnTo>
                  <a:pt x="12843" y="3645"/>
                </a:lnTo>
                <a:close/>
                <a:moveTo>
                  <a:pt x="12362" y="3511"/>
                </a:moveTo>
                <a:lnTo>
                  <a:pt x="12294" y="3578"/>
                </a:lnTo>
                <a:lnTo>
                  <a:pt x="12225" y="3578"/>
                </a:lnTo>
                <a:lnTo>
                  <a:pt x="12225" y="3645"/>
                </a:lnTo>
                <a:lnTo>
                  <a:pt x="12294" y="3645"/>
                </a:lnTo>
                <a:lnTo>
                  <a:pt x="12294" y="3578"/>
                </a:lnTo>
                <a:lnTo>
                  <a:pt x="12362" y="3578"/>
                </a:lnTo>
                <a:lnTo>
                  <a:pt x="12362" y="3511"/>
                </a:lnTo>
                <a:close/>
                <a:moveTo>
                  <a:pt x="12191" y="3411"/>
                </a:moveTo>
                <a:lnTo>
                  <a:pt x="12191" y="3578"/>
                </a:lnTo>
                <a:lnTo>
                  <a:pt x="11882" y="3578"/>
                </a:lnTo>
                <a:lnTo>
                  <a:pt x="11882" y="3645"/>
                </a:lnTo>
                <a:lnTo>
                  <a:pt x="11813" y="3645"/>
                </a:lnTo>
                <a:lnTo>
                  <a:pt x="11744" y="3678"/>
                </a:lnTo>
                <a:lnTo>
                  <a:pt x="11813" y="3678"/>
                </a:lnTo>
                <a:lnTo>
                  <a:pt x="11882" y="3645"/>
                </a:lnTo>
                <a:lnTo>
                  <a:pt x="11950" y="3645"/>
                </a:lnTo>
                <a:lnTo>
                  <a:pt x="11985" y="3678"/>
                </a:lnTo>
                <a:lnTo>
                  <a:pt x="11985" y="3745"/>
                </a:lnTo>
                <a:lnTo>
                  <a:pt x="12053" y="3745"/>
                </a:lnTo>
                <a:lnTo>
                  <a:pt x="12191" y="3645"/>
                </a:lnTo>
                <a:lnTo>
                  <a:pt x="12191" y="3578"/>
                </a:lnTo>
                <a:lnTo>
                  <a:pt x="12225" y="3511"/>
                </a:lnTo>
                <a:lnTo>
                  <a:pt x="12225" y="3411"/>
                </a:lnTo>
                <a:lnTo>
                  <a:pt x="12191" y="3411"/>
                </a:lnTo>
                <a:close/>
                <a:moveTo>
                  <a:pt x="12603" y="3277"/>
                </a:moveTo>
                <a:lnTo>
                  <a:pt x="12672" y="3277"/>
                </a:lnTo>
                <a:lnTo>
                  <a:pt x="12603" y="3344"/>
                </a:lnTo>
                <a:lnTo>
                  <a:pt x="12603" y="3277"/>
                </a:lnTo>
                <a:close/>
                <a:moveTo>
                  <a:pt x="12225" y="3277"/>
                </a:moveTo>
                <a:lnTo>
                  <a:pt x="12225" y="3344"/>
                </a:lnTo>
                <a:lnTo>
                  <a:pt x="12294" y="3277"/>
                </a:lnTo>
                <a:lnTo>
                  <a:pt x="12225" y="3277"/>
                </a:lnTo>
                <a:close/>
                <a:moveTo>
                  <a:pt x="7314" y="0"/>
                </a:moveTo>
                <a:lnTo>
                  <a:pt x="7624" y="0"/>
                </a:lnTo>
                <a:lnTo>
                  <a:pt x="7692" y="67"/>
                </a:lnTo>
                <a:lnTo>
                  <a:pt x="7692" y="134"/>
                </a:lnTo>
                <a:lnTo>
                  <a:pt x="7727" y="134"/>
                </a:lnTo>
                <a:lnTo>
                  <a:pt x="7727" y="234"/>
                </a:lnTo>
                <a:lnTo>
                  <a:pt x="7692" y="234"/>
                </a:lnTo>
                <a:lnTo>
                  <a:pt x="7692" y="368"/>
                </a:lnTo>
                <a:lnTo>
                  <a:pt x="7624" y="368"/>
                </a:lnTo>
                <a:lnTo>
                  <a:pt x="7624" y="435"/>
                </a:lnTo>
                <a:lnTo>
                  <a:pt x="7795" y="435"/>
                </a:lnTo>
                <a:lnTo>
                  <a:pt x="7795" y="468"/>
                </a:lnTo>
                <a:lnTo>
                  <a:pt x="7864" y="468"/>
                </a:lnTo>
                <a:lnTo>
                  <a:pt x="7864" y="669"/>
                </a:lnTo>
                <a:lnTo>
                  <a:pt x="7967" y="669"/>
                </a:lnTo>
                <a:lnTo>
                  <a:pt x="7967" y="702"/>
                </a:lnTo>
                <a:lnTo>
                  <a:pt x="7933" y="702"/>
                </a:lnTo>
                <a:lnTo>
                  <a:pt x="7933" y="903"/>
                </a:lnTo>
                <a:lnTo>
                  <a:pt x="7864" y="903"/>
                </a:lnTo>
                <a:lnTo>
                  <a:pt x="7864" y="1003"/>
                </a:lnTo>
                <a:lnTo>
                  <a:pt x="7795" y="1003"/>
                </a:lnTo>
                <a:lnTo>
                  <a:pt x="7795" y="1605"/>
                </a:lnTo>
                <a:lnTo>
                  <a:pt x="7864" y="1605"/>
                </a:lnTo>
                <a:lnTo>
                  <a:pt x="7864" y="1772"/>
                </a:lnTo>
                <a:lnTo>
                  <a:pt x="7933" y="1772"/>
                </a:lnTo>
                <a:lnTo>
                  <a:pt x="7933" y="1872"/>
                </a:lnTo>
                <a:lnTo>
                  <a:pt x="7967" y="1872"/>
                </a:lnTo>
                <a:lnTo>
                  <a:pt x="7967" y="1939"/>
                </a:lnTo>
                <a:lnTo>
                  <a:pt x="8036" y="1939"/>
                </a:lnTo>
                <a:lnTo>
                  <a:pt x="8036" y="2006"/>
                </a:lnTo>
                <a:lnTo>
                  <a:pt x="8104" y="2040"/>
                </a:lnTo>
                <a:lnTo>
                  <a:pt x="8173" y="2040"/>
                </a:lnTo>
                <a:lnTo>
                  <a:pt x="8173" y="2107"/>
                </a:lnTo>
                <a:lnTo>
                  <a:pt x="8276" y="2107"/>
                </a:lnTo>
                <a:lnTo>
                  <a:pt x="8345" y="2173"/>
                </a:lnTo>
                <a:lnTo>
                  <a:pt x="8413" y="2173"/>
                </a:lnTo>
                <a:lnTo>
                  <a:pt x="8413" y="2240"/>
                </a:lnTo>
                <a:lnTo>
                  <a:pt x="8448" y="2240"/>
                </a:lnTo>
                <a:lnTo>
                  <a:pt x="8448" y="2173"/>
                </a:lnTo>
                <a:lnTo>
                  <a:pt x="8516" y="2173"/>
                </a:lnTo>
                <a:lnTo>
                  <a:pt x="8585" y="2107"/>
                </a:lnTo>
                <a:lnTo>
                  <a:pt x="8585" y="2006"/>
                </a:lnTo>
                <a:lnTo>
                  <a:pt x="8825" y="2006"/>
                </a:lnTo>
                <a:lnTo>
                  <a:pt x="8825" y="1939"/>
                </a:lnTo>
                <a:lnTo>
                  <a:pt x="9066" y="1939"/>
                </a:lnTo>
                <a:lnTo>
                  <a:pt x="9066" y="1872"/>
                </a:lnTo>
                <a:lnTo>
                  <a:pt x="9169" y="1872"/>
                </a:lnTo>
                <a:lnTo>
                  <a:pt x="9169" y="1806"/>
                </a:lnTo>
                <a:lnTo>
                  <a:pt x="9306" y="1705"/>
                </a:lnTo>
                <a:lnTo>
                  <a:pt x="9306" y="1772"/>
                </a:lnTo>
                <a:lnTo>
                  <a:pt x="9409" y="1772"/>
                </a:lnTo>
                <a:lnTo>
                  <a:pt x="9478" y="1806"/>
                </a:lnTo>
                <a:lnTo>
                  <a:pt x="9650" y="1806"/>
                </a:lnTo>
                <a:lnTo>
                  <a:pt x="9650" y="1772"/>
                </a:lnTo>
                <a:lnTo>
                  <a:pt x="9718" y="1806"/>
                </a:lnTo>
                <a:lnTo>
                  <a:pt x="9959" y="1806"/>
                </a:lnTo>
                <a:lnTo>
                  <a:pt x="9959" y="1772"/>
                </a:lnTo>
                <a:lnTo>
                  <a:pt x="10027" y="1705"/>
                </a:lnTo>
                <a:lnTo>
                  <a:pt x="9959" y="1705"/>
                </a:lnTo>
                <a:lnTo>
                  <a:pt x="9890" y="1638"/>
                </a:lnTo>
                <a:lnTo>
                  <a:pt x="9890" y="1538"/>
                </a:lnTo>
                <a:lnTo>
                  <a:pt x="9959" y="1538"/>
                </a:lnTo>
                <a:lnTo>
                  <a:pt x="9959" y="1471"/>
                </a:lnTo>
                <a:lnTo>
                  <a:pt x="10027" y="1471"/>
                </a:lnTo>
                <a:lnTo>
                  <a:pt x="10027" y="1538"/>
                </a:lnTo>
                <a:lnTo>
                  <a:pt x="10336" y="1538"/>
                </a:lnTo>
                <a:lnTo>
                  <a:pt x="10336" y="1471"/>
                </a:lnTo>
                <a:lnTo>
                  <a:pt x="10439" y="1471"/>
                </a:lnTo>
                <a:lnTo>
                  <a:pt x="10439" y="1404"/>
                </a:lnTo>
                <a:lnTo>
                  <a:pt x="10508" y="1404"/>
                </a:lnTo>
                <a:lnTo>
                  <a:pt x="10508" y="1471"/>
                </a:lnTo>
                <a:lnTo>
                  <a:pt x="10577" y="1471"/>
                </a:lnTo>
                <a:lnTo>
                  <a:pt x="10611" y="1538"/>
                </a:lnTo>
                <a:lnTo>
                  <a:pt x="10680" y="1538"/>
                </a:lnTo>
                <a:lnTo>
                  <a:pt x="10680" y="1605"/>
                </a:lnTo>
                <a:lnTo>
                  <a:pt x="10748" y="1605"/>
                </a:lnTo>
                <a:lnTo>
                  <a:pt x="10748" y="1638"/>
                </a:lnTo>
                <a:lnTo>
                  <a:pt x="10852" y="1638"/>
                </a:lnTo>
                <a:lnTo>
                  <a:pt x="10852" y="1705"/>
                </a:lnTo>
                <a:lnTo>
                  <a:pt x="10989" y="1705"/>
                </a:lnTo>
                <a:lnTo>
                  <a:pt x="10989" y="1638"/>
                </a:lnTo>
                <a:lnTo>
                  <a:pt x="11161" y="1638"/>
                </a:lnTo>
                <a:lnTo>
                  <a:pt x="11161" y="1605"/>
                </a:lnTo>
                <a:lnTo>
                  <a:pt x="11401" y="1605"/>
                </a:lnTo>
                <a:lnTo>
                  <a:pt x="11470" y="1638"/>
                </a:lnTo>
                <a:lnTo>
                  <a:pt x="11641" y="1638"/>
                </a:lnTo>
                <a:lnTo>
                  <a:pt x="11744" y="1538"/>
                </a:lnTo>
                <a:lnTo>
                  <a:pt x="11813" y="1538"/>
                </a:lnTo>
                <a:lnTo>
                  <a:pt x="11813" y="1371"/>
                </a:lnTo>
                <a:lnTo>
                  <a:pt x="11882" y="1371"/>
                </a:lnTo>
                <a:lnTo>
                  <a:pt x="11882" y="1304"/>
                </a:lnTo>
                <a:lnTo>
                  <a:pt x="11950" y="1237"/>
                </a:lnTo>
                <a:lnTo>
                  <a:pt x="11950" y="1170"/>
                </a:lnTo>
                <a:lnTo>
                  <a:pt x="11985" y="1170"/>
                </a:lnTo>
                <a:lnTo>
                  <a:pt x="11985" y="1070"/>
                </a:lnTo>
                <a:lnTo>
                  <a:pt x="12053" y="1003"/>
                </a:lnTo>
                <a:lnTo>
                  <a:pt x="12053" y="936"/>
                </a:lnTo>
                <a:lnTo>
                  <a:pt x="12122" y="936"/>
                </a:lnTo>
                <a:lnTo>
                  <a:pt x="12122" y="903"/>
                </a:lnTo>
                <a:lnTo>
                  <a:pt x="12191" y="903"/>
                </a:lnTo>
                <a:lnTo>
                  <a:pt x="12191" y="769"/>
                </a:lnTo>
                <a:lnTo>
                  <a:pt x="12225" y="769"/>
                </a:lnTo>
                <a:lnTo>
                  <a:pt x="12225" y="702"/>
                </a:lnTo>
                <a:lnTo>
                  <a:pt x="12294" y="702"/>
                </a:lnTo>
                <a:lnTo>
                  <a:pt x="12294" y="669"/>
                </a:lnTo>
                <a:lnTo>
                  <a:pt x="12362" y="669"/>
                </a:lnTo>
                <a:lnTo>
                  <a:pt x="12362" y="468"/>
                </a:lnTo>
                <a:lnTo>
                  <a:pt x="12431" y="468"/>
                </a:lnTo>
                <a:lnTo>
                  <a:pt x="12431" y="535"/>
                </a:lnTo>
                <a:lnTo>
                  <a:pt x="12466" y="535"/>
                </a:lnTo>
                <a:lnTo>
                  <a:pt x="12466" y="602"/>
                </a:lnTo>
                <a:lnTo>
                  <a:pt x="12534" y="602"/>
                </a:lnTo>
                <a:lnTo>
                  <a:pt x="12534" y="769"/>
                </a:lnTo>
                <a:lnTo>
                  <a:pt x="12603" y="769"/>
                </a:lnTo>
                <a:lnTo>
                  <a:pt x="12603" y="702"/>
                </a:lnTo>
                <a:lnTo>
                  <a:pt x="12672" y="702"/>
                </a:lnTo>
                <a:lnTo>
                  <a:pt x="12672" y="1170"/>
                </a:lnTo>
                <a:lnTo>
                  <a:pt x="12706" y="1304"/>
                </a:lnTo>
                <a:lnTo>
                  <a:pt x="12706" y="1371"/>
                </a:lnTo>
                <a:lnTo>
                  <a:pt x="12775" y="1404"/>
                </a:lnTo>
                <a:lnTo>
                  <a:pt x="12775" y="1538"/>
                </a:lnTo>
                <a:lnTo>
                  <a:pt x="12843" y="1605"/>
                </a:lnTo>
                <a:lnTo>
                  <a:pt x="12843" y="1705"/>
                </a:lnTo>
                <a:lnTo>
                  <a:pt x="12946" y="1705"/>
                </a:lnTo>
                <a:lnTo>
                  <a:pt x="12946" y="1638"/>
                </a:lnTo>
                <a:lnTo>
                  <a:pt x="13015" y="1638"/>
                </a:lnTo>
                <a:lnTo>
                  <a:pt x="13015" y="1705"/>
                </a:lnTo>
                <a:lnTo>
                  <a:pt x="13084" y="1772"/>
                </a:lnTo>
                <a:lnTo>
                  <a:pt x="13084" y="1806"/>
                </a:lnTo>
                <a:lnTo>
                  <a:pt x="13015" y="1806"/>
                </a:lnTo>
                <a:lnTo>
                  <a:pt x="13015" y="1872"/>
                </a:lnTo>
                <a:lnTo>
                  <a:pt x="13187" y="1872"/>
                </a:lnTo>
                <a:lnTo>
                  <a:pt x="13324" y="2006"/>
                </a:lnTo>
                <a:lnTo>
                  <a:pt x="13324" y="2107"/>
                </a:lnTo>
                <a:lnTo>
                  <a:pt x="13255" y="2107"/>
                </a:lnTo>
                <a:lnTo>
                  <a:pt x="13255" y="2274"/>
                </a:lnTo>
                <a:lnTo>
                  <a:pt x="13187" y="2274"/>
                </a:lnTo>
                <a:lnTo>
                  <a:pt x="12603" y="2876"/>
                </a:lnTo>
                <a:lnTo>
                  <a:pt x="12603" y="2942"/>
                </a:lnTo>
                <a:lnTo>
                  <a:pt x="12534" y="2942"/>
                </a:lnTo>
                <a:lnTo>
                  <a:pt x="12466" y="2976"/>
                </a:lnTo>
                <a:lnTo>
                  <a:pt x="12466" y="3043"/>
                </a:lnTo>
                <a:lnTo>
                  <a:pt x="12431" y="3110"/>
                </a:lnTo>
                <a:lnTo>
                  <a:pt x="12603" y="3110"/>
                </a:lnTo>
                <a:lnTo>
                  <a:pt x="12603" y="3210"/>
                </a:lnTo>
                <a:lnTo>
                  <a:pt x="12534" y="3277"/>
                </a:lnTo>
                <a:lnTo>
                  <a:pt x="12534" y="3344"/>
                </a:lnTo>
                <a:lnTo>
                  <a:pt x="12466" y="3411"/>
                </a:lnTo>
                <a:lnTo>
                  <a:pt x="12466" y="3444"/>
                </a:lnTo>
                <a:lnTo>
                  <a:pt x="12431" y="3444"/>
                </a:lnTo>
                <a:lnTo>
                  <a:pt x="12431" y="3511"/>
                </a:lnTo>
                <a:lnTo>
                  <a:pt x="12466" y="3511"/>
                </a:lnTo>
                <a:lnTo>
                  <a:pt x="12466" y="3444"/>
                </a:lnTo>
                <a:lnTo>
                  <a:pt x="12534" y="3444"/>
                </a:lnTo>
                <a:lnTo>
                  <a:pt x="12672" y="3344"/>
                </a:lnTo>
                <a:lnTo>
                  <a:pt x="12706" y="3344"/>
                </a:lnTo>
                <a:lnTo>
                  <a:pt x="12706" y="3411"/>
                </a:lnTo>
                <a:lnTo>
                  <a:pt x="12775" y="3411"/>
                </a:lnTo>
                <a:lnTo>
                  <a:pt x="12775" y="3210"/>
                </a:lnTo>
                <a:lnTo>
                  <a:pt x="12706" y="3210"/>
                </a:lnTo>
                <a:lnTo>
                  <a:pt x="12706" y="3277"/>
                </a:lnTo>
                <a:lnTo>
                  <a:pt x="12672" y="3277"/>
                </a:lnTo>
                <a:lnTo>
                  <a:pt x="12672" y="3176"/>
                </a:lnTo>
                <a:lnTo>
                  <a:pt x="12843" y="3176"/>
                </a:lnTo>
                <a:lnTo>
                  <a:pt x="12843" y="2976"/>
                </a:lnTo>
                <a:lnTo>
                  <a:pt x="12912" y="2976"/>
                </a:lnTo>
                <a:lnTo>
                  <a:pt x="12912" y="2942"/>
                </a:lnTo>
                <a:lnTo>
                  <a:pt x="13976" y="2942"/>
                </a:lnTo>
                <a:lnTo>
                  <a:pt x="14045" y="2976"/>
                </a:lnTo>
                <a:lnTo>
                  <a:pt x="14114" y="2976"/>
                </a:lnTo>
                <a:lnTo>
                  <a:pt x="14114" y="3110"/>
                </a:lnTo>
                <a:lnTo>
                  <a:pt x="14045" y="3176"/>
                </a:lnTo>
                <a:lnTo>
                  <a:pt x="14045" y="3277"/>
                </a:lnTo>
                <a:lnTo>
                  <a:pt x="13976" y="3344"/>
                </a:lnTo>
                <a:lnTo>
                  <a:pt x="13976" y="3444"/>
                </a:lnTo>
                <a:lnTo>
                  <a:pt x="13908" y="3511"/>
                </a:lnTo>
                <a:lnTo>
                  <a:pt x="13908" y="3578"/>
                </a:lnTo>
                <a:lnTo>
                  <a:pt x="13873" y="3578"/>
                </a:lnTo>
                <a:lnTo>
                  <a:pt x="13873" y="3645"/>
                </a:lnTo>
                <a:lnTo>
                  <a:pt x="13805" y="3645"/>
                </a:lnTo>
                <a:lnTo>
                  <a:pt x="13805" y="3678"/>
                </a:lnTo>
                <a:lnTo>
                  <a:pt x="13564" y="3678"/>
                </a:lnTo>
                <a:lnTo>
                  <a:pt x="13496" y="3645"/>
                </a:lnTo>
                <a:lnTo>
                  <a:pt x="13496" y="3745"/>
                </a:lnTo>
                <a:lnTo>
                  <a:pt x="13324" y="3745"/>
                </a:lnTo>
                <a:lnTo>
                  <a:pt x="13324" y="3812"/>
                </a:lnTo>
                <a:lnTo>
                  <a:pt x="13255" y="3812"/>
                </a:lnTo>
                <a:lnTo>
                  <a:pt x="13187" y="3745"/>
                </a:lnTo>
                <a:lnTo>
                  <a:pt x="13152" y="3745"/>
                </a:lnTo>
                <a:lnTo>
                  <a:pt x="13152" y="3812"/>
                </a:lnTo>
                <a:lnTo>
                  <a:pt x="13084" y="3812"/>
                </a:lnTo>
                <a:lnTo>
                  <a:pt x="13084" y="3879"/>
                </a:lnTo>
                <a:lnTo>
                  <a:pt x="13152" y="3879"/>
                </a:lnTo>
                <a:lnTo>
                  <a:pt x="13152" y="3812"/>
                </a:lnTo>
                <a:lnTo>
                  <a:pt x="13255" y="3812"/>
                </a:lnTo>
                <a:lnTo>
                  <a:pt x="13255" y="3879"/>
                </a:lnTo>
                <a:lnTo>
                  <a:pt x="13393" y="3879"/>
                </a:lnTo>
                <a:lnTo>
                  <a:pt x="13393" y="3812"/>
                </a:lnTo>
                <a:lnTo>
                  <a:pt x="13496" y="3812"/>
                </a:lnTo>
                <a:lnTo>
                  <a:pt x="13496" y="3745"/>
                </a:lnTo>
                <a:lnTo>
                  <a:pt x="13633" y="3745"/>
                </a:lnTo>
                <a:lnTo>
                  <a:pt x="13633" y="3812"/>
                </a:lnTo>
                <a:lnTo>
                  <a:pt x="13564" y="3879"/>
                </a:lnTo>
                <a:lnTo>
                  <a:pt x="13564" y="4046"/>
                </a:lnTo>
                <a:lnTo>
                  <a:pt x="13633" y="3912"/>
                </a:lnTo>
                <a:lnTo>
                  <a:pt x="13633" y="3879"/>
                </a:lnTo>
                <a:lnTo>
                  <a:pt x="13667" y="3879"/>
                </a:lnTo>
                <a:lnTo>
                  <a:pt x="13667" y="3812"/>
                </a:lnTo>
                <a:lnTo>
                  <a:pt x="13736" y="3812"/>
                </a:lnTo>
                <a:lnTo>
                  <a:pt x="13736" y="3745"/>
                </a:lnTo>
                <a:lnTo>
                  <a:pt x="13805" y="3745"/>
                </a:lnTo>
                <a:lnTo>
                  <a:pt x="13908" y="3645"/>
                </a:lnTo>
                <a:lnTo>
                  <a:pt x="13976" y="3645"/>
                </a:lnTo>
                <a:lnTo>
                  <a:pt x="14045" y="3678"/>
                </a:lnTo>
                <a:lnTo>
                  <a:pt x="14045" y="3511"/>
                </a:lnTo>
                <a:lnTo>
                  <a:pt x="14148" y="3511"/>
                </a:lnTo>
                <a:lnTo>
                  <a:pt x="14148" y="3344"/>
                </a:lnTo>
                <a:lnTo>
                  <a:pt x="14286" y="3210"/>
                </a:lnTo>
                <a:lnTo>
                  <a:pt x="14320" y="3210"/>
                </a:lnTo>
                <a:lnTo>
                  <a:pt x="14320" y="3176"/>
                </a:lnTo>
                <a:lnTo>
                  <a:pt x="14698" y="3176"/>
                </a:lnTo>
                <a:lnTo>
                  <a:pt x="14698" y="3210"/>
                </a:lnTo>
                <a:lnTo>
                  <a:pt x="14766" y="3210"/>
                </a:lnTo>
                <a:lnTo>
                  <a:pt x="14766" y="3277"/>
                </a:lnTo>
                <a:lnTo>
                  <a:pt x="14801" y="3277"/>
                </a:lnTo>
                <a:lnTo>
                  <a:pt x="14801" y="3210"/>
                </a:lnTo>
                <a:lnTo>
                  <a:pt x="14869" y="3210"/>
                </a:lnTo>
                <a:lnTo>
                  <a:pt x="14869" y="3277"/>
                </a:lnTo>
                <a:lnTo>
                  <a:pt x="15007" y="3277"/>
                </a:lnTo>
                <a:lnTo>
                  <a:pt x="15007" y="3344"/>
                </a:lnTo>
                <a:lnTo>
                  <a:pt x="15041" y="3344"/>
                </a:lnTo>
                <a:lnTo>
                  <a:pt x="15041" y="3411"/>
                </a:lnTo>
                <a:lnTo>
                  <a:pt x="15247" y="3411"/>
                </a:lnTo>
                <a:lnTo>
                  <a:pt x="15281" y="3344"/>
                </a:lnTo>
                <a:lnTo>
                  <a:pt x="15281" y="3411"/>
                </a:lnTo>
                <a:lnTo>
                  <a:pt x="15419" y="3411"/>
                </a:lnTo>
                <a:lnTo>
                  <a:pt x="15419" y="3444"/>
                </a:lnTo>
                <a:lnTo>
                  <a:pt x="15522" y="3444"/>
                </a:lnTo>
                <a:lnTo>
                  <a:pt x="15590" y="3511"/>
                </a:lnTo>
                <a:lnTo>
                  <a:pt x="15728" y="3511"/>
                </a:lnTo>
                <a:lnTo>
                  <a:pt x="15728" y="3578"/>
                </a:lnTo>
                <a:lnTo>
                  <a:pt x="15831" y="3578"/>
                </a:lnTo>
                <a:lnTo>
                  <a:pt x="15831" y="3678"/>
                </a:lnTo>
                <a:lnTo>
                  <a:pt x="15900" y="3645"/>
                </a:lnTo>
                <a:lnTo>
                  <a:pt x="15968" y="3645"/>
                </a:lnTo>
                <a:lnTo>
                  <a:pt x="15968" y="3578"/>
                </a:lnTo>
                <a:lnTo>
                  <a:pt x="16003" y="3578"/>
                </a:lnTo>
                <a:lnTo>
                  <a:pt x="16003" y="3678"/>
                </a:lnTo>
                <a:lnTo>
                  <a:pt x="16071" y="3678"/>
                </a:lnTo>
                <a:lnTo>
                  <a:pt x="16071" y="3745"/>
                </a:lnTo>
                <a:lnTo>
                  <a:pt x="16140" y="3745"/>
                </a:lnTo>
                <a:lnTo>
                  <a:pt x="16140" y="3812"/>
                </a:lnTo>
                <a:lnTo>
                  <a:pt x="16209" y="3745"/>
                </a:lnTo>
                <a:lnTo>
                  <a:pt x="16243" y="3812"/>
                </a:lnTo>
                <a:lnTo>
                  <a:pt x="16243" y="3879"/>
                </a:lnTo>
                <a:lnTo>
                  <a:pt x="16209" y="3879"/>
                </a:lnTo>
                <a:lnTo>
                  <a:pt x="16209" y="3912"/>
                </a:lnTo>
                <a:lnTo>
                  <a:pt x="16140" y="3979"/>
                </a:lnTo>
                <a:lnTo>
                  <a:pt x="16140" y="4046"/>
                </a:lnTo>
                <a:lnTo>
                  <a:pt x="16209" y="4046"/>
                </a:lnTo>
                <a:lnTo>
                  <a:pt x="16243" y="3979"/>
                </a:lnTo>
                <a:lnTo>
                  <a:pt x="16312" y="3979"/>
                </a:lnTo>
                <a:lnTo>
                  <a:pt x="16312" y="4046"/>
                </a:lnTo>
                <a:lnTo>
                  <a:pt x="16243" y="4113"/>
                </a:lnTo>
                <a:lnTo>
                  <a:pt x="16243" y="4146"/>
                </a:lnTo>
                <a:lnTo>
                  <a:pt x="16209" y="4213"/>
                </a:lnTo>
                <a:lnTo>
                  <a:pt x="16209" y="4380"/>
                </a:lnTo>
                <a:lnTo>
                  <a:pt x="16140" y="4447"/>
                </a:lnTo>
                <a:lnTo>
                  <a:pt x="16140" y="4581"/>
                </a:lnTo>
                <a:lnTo>
                  <a:pt x="16209" y="4514"/>
                </a:lnTo>
                <a:lnTo>
                  <a:pt x="16209" y="4447"/>
                </a:lnTo>
                <a:lnTo>
                  <a:pt x="16243" y="4447"/>
                </a:lnTo>
                <a:lnTo>
                  <a:pt x="16243" y="4380"/>
                </a:lnTo>
                <a:lnTo>
                  <a:pt x="16312" y="4380"/>
                </a:lnTo>
                <a:lnTo>
                  <a:pt x="16312" y="4280"/>
                </a:lnTo>
                <a:lnTo>
                  <a:pt x="16380" y="4146"/>
                </a:lnTo>
                <a:lnTo>
                  <a:pt x="16380" y="4113"/>
                </a:lnTo>
                <a:lnTo>
                  <a:pt x="16483" y="4113"/>
                </a:lnTo>
                <a:lnTo>
                  <a:pt x="16483" y="4146"/>
                </a:lnTo>
                <a:lnTo>
                  <a:pt x="16449" y="4213"/>
                </a:lnTo>
                <a:lnTo>
                  <a:pt x="16449" y="4280"/>
                </a:lnTo>
                <a:lnTo>
                  <a:pt x="16483" y="4280"/>
                </a:lnTo>
                <a:lnTo>
                  <a:pt x="16483" y="4213"/>
                </a:lnTo>
                <a:lnTo>
                  <a:pt x="16552" y="4213"/>
                </a:lnTo>
                <a:lnTo>
                  <a:pt x="16552" y="4146"/>
                </a:lnTo>
                <a:lnTo>
                  <a:pt x="16792" y="4146"/>
                </a:lnTo>
                <a:lnTo>
                  <a:pt x="16792" y="4113"/>
                </a:lnTo>
                <a:lnTo>
                  <a:pt x="16930" y="4113"/>
                </a:lnTo>
                <a:lnTo>
                  <a:pt x="16930" y="4146"/>
                </a:lnTo>
                <a:lnTo>
                  <a:pt x="17101" y="4146"/>
                </a:lnTo>
                <a:lnTo>
                  <a:pt x="17101" y="4213"/>
                </a:lnTo>
                <a:lnTo>
                  <a:pt x="17204" y="4213"/>
                </a:lnTo>
                <a:lnTo>
                  <a:pt x="17273" y="4280"/>
                </a:lnTo>
                <a:lnTo>
                  <a:pt x="17410" y="4280"/>
                </a:lnTo>
                <a:lnTo>
                  <a:pt x="17445" y="4347"/>
                </a:lnTo>
                <a:lnTo>
                  <a:pt x="17823" y="4347"/>
                </a:lnTo>
                <a:lnTo>
                  <a:pt x="17926" y="4380"/>
                </a:lnTo>
                <a:lnTo>
                  <a:pt x="18097" y="4380"/>
                </a:lnTo>
                <a:lnTo>
                  <a:pt x="18097" y="4347"/>
                </a:lnTo>
                <a:lnTo>
                  <a:pt x="18166" y="4347"/>
                </a:lnTo>
                <a:lnTo>
                  <a:pt x="18166" y="4380"/>
                </a:lnTo>
                <a:lnTo>
                  <a:pt x="18303" y="4380"/>
                </a:lnTo>
                <a:lnTo>
                  <a:pt x="18303" y="4347"/>
                </a:lnTo>
                <a:lnTo>
                  <a:pt x="18578" y="4347"/>
                </a:lnTo>
                <a:lnTo>
                  <a:pt x="18647" y="4380"/>
                </a:lnTo>
                <a:lnTo>
                  <a:pt x="18784" y="4380"/>
                </a:lnTo>
                <a:lnTo>
                  <a:pt x="18887" y="4514"/>
                </a:lnTo>
                <a:lnTo>
                  <a:pt x="19024" y="4514"/>
                </a:lnTo>
                <a:lnTo>
                  <a:pt x="19128" y="4614"/>
                </a:lnTo>
                <a:lnTo>
                  <a:pt x="19265" y="4614"/>
                </a:lnTo>
                <a:lnTo>
                  <a:pt x="19437" y="4815"/>
                </a:lnTo>
                <a:lnTo>
                  <a:pt x="19505" y="4815"/>
                </a:lnTo>
                <a:lnTo>
                  <a:pt x="19505" y="4848"/>
                </a:lnTo>
                <a:lnTo>
                  <a:pt x="19540" y="4848"/>
                </a:lnTo>
                <a:lnTo>
                  <a:pt x="19608" y="4915"/>
                </a:lnTo>
                <a:lnTo>
                  <a:pt x="19677" y="4915"/>
                </a:lnTo>
                <a:lnTo>
                  <a:pt x="19677" y="4982"/>
                </a:lnTo>
                <a:lnTo>
                  <a:pt x="19746" y="4982"/>
                </a:lnTo>
                <a:lnTo>
                  <a:pt x="19746" y="5015"/>
                </a:lnTo>
                <a:lnTo>
                  <a:pt x="19780" y="5015"/>
                </a:lnTo>
                <a:lnTo>
                  <a:pt x="20020" y="5250"/>
                </a:lnTo>
                <a:lnTo>
                  <a:pt x="20089" y="5250"/>
                </a:lnTo>
                <a:lnTo>
                  <a:pt x="20329" y="5484"/>
                </a:lnTo>
                <a:lnTo>
                  <a:pt x="20467" y="5484"/>
                </a:lnTo>
                <a:lnTo>
                  <a:pt x="20501" y="5550"/>
                </a:lnTo>
                <a:lnTo>
                  <a:pt x="21154" y="5550"/>
                </a:lnTo>
                <a:lnTo>
                  <a:pt x="21154" y="5617"/>
                </a:lnTo>
                <a:lnTo>
                  <a:pt x="21291" y="5617"/>
                </a:lnTo>
                <a:lnTo>
                  <a:pt x="21291" y="5718"/>
                </a:lnTo>
                <a:lnTo>
                  <a:pt x="21360" y="5718"/>
                </a:lnTo>
                <a:lnTo>
                  <a:pt x="21360" y="5918"/>
                </a:lnTo>
                <a:lnTo>
                  <a:pt x="21394" y="5952"/>
                </a:lnTo>
                <a:lnTo>
                  <a:pt x="21394" y="6152"/>
                </a:lnTo>
                <a:lnTo>
                  <a:pt x="21463" y="6152"/>
                </a:lnTo>
                <a:lnTo>
                  <a:pt x="21463" y="6186"/>
                </a:lnTo>
                <a:lnTo>
                  <a:pt x="21531" y="6320"/>
                </a:lnTo>
                <a:lnTo>
                  <a:pt x="21531" y="6420"/>
                </a:lnTo>
                <a:lnTo>
                  <a:pt x="21600" y="6554"/>
                </a:lnTo>
                <a:lnTo>
                  <a:pt x="21600" y="6854"/>
                </a:lnTo>
                <a:lnTo>
                  <a:pt x="21531" y="6854"/>
                </a:lnTo>
                <a:lnTo>
                  <a:pt x="21531" y="6955"/>
                </a:lnTo>
                <a:lnTo>
                  <a:pt x="21600" y="7022"/>
                </a:lnTo>
                <a:lnTo>
                  <a:pt x="21600" y="7122"/>
                </a:lnTo>
                <a:lnTo>
                  <a:pt x="21531" y="7189"/>
                </a:lnTo>
                <a:lnTo>
                  <a:pt x="21531" y="7323"/>
                </a:lnTo>
                <a:lnTo>
                  <a:pt x="21463" y="7356"/>
                </a:lnTo>
                <a:lnTo>
                  <a:pt x="21463" y="7490"/>
                </a:lnTo>
                <a:lnTo>
                  <a:pt x="21394" y="7590"/>
                </a:lnTo>
                <a:lnTo>
                  <a:pt x="21360" y="7657"/>
                </a:lnTo>
                <a:lnTo>
                  <a:pt x="21222" y="7824"/>
                </a:lnTo>
                <a:lnTo>
                  <a:pt x="21154" y="7958"/>
                </a:lnTo>
                <a:lnTo>
                  <a:pt x="21119" y="7958"/>
                </a:lnTo>
                <a:lnTo>
                  <a:pt x="21051" y="7991"/>
                </a:lnTo>
                <a:lnTo>
                  <a:pt x="20982" y="7991"/>
                </a:lnTo>
                <a:lnTo>
                  <a:pt x="20982" y="8192"/>
                </a:lnTo>
                <a:lnTo>
                  <a:pt x="20913" y="8192"/>
                </a:lnTo>
                <a:lnTo>
                  <a:pt x="20913" y="8225"/>
                </a:lnTo>
                <a:lnTo>
                  <a:pt x="20879" y="8225"/>
                </a:lnTo>
                <a:lnTo>
                  <a:pt x="20879" y="8292"/>
                </a:lnTo>
                <a:lnTo>
                  <a:pt x="20810" y="8292"/>
                </a:lnTo>
                <a:lnTo>
                  <a:pt x="20810" y="8359"/>
                </a:lnTo>
                <a:lnTo>
                  <a:pt x="20741" y="8426"/>
                </a:lnTo>
                <a:lnTo>
                  <a:pt x="20741" y="8459"/>
                </a:lnTo>
                <a:lnTo>
                  <a:pt x="20707" y="8459"/>
                </a:lnTo>
                <a:lnTo>
                  <a:pt x="20638" y="8526"/>
                </a:lnTo>
                <a:lnTo>
                  <a:pt x="20501" y="8526"/>
                </a:lnTo>
                <a:lnTo>
                  <a:pt x="20501" y="8593"/>
                </a:lnTo>
                <a:lnTo>
                  <a:pt x="20467" y="8660"/>
                </a:lnTo>
                <a:lnTo>
                  <a:pt x="20329" y="8660"/>
                </a:lnTo>
                <a:lnTo>
                  <a:pt x="20329" y="8760"/>
                </a:lnTo>
                <a:lnTo>
                  <a:pt x="20261" y="8694"/>
                </a:lnTo>
                <a:lnTo>
                  <a:pt x="20261" y="8894"/>
                </a:lnTo>
                <a:lnTo>
                  <a:pt x="20158" y="8894"/>
                </a:lnTo>
                <a:lnTo>
                  <a:pt x="20158" y="9061"/>
                </a:lnTo>
                <a:lnTo>
                  <a:pt x="20089" y="9162"/>
                </a:lnTo>
                <a:lnTo>
                  <a:pt x="20089" y="9228"/>
                </a:lnTo>
                <a:lnTo>
                  <a:pt x="20020" y="9228"/>
                </a:lnTo>
                <a:lnTo>
                  <a:pt x="20020" y="9295"/>
                </a:lnTo>
                <a:lnTo>
                  <a:pt x="19917" y="9396"/>
                </a:lnTo>
                <a:lnTo>
                  <a:pt x="19917" y="9529"/>
                </a:lnTo>
                <a:lnTo>
                  <a:pt x="19746" y="9697"/>
                </a:lnTo>
                <a:lnTo>
                  <a:pt x="19677" y="9830"/>
                </a:lnTo>
                <a:lnTo>
                  <a:pt x="19540" y="9830"/>
                </a:lnTo>
                <a:lnTo>
                  <a:pt x="19540" y="9697"/>
                </a:lnTo>
                <a:lnTo>
                  <a:pt x="19505" y="9630"/>
                </a:lnTo>
                <a:lnTo>
                  <a:pt x="19437" y="9630"/>
                </a:lnTo>
                <a:lnTo>
                  <a:pt x="19368" y="9697"/>
                </a:lnTo>
                <a:lnTo>
                  <a:pt x="19368" y="9763"/>
                </a:lnTo>
                <a:lnTo>
                  <a:pt x="19437" y="9763"/>
                </a:lnTo>
                <a:lnTo>
                  <a:pt x="19437" y="9830"/>
                </a:lnTo>
                <a:lnTo>
                  <a:pt x="19368" y="9830"/>
                </a:lnTo>
                <a:lnTo>
                  <a:pt x="19368" y="9931"/>
                </a:lnTo>
                <a:lnTo>
                  <a:pt x="19265" y="10064"/>
                </a:lnTo>
                <a:lnTo>
                  <a:pt x="19265" y="10098"/>
                </a:lnTo>
                <a:lnTo>
                  <a:pt x="19299" y="10098"/>
                </a:lnTo>
                <a:lnTo>
                  <a:pt x="19299" y="10165"/>
                </a:lnTo>
                <a:lnTo>
                  <a:pt x="19265" y="10232"/>
                </a:lnTo>
                <a:lnTo>
                  <a:pt x="19196" y="10232"/>
                </a:lnTo>
                <a:lnTo>
                  <a:pt x="19196" y="10298"/>
                </a:lnTo>
                <a:lnTo>
                  <a:pt x="19299" y="10298"/>
                </a:lnTo>
                <a:lnTo>
                  <a:pt x="19299" y="11636"/>
                </a:lnTo>
                <a:lnTo>
                  <a:pt x="19265" y="11736"/>
                </a:lnTo>
                <a:lnTo>
                  <a:pt x="19265" y="11870"/>
                </a:lnTo>
                <a:lnTo>
                  <a:pt x="19196" y="11870"/>
                </a:lnTo>
                <a:lnTo>
                  <a:pt x="19196" y="12438"/>
                </a:lnTo>
                <a:lnTo>
                  <a:pt x="19128" y="12572"/>
                </a:lnTo>
                <a:lnTo>
                  <a:pt x="19059" y="12606"/>
                </a:lnTo>
                <a:lnTo>
                  <a:pt x="19024" y="12606"/>
                </a:lnTo>
                <a:lnTo>
                  <a:pt x="19024" y="12672"/>
                </a:lnTo>
                <a:lnTo>
                  <a:pt x="18956" y="12672"/>
                </a:lnTo>
                <a:lnTo>
                  <a:pt x="18956" y="12739"/>
                </a:lnTo>
                <a:lnTo>
                  <a:pt x="18887" y="12806"/>
                </a:lnTo>
                <a:lnTo>
                  <a:pt x="18887" y="13375"/>
                </a:lnTo>
                <a:lnTo>
                  <a:pt x="18818" y="13508"/>
                </a:lnTo>
                <a:lnTo>
                  <a:pt x="18784" y="13542"/>
                </a:lnTo>
                <a:lnTo>
                  <a:pt x="18784" y="13609"/>
                </a:lnTo>
                <a:lnTo>
                  <a:pt x="18715" y="13609"/>
                </a:lnTo>
                <a:lnTo>
                  <a:pt x="18715" y="13676"/>
                </a:lnTo>
                <a:lnTo>
                  <a:pt x="18647" y="13676"/>
                </a:lnTo>
                <a:lnTo>
                  <a:pt x="18647" y="13843"/>
                </a:lnTo>
                <a:lnTo>
                  <a:pt x="18544" y="13843"/>
                </a:lnTo>
                <a:lnTo>
                  <a:pt x="18544" y="14010"/>
                </a:lnTo>
                <a:lnTo>
                  <a:pt x="18475" y="14010"/>
                </a:lnTo>
                <a:lnTo>
                  <a:pt x="18475" y="14077"/>
                </a:lnTo>
                <a:lnTo>
                  <a:pt x="18406" y="14077"/>
                </a:lnTo>
                <a:lnTo>
                  <a:pt x="18406" y="14144"/>
                </a:lnTo>
                <a:lnTo>
                  <a:pt x="18338" y="14144"/>
                </a:lnTo>
                <a:lnTo>
                  <a:pt x="18338" y="14211"/>
                </a:lnTo>
                <a:lnTo>
                  <a:pt x="18235" y="14311"/>
                </a:lnTo>
                <a:lnTo>
                  <a:pt x="18235" y="14411"/>
                </a:lnTo>
                <a:lnTo>
                  <a:pt x="18166" y="14411"/>
                </a:lnTo>
                <a:lnTo>
                  <a:pt x="18166" y="14846"/>
                </a:lnTo>
                <a:lnTo>
                  <a:pt x="18097" y="14846"/>
                </a:lnTo>
                <a:lnTo>
                  <a:pt x="18063" y="14879"/>
                </a:lnTo>
                <a:lnTo>
                  <a:pt x="17994" y="14879"/>
                </a:lnTo>
                <a:lnTo>
                  <a:pt x="17994" y="14946"/>
                </a:lnTo>
                <a:lnTo>
                  <a:pt x="17857" y="14946"/>
                </a:lnTo>
                <a:lnTo>
                  <a:pt x="17857" y="15013"/>
                </a:lnTo>
                <a:lnTo>
                  <a:pt x="17754" y="15013"/>
                </a:lnTo>
                <a:lnTo>
                  <a:pt x="17617" y="15113"/>
                </a:lnTo>
                <a:lnTo>
                  <a:pt x="17617" y="15247"/>
                </a:lnTo>
                <a:lnTo>
                  <a:pt x="17685" y="15247"/>
                </a:lnTo>
                <a:lnTo>
                  <a:pt x="17685" y="15314"/>
                </a:lnTo>
                <a:lnTo>
                  <a:pt x="17617" y="15314"/>
                </a:lnTo>
                <a:lnTo>
                  <a:pt x="17617" y="15347"/>
                </a:lnTo>
                <a:lnTo>
                  <a:pt x="17170" y="15347"/>
                </a:lnTo>
                <a:lnTo>
                  <a:pt x="17101" y="15314"/>
                </a:lnTo>
                <a:lnTo>
                  <a:pt x="17033" y="15314"/>
                </a:lnTo>
                <a:lnTo>
                  <a:pt x="17033" y="15180"/>
                </a:lnTo>
                <a:lnTo>
                  <a:pt x="16964" y="15180"/>
                </a:lnTo>
                <a:lnTo>
                  <a:pt x="16964" y="15347"/>
                </a:lnTo>
                <a:lnTo>
                  <a:pt x="16792" y="15347"/>
                </a:lnTo>
                <a:lnTo>
                  <a:pt x="16724" y="15314"/>
                </a:lnTo>
                <a:lnTo>
                  <a:pt x="16621" y="15314"/>
                </a:lnTo>
                <a:lnTo>
                  <a:pt x="16552" y="15347"/>
                </a:lnTo>
                <a:lnTo>
                  <a:pt x="16483" y="15347"/>
                </a:lnTo>
                <a:lnTo>
                  <a:pt x="16483" y="15414"/>
                </a:lnTo>
                <a:lnTo>
                  <a:pt x="16449" y="15414"/>
                </a:lnTo>
                <a:lnTo>
                  <a:pt x="16449" y="15347"/>
                </a:lnTo>
                <a:lnTo>
                  <a:pt x="16209" y="15347"/>
                </a:lnTo>
                <a:lnTo>
                  <a:pt x="16209" y="15481"/>
                </a:lnTo>
                <a:lnTo>
                  <a:pt x="16243" y="15481"/>
                </a:lnTo>
                <a:lnTo>
                  <a:pt x="16243" y="15548"/>
                </a:lnTo>
                <a:lnTo>
                  <a:pt x="16209" y="15548"/>
                </a:lnTo>
                <a:lnTo>
                  <a:pt x="16071" y="15648"/>
                </a:lnTo>
                <a:lnTo>
                  <a:pt x="15968" y="15648"/>
                </a:lnTo>
                <a:lnTo>
                  <a:pt x="15900" y="15715"/>
                </a:lnTo>
                <a:lnTo>
                  <a:pt x="15831" y="15715"/>
                </a:lnTo>
                <a:lnTo>
                  <a:pt x="15762" y="15782"/>
                </a:lnTo>
                <a:lnTo>
                  <a:pt x="15831" y="15782"/>
                </a:lnTo>
                <a:lnTo>
                  <a:pt x="15831" y="15882"/>
                </a:lnTo>
                <a:lnTo>
                  <a:pt x="15762" y="15882"/>
                </a:lnTo>
                <a:lnTo>
                  <a:pt x="15659" y="15815"/>
                </a:lnTo>
                <a:lnTo>
                  <a:pt x="15419" y="15815"/>
                </a:lnTo>
                <a:lnTo>
                  <a:pt x="15281" y="15882"/>
                </a:lnTo>
                <a:lnTo>
                  <a:pt x="15247" y="15882"/>
                </a:lnTo>
                <a:lnTo>
                  <a:pt x="15247" y="16016"/>
                </a:lnTo>
                <a:lnTo>
                  <a:pt x="15110" y="16016"/>
                </a:lnTo>
                <a:lnTo>
                  <a:pt x="15110" y="16050"/>
                </a:lnTo>
                <a:lnTo>
                  <a:pt x="15041" y="16050"/>
                </a:lnTo>
                <a:lnTo>
                  <a:pt x="15007" y="16116"/>
                </a:lnTo>
                <a:lnTo>
                  <a:pt x="14938" y="16116"/>
                </a:lnTo>
                <a:lnTo>
                  <a:pt x="14801" y="16183"/>
                </a:lnTo>
                <a:lnTo>
                  <a:pt x="14766" y="16250"/>
                </a:lnTo>
                <a:lnTo>
                  <a:pt x="14526" y="16350"/>
                </a:lnTo>
                <a:lnTo>
                  <a:pt x="14320" y="16518"/>
                </a:lnTo>
                <a:lnTo>
                  <a:pt x="14389" y="16518"/>
                </a:lnTo>
                <a:lnTo>
                  <a:pt x="14389" y="16585"/>
                </a:lnTo>
                <a:lnTo>
                  <a:pt x="14320" y="16585"/>
                </a:lnTo>
                <a:lnTo>
                  <a:pt x="14320" y="16651"/>
                </a:lnTo>
                <a:lnTo>
                  <a:pt x="14286" y="16651"/>
                </a:lnTo>
                <a:lnTo>
                  <a:pt x="14286" y="16718"/>
                </a:lnTo>
                <a:lnTo>
                  <a:pt x="14114" y="16718"/>
                </a:lnTo>
                <a:lnTo>
                  <a:pt x="14114" y="16651"/>
                </a:lnTo>
                <a:lnTo>
                  <a:pt x="14045" y="16718"/>
                </a:lnTo>
                <a:lnTo>
                  <a:pt x="14045" y="16752"/>
                </a:lnTo>
                <a:lnTo>
                  <a:pt x="13976" y="16752"/>
                </a:lnTo>
                <a:lnTo>
                  <a:pt x="14045" y="16819"/>
                </a:lnTo>
                <a:lnTo>
                  <a:pt x="14114" y="16819"/>
                </a:lnTo>
                <a:lnTo>
                  <a:pt x="14114" y="16885"/>
                </a:lnTo>
                <a:lnTo>
                  <a:pt x="14045" y="16885"/>
                </a:lnTo>
                <a:lnTo>
                  <a:pt x="14045" y="16952"/>
                </a:lnTo>
                <a:lnTo>
                  <a:pt x="13976" y="16952"/>
                </a:lnTo>
                <a:lnTo>
                  <a:pt x="13976" y="17186"/>
                </a:lnTo>
                <a:lnTo>
                  <a:pt x="13908" y="17186"/>
                </a:lnTo>
                <a:lnTo>
                  <a:pt x="13908" y="17220"/>
                </a:lnTo>
                <a:lnTo>
                  <a:pt x="13976" y="17220"/>
                </a:lnTo>
                <a:lnTo>
                  <a:pt x="13976" y="17186"/>
                </a:lnTo>
                <a:lnTo>
                  <a:pt x="14045" y="17186"/>
                </a:lnTo>
                <a:lnTo>
                  <a:pt x="14045" y="17354"/>
                </a:lnTo>
                <a:lnTo>
                  <a:pt x="13976" y="17354"/>
                </a:lnTo>
                <a:lnTo>
                  <a:pt x="13976" y="17688"/>
                </a:lnTo>
                <a:lnTo>
                  <a:pt x="14045" y="17755"/>
                </a:lnTo>
                <a:lnTo>
                  <a:pt x="13976" y="17822"/>
                </a:lnTo>
                <a:lnTo>
                  <a:pt x="13976" y="18323"/>
                </a:lnTo>
                <a:lnTo>
                  <a:pt x="13908" y="18390"/>
                </a:lnTo>
                <a:lnTo>
                  <a:pt x="13908" y="18557"/>
                </a:lnTo>
                <a:lnTo>
                  <a:pt x="13873" y="18624"/>
                </a:lnTo>
                <a:lnTo>
                  <a:pt x="13805" y="18624"/>
                </a:lnTo>
                <a:lnTo>
                  <a:pt x="13805" y="18691"/>
                </a:lnTo>
                <a:lnTo>
                  <a:pt x="13736" y="18758"/>
                </a:lnTo>
                <a:lnTo>
                  <a:pt x="13667" y="18758"/>
                </a:lnTo>
                <a:lnTo>
                  <a:pt x="13324" y="19092"/>
                </a:lnTo>
                <a:lnTo>
                  <a:pt x="13255" y="19226"/>
                </a:lnTo>
                <a:lnTo>
                  <a:pt x="13255" y="19259"/>
                </a:lnTo>
                <a:lnTo>
                  <a:pt x="13187" y="19326"/>
                </a:lnTo>
                <a:lnTo>
                  <a:pt x="13187" y="19460"/>
                </a:lnTo>
                <a:lnTo>
                  <a:pt x="13152" y="19494"/>
                </a:lnTo>
                <a:lnTo>
                  <a:pt x="13152" y="19560"/>
                </a:lnTo>
                <a:lnTo>
                  <a:pt x="13084" y="19627"/>
                </a:lnTo>
                <a:lnTo>
                  <a:pt x="13084" y="19694"/>
                </a:lnTo>
                <a:lnTo>
                  <a:pt x="13015" y="19694"/>
                </a:lnTo>
                <a:lnTo>
                  <a:pt x="13015" y="19794"/>
                </a:lnTo>
                <a:lnTo>
                  <a:pt x="12912" y="19928"/>
                </a:lnTo>
                <a:lnTo>
                  <a:pt x="12843" y="20028"/>
                </a:lnTo>
                <a:lnTo>
                  <a:pt x="12775" y="20095"/>
                </a:lnTo>
                <a:lnTo>
                  <a:pt x="12706" y="20095"/>
                </a:lnTo>
                <a:lnTo>
                  <a:pt x="12706" y="20196"/>
                </a:lnTo>
                <a:lnTo>
                  <a:pt x="12672" y="20196"/>
                </a:lnTo>
                <a:lnTo>
                  <a:pt x="12672" y="20263"/>
                </a:lnTo>
                <a:lnTo>
                  <a:pt x="12603" y="20263"/>
                </a:lnTo>
                <a:lnTo>
                  <a:pt x="12603" y="20329"/>
                </a:lnTo>
                <a:lnTo>
                  <a:pt x="12534" y="20329"/>
                </a:lnTo>
                <a:lnTo>
                  <a:pt x="12466" y="20396"/>
                </a:lnTo>
                <a:lnTo>
                  <a:pt x="12431" y="20396"/>
                </a:lnTo>
                <a:lnTo>
                  <a:pt x="12431" y="20329"/>
                </a:lnTo>
                <a:lnTo>
                  <a:pt x="12466" y="20329"/>
                </a:lnTo>
                <a:lnTo>
                  <a:pt x="12466" y="20263"/>
                </a:lnTo>
                <a:lnTo>
                  <a:pt x="12534" y="20263"/>
                </a:lnTo>
                <a:lnTo>
                  <a:pt x="12534" y="20095"/>
                </a:lnTo>
                <a:lnTo>
                  <a:pt x="12603" y="20028"/>
                </a:lnTo>
                <a:lnTo>
                  <a:pt x="12706" y="20028"/>
                </a:lnTo>
                <a:lnTo>
                  <a:pt x="12706" y="19928"/>
                </a:lnTo>
                <a:lnTo>
                  <a:pt x="12775" y="19928"/>
                </a:lnTo>
                <a:lnTo>
                  <a:pt x="12775" y="19861"/>
                </a:lnTo>
                <a:lnTo>
                  <a:pt x="12843" y="19861"/>
                </a:lnTo>
                <a:lnTo>
                  <a:pt x="12843" y="19627"/>
                </a:lnTo>
                <a:lnTo>
                  <a:pt x="12912" y="19627"/>
                </a:lnTo>
                <a:lnTo>
                  <a:pt x="12912" y="19560"/>
                </a:lnTo>
                <a:lnTo>
                  <a:pt x="12603" y="19560"/>
                </a:lnTo>
                <a:lnTo>
                  <a:pt x="12603" y="19627"/>
                </a:lnTo>
                <a:lnTo>
                  <a:pt x="12534" y="19627"/>
                </a:lnTo>
                <a:lnTo>
                  <a:pt x="12534" y="19794"/>
                </a:lnTo>
                <a:lnTo>
                  <a:pt x="12466" y="19794"/>
                </a:lnTo>
                <a:lnTo>
                  <a:pt x="12466" y="19928"/>
                </a:lnTo>
                <a:lnTo>
                  <a:pt x="12431" y="19962"/>
                </a:lnTo>
                <a:lnTo>
                  <a:pt x="12431" y="20028"/>
                </a:lnTo>
                <a:lnTo>
                  <a:pt x="12362" y="20095"/>
                </a:lnTo>
                <a:lnTo>
                  <a:pt x="12294" y="20095"/>
                </a:lnTo>
                <a:lnTo>
                  <a:pt x="12225" y="20162"/>
                </a:lnTo>
                <a:lnTo>
                  <a:pt x="12191" y="20162"/>
                </a:lnTo>
                <a:lnTo>
                  <a:pt x="12191" y="20329"/>
                </a:lnTo>
                <a:lnTo>
                  <a:pt x="12122" y="20396"/>
                </a:lnTo>
                <a:lnTo>
                  <a:pt x="12053" y="20396"/>
                </a:lnTo>
                <a:lnTo>
                  <a:pt x="11985" y="20430"/>
                </a:lnTo>
                <a:lnTo>
                  <a:pt x="11985" y="20497"/>
                </a:lnTo>
                <a:lnTo>
                  <a:pt x="12053" y="20497"/>
                </a:lnTo>
                <a:lnTo>
                  <a:pt x="12053" y="20597"/>
                </a:lnTo>
                <a:lnTo>
                  <a:pt x="12122" y="20597"/>
                </a:lnTo>
                <a:lnTo>
                  <a:pt x="12122" y="20563"/>
                </a:lnTo>
                <a:lnTo>
                  <a:pt x="12053" y="20497"/>
                </a:lnTo>
                <a:lnTo>
                  <a:pt x="12225" y="20497"/>
                </a:lnTo>
                <a:lnTo>
                  <a:pt x="12294" y="20430"/>
                </a:lnTo>
                <a:lnTo>
                  <a:pt x="12362" y="20430"/>
                </a:lnTo>
                <a:lnTo>
                  <a:pt x="12362" y="20396"/>
                </a:lnTo>
                <a:lnTo>
                  <a:pt x="12431" y="20396"/>
                </a:lnTo>
                <a:lnTo>
                  <a:pt x="11985" y="20798"/>
                </a:lnTo>
                <a:lnTo>
                  <a:pt x="11985" y="20831"/>
                </a:lnTo>
                <a:lnTo>
                  <a:pt x="11950" y="20831"/>
                </a:lnTo>
                <a:lnTo>
                  <a:pt x="11950" y="20898"/>
                </a:lnTo>
                <a:lnTo>
                  <a:pt x="11882" y="20965"/>
                </a:lnTo>
                <a:lnTo>
                  <a:pt x="11882" y="21032"/>
                </a:lnTo>
                <a:lnTo>
                  <a:pt x="11813" y="21065"/>
                </a:lnTo>
                <a:lnTo>
                  <a:pt x="11813" y="21199"/>
                </a:lnTo>
                <a:lnTo>
                  <a:pt x="11573" y="21433"/>
                </a:lnTo>
                <a:lnTo>
                  <a:pt x="11573" y="21500"/>
                </a:lnTo>
                <a:lnTo>
                  <a:pt x="11504" y="21500"/>
                </a:lnTo>
                <a:lnTo>
                  <a:pt x="11504" y="21533"/>
                </a:lnTo>
                <a:lnTo>
                  <a:pt x="11401" y="21533"/>
                </a:lnTo>
                <a:lnTo>
                  <a:pt x="11401" y="21600"/>
                </a:lnTo>
                <a:lnTo>
                  <a:pt x="11332" y="21600"/>
                </a:lnTo>
                <a:lnTo>
                  <a:pt x="11332" y="21533"/>
                </a:lnTo>
                <a:lnTo>
                  <a:pt x="11264" y="21533"/>
                </a:lnTo>
                <a:lnTo>
                  <a:pt x="11264" y="21199"/>
                </a:lnTo>
                <a:lnTo>
                  <a:pt x="11332" y="21199"/>
                </a:lnTo>
                <a:lnTo>
                  <a:pt x="11332" y="21132"/>
                </a:lnTo>
                <a:lnTo>
                  <a:pt x="11401" y="21132"/>
                </a:lnTo>
                <a:lnTo>
                  <a:pt x="11401" y="21032"/>
                </a:lnTo>
                <a:lnTo>
                  <a:pt x="11470" y="21032"/>
                </a:lnTo>
                <a:lnTo>
                  <a:pt x="11470" y="20965"/>
                </a:lnTo>
                <a:lnTo>
                  <a:pt x="11401" y="20898"/>
                </a:lnTo>
                <a:lnTo>
                  <a:pt x="11332" y="20898"/>
                </a:lnTo>
                <a:lnTo>
                  <a:pt x="11332" y="20831"/>
                </a:lnTo>
                <a:lnTo>
                  <a:pt x="11264" y="20831"/>
                </a:lnTo>
                <a:lnTo>
                  <a:pt x="11264" y="20798"/>
                </a:lnTo>
                <a:lnTo>
                  <a:pt x="11229" y="20798"/>
                </a:lnTo>
                <a:lnTo>
                  <a:pt x="11229" y="20731"/>
                </a:lnTo>
                <a:lnTo>
                  <a:pt x="11161" y="20731"/>
                </a:lnTo>
                <a:lnTo>
                  <a:pt x="11161" y="20664"/>
                </a:lnTo>
                <a:lnTo>
                  <a:pt x="11092" y="20664"/>
                </a:lnTo>
                <a:lnTo>
                  <a:pt x="11092" y="20563"/>
                </a:lnTo>
                <a:lnTo>
                  <a:pt x="11023" y="20563"/>
                </a:lnTo>
                <a:lnTo>
                  <a:pt x="11023" y="20497"/>
                </a:lnTo>
                <a:lnTo>
                  <a:pt x="10920" y="20497"/>
                </a:lnTo>
                <a:lnTo>
                  <a:pt x="10920" y="20430"/>
                </a:lnTo>
                <a:lnTo>
                  <a:pt x="10852" y="20430"/>
                </a:lnTo>
                <a:lnTo>
                  <a:pt x="10817" y="20396"/>
                </a:lnTo>
                <a:lnTo>
                  <a:pt x="10748" y="20396"/>
                </a:lnTo>
                <a:lnTo>
                  <a:pt x="10748" y="20329"/>
                </a:lnTo>
                <a:lnTo>
                  <a:pt x="10680" y="20329"/>
                </a:lnTo>
                <a:lnTo>
                  <a:pt x="10680" y="20196"/>
                </a:lnTo>
                <a:lnTo>
                  <a:pt x="10508" y="20196"/>
                </a:lnTo>
                <a:lnTo>
                  <a:pt x="10439" y="20162"/>
                </a:lnTo>
                <a:lnTo>
                  <a:pt x="10371" y="20162"/>
                </a:lnTo>
                <a:lnTo>
                  <a:pt x="10371" y="20095"/>
                </a:lnTo>
                <a:lnTo>
                  <a:pt x="10336" y="20095"/>
                </a:lnTo>
                <a:lnTo>
                  <a:pt x="10336" y="20028"/>
                </a:lnTo>
                <a:lnTo>
                  <a:pt x="10268" y="20028"/>
                </a:lnTo>
                <a:lnTo>
                  <a:pt x="10268" y="19962"/>
                </a:lnTo>
                <a:lnTo>
                  <a:pt x="10199" y="19962"/>
                </a:lnTo>
                <a:lnTo>
                  <a:pt x="10199" y="19861"/>
                </a:lnTo>
                <a:lnTo>
                  <a:pt x="10130" y="19861"/>
                </a:lnTo>
                <a:lnTo>
                  <a:pt x="10130" y="19962"/>
                </a:lnTo>
                <a:lnTo>
                  <a:pt x="10027" y="19962"/>
                </a:lnTo>
                <a:lnTo>
                  <a:pt x="9959" y="20028"/>
                </a:lnTo>
                <a:lnTo>
                  <a:pt x="9890" y="20028"/>
                </a:lnTo>
                <a:lnTo>
                  <a:pt x="9890" y="19794"/>
                </a:lnTo>
                <a:lnTo>
                  <a:pt x="9856" y="19794"/>
                </a:lnTo>
                <a:lnTo>
                  <a:pt x="9856" y="19728"/>
                </a:lnTo>
                <a:lnTo>
                  <a:pt x="9787" y="19728"/>
                </a:lnTo>
                <a:lnTo>
                  <a:pt x="9787" y="19694"/>
                </a:lnTo>
                <a:lnTo>
                  <a:pt x="9718" y="19694"/>
                </a:lnTo>
                <a:lnTo>
                  <a:pt x="9718" y="19627"/>
                </a:lnTo>
                <a:lnTo>
                  <a:pt x="9650" y="19627"/>
                </a:lnTo>
                <a:lnTo>
                  <a:pt x="9547" y="19494"/>
                </a:lnTo>
                <a:lnTo>
                  <a:pt x="9478" y="19494"/>
                </a:lnTo>
                <a:lnTo>
                  <a:pt x="9478" y="19460"/>
                </a:lnTo>
                <a:lnTo>
                  <a:pt x="9306" y="19460"/>
                </a:lnTo>
                <a:lnTo>
                  <a:pt x="9306" y="19560"/>
                </a:lnTo>
                <a:lnTo>
                  <a:pt x="9135" y="19560"/>
                </a:lnTo>
                <a:lnTo>
                  <a:pt x="9135" y="19494"/>
                </a:lnTo>
                <a:lnTo>
                  <a:pt x="9066" y="19494"/>
                </a:lnTo>
                <a:lnTo>
                  <a:pt x="9066" y="19460"/>
                </a:lnTo>
                <a:lnTo>
                  <a:pt x="9135" y="19460"/>
                </a:lnTo>
                <a:lnTo>
                  <a:pt x="9169" y="19393"/>
                </a:lnTo>
                <a:lnTo>
                  <a:pt x="9169" y="19326"/>
                </a:lnTo>
                <a:lnTo>
                  <a:pt x="9238" y="19326"/>
                </a:lnTo>
                <a:lnTo>
                  <a:pt x="9238" y="19259"/>
                </a:lnTo>
                <a:lnTo>
                  <a:pt x="9306" y="19259"/>
                </a:lnTo>
                <a:lnTo>
                  <a:pt x="9306" y="19226"/>
                </a:lnTo>
                <a:lnTo>
                  <a:pt x="9375" y="19226"/>
                </a:lnTo>
                <a:lnTo>
                  <a:pt x="9478" y="19092"/>
                </a:lnTo>
                <a:lnTo>
                  <a:pt x="9478" y="19025"/>
                </a:lnTo>
                <a:lnTo>
                  <a:pt x="9547" y="19025"/>
                </a:lnTo>
                <a:lnTo>
                  <a:pt x="9547" y="18992"/>
                </a:lnTo>
                <a:lnTo>
                  <a:pt x="9615" y="18992"/>
                </a:lnTo>
                <a:lnTo>
                  <a:pt x="9615" y="18925"/>
                </a:lnTo>
                <a:lnTo>
                  <a:pt x="9650" y="18858"/>
                </a:lnTo>
                <a:lnTo>
                  <a:pt x="9650" y="18791"/>
                </a:lnTo>
                <a:lnTo>
                  <a:pt x="9718" y="18791"/>
                </a:lnTo>
                <a:lnTo>
                  <a:pt x="9718" y="18758"/>
                </a:lnTo>
                <a:lnTo>
                  <a:pt x="9787" y="18758"/>
                </a:lnTo>
                <a:lnTo>
                  <a:pt x="9787" y="18691"/>
                </a:lnTo>
                <a:lnTo>
                  <a:pt x="9856" y="18691"/>
                </a:lnTo>
                <a:lnTo>
                  <a:pt x="9856" y="18624"/>
                </a:lnTo>
                <a:lnTo>
                  <a:pt x="9890" y="18624"/>
                </a:lnTo>
                <a:lnTo>
                  <a:pt x="9890" y="18557"/>
                </a:lnTo>
                <a:lnTo>
                  <a:pt x="9959" y="18557"/>
                </a:lnTo>
                <a:lnTo>
                  <a:pt x="9959" y="18524"/>
                </a:lnTo>
                <a:lnTo>
                  <a:pt x="10027" y="18524"/>
                </a:lnTo>
                <a:lnTo>
                  <a:pt x="10096" y="18457"/>
                </a:lnTo>
                <a:lnTo>
                  <a:pt x="10096" y="18323"/>
                </a:lnTo>
                <a:lnTo>
                  <a:pt x="10130" y="18323"/>
                </a:lnTo>
                <a:lnTo>
                  <a:pt x="10130" y="18290"/>
                </a:lnTo>
                <a:lnTo>
                  <a:pt x="10268" y="18290"/>
                </a:lnTo>
                <a:lnTo>
                  <a:pt x="10268" y="18223"/>
                </a:lnTo>
                <a:lnTo>
                  <a:pt x="10336" y="18223"/>
                </a:lnTo>
                <a:lnTo>
                  <a:pt x="10336" y="18156"/>
                </a:lnTo>
                <a:lnTo>
                  <a:pt x="10371" y="18156"/>
                </a:lnTo>
                <a:lnTo>
                  <a:pt x="10371" y="18089"/>
                </a:lnTo>
                <a:lnTo>
                  <a:pt x="10439" y="18089"/>
                </a:lnTo>
                <a:lnTo>
                  <a:pt x="10439" y="18056"/>
                </a:lnTo>
                <a:lnTo>
                  <a:pt x="10577" y="18056"/>
                </a:lnTo>
                <a:lnTo>
                  <a:pt x="10577" y="17922"/>
                </a:lnTo>
                <a:lnTo>
                  <a:pt x="10852" y="17922"/>
                </a:lnTo>
                <a:lnTo>
                  <a:pt x="10852" y="17855"/>
                </a:lnTo>
                <a:lnTo>
                  <a:pt x="10920" y="17855"/>
                </a:lnTo>
                <a:lnTo>
                  <a:pt x="10989" y="17822"/>
                </a:lnTo>
                <a:lnTo>
                  <a:pt x="11023" y="17822"/>
                </a:lnTo>
                <a:lnTo>
                  <a:pt x="11092" y="17755"/>
                </a:lnTo>
                <a:lnTo>
                  <a:pt x="11092" y="17688"/>
                </a:lnTo>
                <a:lnTo>
                  <a:pt x="11161" y="17688"/>
                </a:lnTo>
                <a:lnTo>
                  <a:pt x="11161" y="17588"/>
                </a:lnTo>
                <a:lnTo>
                  <a:pt x="11229" y="17521"/>
                </a:lnTo>
                <a:lnTo>
                  <a:pt x="11229" y="17186"/>
                </a:lnTo>
                <a:lnTo>
                  <a:pt x="11161" y="17120"/>
                </a:lnTo>
                <a:lnTo>
                  <a:pt x="11161" y="16986"/>
                </a:lnTo>
                <a:lnTo>
                  <a:pt x="11092" y="16986"/>
                </a:lnTo>
                <a:lnTo>
                  <a:pt x="11092" y="16885"/>
                </a:lnTo>
                <a:lnTo>
                  <a:pt x="11023" y="16819"/>
                </a:lnTo>
                <a:lnTo>
                  <a:pt x="10989" y="16819"/>
                </a:lnTo>
                <a:lnTo>
                  <a:pt x="10989" y="16885"/>
                </a:lnTo>
                <a:lnTo>
                  <a:pt x="10920" y="16819"/>
                </a:lnTo>
                <a:lnTo>
                  <a:pt x="10852" y="16819"/>
                </a:lnTo>
                <a:lnTo>
                  <a:pt x="10852" y="16885"/>
                </a:lnTo>
                <a:lnTo>
                  <a:pt x="10680" y="16885"/>
                </a:lnTo>
                <a:lnTo>
                  <a:pt x="10680" y="16819"/>
                </a:lnTo>
                <a:lnTo>
                  <a:pt x="10748" y="16819"/>
                </a:lnTo>
                <a:lnTo>
                  <a:pt x="10748" y="16651"/>
                </a:lnTo>
                <a:lnTo>
                  <a:pt x="10817" y="16651"/>
                </a:lnTo>
                <a:lnTo>
                  <a:pt x="10817" y="16484"/>
                </a:lnTo>
                <a:lnTo>
                  <a:pt x="10852" y="16417"/>
                </a:lnTo>
                <a:lnTo>
                  <a:pt x="10852" y="16016"/>
                </a:lnTo>
                <a:lnTo>
                  <a:pt x="10920" y="16016"/>
                </a:lnTo>
                <a:lnTo>
                  <a:pt x="10920" y="15949"/>
                </a:lnTo>
                <a:lnTo>
                  <a:pt x="10817" y="15949"/>
                </a:lnTo>
                <a:lnTo>
                  <a:pt x="10817" y="15882"/>
                </a:lnTo>
                <a:lnTo>
                  <a:pt x="10439" y="15882"/>
                </a:lnTo>
                <a:lnTo>
                  <a:pt x="10439" y="15949"/>
                </a:lnTo>
                <a:lnTo>
                  <a:pt x="10268" y="15949"/>
                </a:lnTo>
                <a:lnTo>
                  <a:pt x="10268" y="15815"/>
                </a:lnTo>
                <a:lnTo>
                  <a:pt x="10199" y="15715"/>
                </a:lnTo>
                <a:lnTo>
                  <a:pt x="10199" y="15481"/>
                </a:lnTo>
                <a:lnTo>
                  <a:pt x="10130" y="15481"/>
                </a:lnTo>
                <a:lnTo>
                  <a:pt x="10130" y="15414"/>
                </a:lnTo>
                <a:lnTo>
                  <a:pt x="10199" y="15347"/>
                </a:lnTo>
                <a:lnTo>
                  <a:pt x="10199" y="15314"/>
                </a:lnTo>
                <a:lnTo>
                  <a:pt x="10130" y="15314"/>
                </a:lnTo>
                <a:lnTo>
                  <a:pt x="10130" y="15113"/>
                </a:lnTo>
                <a:lnTo>
                  <a:pt x="10096" y="15113"/>
                </a:lnTo>
                <a:lnTo>
                  <a:pt x="10096" y="15013"/>
                </a:lnTo>
                <a:lnTo>
                  <a:pt x="9959" y="15013"/>
                </a:lnTo>
                <a:lnTo>
                  <a:pt x="9890" y="14946"/>
                </a:lnTo>
                <a:lnTo>
                  <a:pt x="9856" y="14946"/>
                </a:lnTo>
                <a:lnTo>
                  <a:pt x="9787" y="14879"/>
                </a:lnTo>
                <a:lnTo>
                  <a:pt x="9718" y="14879"/>
                </a:lnTo>
                <a:lnTo>
                  <a:pt x="9718" y="14846"/>
                </a:lnTo>
                <a:lnTo>
                  <a:pt x="9650" y="14846"/>
                </a:lnTo>
                <a:lnTo>
                  <a:pt x="9650" y="14879"/>
                </a:lnTo>
                <a:lnTo>
                  <a:pt x="9547" y="14879"/>
                </a:lnTo>
                <a:lnTo>
                  <a:pt x="9478" y="14946"/>
                </a:lnTo>
                <a:lnTo>
                  <a:pt x="9169" y="14946"/>
                </a:lnTo>
                <a:lnTo>
                  <a:pt x="9169" y="14879"/>
                </a:lnTo>
                <a:lnTo>
                  <a:pt x="8894" y="14879"/>
                </a:lnTo>
                <a:lnTo>
                  <a:pt x="8825" y="14846"/>
                </a:lnTo>
                <a:lnTo>
                  <a:pt x="8894" y="14846"/>
                </a:lnTo>
                <a:lnTo>
                  <a:pt x="8894" y="14311"/>
                </a:lnTo>
                <a:lnTo>
                  <a:pt x="8928" y="14311"/>
                </a:lnTo>
                <a:lnTo>
                  <a:pt x="8928" y="14211"/>
                </a:lnTo>
                <a:lnTo>
                  <a:pt x="8894" y="14211"/>
                </a:lnTo>
                <a:lnTo>
                  <a:pt x="8894" y="14010"/>
                </a:lnTo>
                <a:lnTo>
                  <a:pt x="8825" y="14010"/>
                </a:lnTo>
                <a:lnTo>
                  <a:pt x="8825" y="13910"/>
                </a:lnTo>
                <a:lnTo>
                  <a:pt x="8757" y="13843"/>
                </a:lnTo>
                <a:lnTo>
                  <a:pt x="8757" y="13776"/>
                </a:lnTo>
                <a:lnTo>
                  <a:pt x="8825" y="13776"/>
                </a:lnTo>
                <a:lnTo>
                  <a:pt x="8825" y="13742"/>
                </a:lnTo>
                <a:lnTo>
                  <a:pt x="8894" y="13742"/>
                </a:lnTo>
                <a:lnTo>
                  <a:pt x="8894" y="13609"/>
                </a:lnTo>
                <a:lnTo>
                  <a:pt x="8825" y="13609"/>
                </a:lnTo>
                <a:lnTo>
                  <a:pt x="8825" y="13375"/>
                </a:lnTo>
                <a:lnTo>
                  <a:pt x="8894" y="13308"/>
                </a:lnTo>
                <a:lnTo>
                  <a:pt x="8894" y="13274"/>
                </a:lnTo>
                <a:lnTo>
                  <a:pt x="8928" y="13207"/>
                </a:lnTo>
                <a:lnTo>
                  <a:pt x="8928" y="13141"/>
                </a:lnTo>
                <a:lnTo>
                  <a:pt x="8997" y="13074"/>
                </a:lnTo>
                <a:lnTo>
                  <a:pt x="8997" y="12973"/>
                </a:lnTo>
                <a:lnTo>
                  <a:pt x="9066" y="12907"/>
                </a:lnTo>
                <a:lnTo>
                  <a:pt x="9066" y="12739"/>
                </a:lnTo>
                <a:lnTo>
                  <a:pt x="9135" y="12739"/>
                </a:lnTo>
                <a:lnTo>
                  <a:pt x="9135" y="12672"/>
                </a:lnTo>
                <a:lnTo>
                  <a:pt x="9066" y="12672"/>
                </a:lnTo>
                <a:lnTo>
                  <a:pt x="9066" y="12572"/>
                </a:lnTo>
                <a:lnTo>
                  <a:pt x="8997" y="12572"/>
                </a:lnTo>
                <a:lnTo>
                  <a:pt x="8997" y="12372"/>
                </a:lnTo>
                <a:lnTo>
                  <a:pt x="8928" y="12372"/>
                </a:lnTo>
                <a:lnTo>
                  <a:pt x="8928" y="12338"/>
                </a:lnTo>
                <a:lnTo>
                  <a:pt x="8894" y="12271"/>
                </a:lnTo>
                <a:lnTo>
                  <a:pt x="8688" y="12271"/>
                </a:lnTo>
                <a:lnTo>
                  <a:pt x="8688" y="12204"/>
                </a:lnTo>
                <a:lnTo>
                  <a:pt x="8654" y="12204"/>
                </a:lnTo>
                <a:lnTo>
                  <a:pt x="8654" y="12104"/>
                </a:lnTo>
                <a:lnTo>
                  <a:pt x="8585" y="12104"/>
                </a:lnTo>
                <a:lnTo>
                  <a:pt x="8585" y="11736"/>
                </a:lnTo>
                <a:lnTo>
                  <a:pt x="8654" y="11736"/>
                </a:lnTo>
                <a:lnTo>
                  <a:pt x="8654" y="11636"/>
                </a:lnTo>
                <a:lnTo>
                  <a:pt x="7624" y="11636"/>
                </a:lnTo>
                <a:lnTo>
                  <a:pt x="7624" y="11268"/>
                </a:lnTo>
                <a:lnTo>
                  <a:pt x="7555" y="11168"/>
                </a:lnTo>
                <a:lnTo>
                  <a:pt x="7555" y="11101"/>
                </a:lnTo>
                <a:lnTo>
                  <a:pt x="7521" y="11101"/>
                </a:lnTo>
                <a:lnTo>
                  <a:pt x="7521" y="11034"/>
                </a:lnTo>
                <a:lnTo>
                  <a:pt x="7452" y="11034"/>
                </a:lnTo>
                <a:lnTo>
                  <a:pt x="7452" y="11001"/>
                </a:lnTo>
                <a:lnTo>
                  <a:pt x="7624" y="11001"/>
                </a:lnTo>
                <a:lnTo>
                  <a:pt x="7624" y="10800"/>
                </a:lnTo>
                <a:lnTo>
                  <a:pt x="7555" y="10800"/>
                </a:lnTo>
                <a:lnTo>
                  <a:pt x="7555" y="10633"/>
                </a:lnTo>
                <a:lnTo>
                  <a:pt x="7521" y="10633"/>
                </a:lnTo>
                <a:lnTo>
                  <a:pt x="7521" y="10332"/>
                </a:lnTo>
                <a:lnTo>
                  <a:pt x="7452" y="10298"/>
                </a:lnTo>
                <a:lnTo>
                  <a:pt x="7383" y="10298"/>
                </a:lnTo>
                <a:lnTo>
                  <a:pt x="7383" y="10232"/>
                </a:lnTo>
                <a:lnTo>
                  <a:pt x="7314" y="10232"/>
                </a:lnTo>
                <a:lnTo>
                  <a:pt x="7314" y="10165"/>
                </a:lnTo>
                <a:lnTo>
                  <a:pt x="7211" y="10165"/>
                </a:lnTo>
                <a:lnTo>
                  <a:pt x="7211" y="10098"/>
                </a:lnTo>
                <a:lnTo>
                  <a:pt x="7143" y="10098"/>
                </a:lnTo>
                <a:lnTo>
                  <a:pt x="7143" y="10064"/>
                </a:lnTo>
                <a:lnTo>
                  <a:pt x="6971" y="10064"/>
                </a:lnTo>
                <a:lnTo>
                  <a:pt x="6902" y="10098"/>
                </a:lnTo>
                <a:lnTo>
                  <a:pt x="6662" y="10098"/>
                </a:lnTo>
                <a:lnTo>
                  <a:pt x="6662" y="9998"/>
                </a:lnTo>
                <a:lnTo>
                  <a:pt x="6559" y="9998"/>
                </a:lnTo>
                <a:lnTo>
                  <a:pt x="6559" y="9864"/>
                </a:lnTo>
                <a:lnTo>
                  <a:pt x="6250" y="9864"/>
                </a:lnTo>
                <a:lnTo>
                  <a:pt x="6181" y="9830"/>
                </a:lnTo>
                <a:lnTo>
                  <a:pt x="6113" y="9830"/>
                </a:lnTo>
                <a:lnTo>
                  <a:pt x="6113" y="9763"/>
                </a:lnTo>
                <a:lnTo>
                  <a:pt x="6078" y="9763"/>
                </a:lnTo>
                <a:lnTo>
                  <a:pt x="6078" y="9630"/>
                </a:lnTo>
                <a:lnTo>
                  <a:pt x="5941" y="9630"/>
                </a:lnTo>
                <a:lnTo>
                  <a:pt x="5872" y="9596"/>
                </a:lnTo>
                <a:lnTo>
                  <a:pt x="5700" y="9596"/>
                </a:lnTo>
                <a:lnTo>
                  <a:pt x="5700" y="9529"/>
                </a:lnTo>
                <a:lnTo>
                  <a:pt x="5597" y="9529"/>
                </a:lnTo>
                <a:lnTo>
                  <a:pt x="5597" y="9596"/>
                </a:lnTo>
                <a:lnTo>
                  <a:pt x="5357" y="9596"/>
                </a:lnTo>
                <a:lnTo>
                  <a:pt x="5357" y="9529"/>
                </a:lnTo>
                <a:lnTo>
                  <a:pt x="5288" y="9529"/>
                </a:lnTo>
                <a:lnTo>
                  <a:pt x="5288" y="9463"/>
                </a:lnTo>
                <a:lnTo>
                  <a:pt x="5220" y="9463"/>
                </a:lnTo>
                <a:lnTo>
                  <a:pt x="5220" y="9396"/>
                </a:lnTo>
                <a:lnTo>
                  <a:pt x="5151" y="9396"/>
                </a:lnTo>
                <a:lnTo>
                  <a:pt x="4979" y="9228"/>
                </a:lnTo>
                <a:lnTo>
                  <a:pt x="4911" y="9228"/>
                </a:lnTo>
                <a:lnTo>
                  <a:pt x="4911" y="9162"/>
                </a:lnTo>
                <a:lnTo>
                  <a:pt x="4876" y="9128"/>
                </a:lnTo>
                <a:lnTo>
                  <a:pt x="4876" y="9061"/>
                </a:lnTo>
                <a:lnTo>
                  <a:pt x="4808" y="8994"/>
                </a:lnTo>
                <a:lnTo>
                  <a:pt x="4808" y="8928"/>
                </a:lnTo>
                <a:lnTo>
                  <a:pt x="4739" y="8928"/>
                </a:lnTo>
                <a:lnTo>
                  <a:pt x="4739" y="8827"/>
                </a:lnTo>
                <a:lnTo>
                  <a:pt x="4808" y="8760"/>
                </a:lnTo>
                <a:lnTo>
                  <a:pt x="4739" y="8694"/>
                </a:lnTo>
                <a:lnTo>
                  <a:pt x="4739" y="8359"/>
                </a:lnTo>
                <a:lnTo>
                  <a:pt x="4808" y="8225"/>
                </a:lnTo>
                <a:lnTo>
                  <a:pt x="4808" y="8125"/>
                </a:lnTo>
                <a:lnTo>
                  <a:pt x="4739" y="8058"/>
                </a:lnTo>
                <a:lnTo>
                  <a:pt x="4670" y="8058"/>
                </a:lnTo>
                <a:lnTo>
                  <a:pt x="4670" y="8125"/>
                </a:lnTo>
                <a:lnTo>
                  <a:pt x="4636" y="8125"/>
                </a:lnTo>
                <a:lnTo>
                  <a:pt x="4567" y="8058"/>
                </a:lnTo>
                <a:lnTo>
                  <a:pt x="4396" y="8058"/>
                </a:lnTo>
                <a:lnTo>
                  <a:pt x="4327" y="8125"/>
                </a:lnTo>
                <a:lnTo>
                  <a:pt x="4155" y="8125"/>
                </a:lnTo>
                <a:lnTo>
                  <a:pt x="4086" y="8192"/>
                </a:lnTo>
                <a:lnTo>
                  <a:pt x="4018" y="8192"/>
                </a:lnTo>
                <a:lnTo>
                  <a:pt x="3983" y="8225"/>
                </a:lnTo>
                <a:lnTo>
                  <a:pt x="3915" y="8225"/>
                </a:lnTo>
                <a:lnTo>
                  <a:pt x="3915" y="8292"/>
                </a:lnTo>
                <a:lnTo>
                  <a:pt x="3846" y="8292"/>
                </a:lnTo>
                <a:lnTo>
                  <a:pt x="3846" y="8359"/>
                </a:lnTo>
                <a:lnTo>
                  <a:pt x="3743" y="8359"/>
                </a:lnTo>
                <a:lnTo>
                  <a:pt x="3606" y="8459"/>
                </a:lnTo>
                <a:lnTo>
                  <a:pt x="3537" y="8459"/>
                </a:lnTo>
                <a:lnTo>
                  <a:pt x="3537" y="8526"/>
                </a:lnTo>
                <a:lnTo>
                  <a:pt x="3503" y="8526"/>
                </a:lnTo>
                <a:lnTo>
                  <a:pt x="3503" y="8593"/>
                </a:lnTo>
                <a:lnTo>
                  <a:pt x="3365" y="8593"/>
                </a:lnTo>
                <a:lnTo>
                  <a:pt x="3365" y="8660"/>
                </a:lnTo>
                <a:lnTo>
                  <a:pt x="3262" y="8660"/>
                </a:lnTo>
                <a:lnTo>
                  <a:pt x="3194" y="8694"/>
                </a:lnTo>
                <a:lnTo>
                  <a:pt x="3125" y="8694"/>
                </a:lnTo>
                <a:lnTo>
                  <a:pt x="3056" y="8760"/>
                </a:lnTo>
                <a:lnTo>
                  <a:pt x="2576" y="8760"/>
                </a:lnTo>
                <a:lnTo>
                  <a:pt x="2541" y="8694"/>
                </a:lnTo>
                <a:lnTo>
                  <a:pt x="2163" y="8694"/>
                </a:lnTo>
                <a:lnTo>
                  <a:pt x="2163" y="8760"/>
                </a:lnTo>
                <a:lnTo>
                  <a:pt x="1992" y="8760"/>
                </a:lnTo>
                <a:lnTo>
                  <a:pt x="1923" y="8694"/>
                </a:lnTo>
                <a:lnTo>
                  <a:pt x="1923" y="8760"/>
                </a:lnTo>
                <a:lnTo>
                  <a:pt x="1854" y="8760"/>
                </a:lnTo>
                <a:lnTo>
                  <a:pt x="1854" y="8125"/>
                </a:lnTo>
                <a:lnTo>
                  <a:pt x="1923" y="8125"/>
                </a:lnTo>
                <a:lnTo>
                  <a:pt x="1923" y="7991"/>
                </a:lnTo>
                <a:lnTo>
                  <a:pt x="1854" y="7991"/>
                </a:lnTo>
                <a:lnTo>
                  <a:pt x="1923" y="7958"/>
                </a:lnTo>
                <a:lnTo>
                  <a:pt x="1923" y="7891"/>
                </a:lnTo>
                <a:lnTo>
                  <a:pt x="1854" y="7891"/>
                </a:lnTo>
                <a:lnTo>
                  <a:pt x="1854" y="7958"/>
                </a:lnTo>
                <a:lnTo>
                  <a:pt x="1820" y="7958"/>
                </a:lnTo>
                <a:lnTo>
                  <a:pt x="1751" y="7991"/>
                </a:lnTo>
                <a:lnTo>
                  <a:pt x="1683" y="7991"/>
                </a:lnTo>
                <a:lnTo>
                  <a:pt x="1683" y="8125"/>
                </a:lnTo>
                <a:lnTo>
                  <a:pt x="1614" y="8125"/>
                </a:lnTo>
                <a:lnTo>
                  <a:pt x="1511" y="8192"/>
                </a:lnTo>
                <a:lnTo>
                  <a:pt x="1030" y="8192"/>
                </a:lnTo>
                <a:lnTo>
                  <a:pt x="1030" y="8058"/>
                </a:lnTo>
                <a:lnTo>
                  <a:pt x="962" y="8058"/>
                </a:lnTo>
                <a:lnTo>
                  <a:pt x="962" y="7958"/>
                </a:lnTo>
                <a:lnTo>
                  <a:pt x="927" y="7958"/>
                </a:lnTo>
                <a:lnTo>
                  <a:pt x="859" y="7891"/>
                </a:lnTo>
                <a:lnTo>
                  <a:pt x="446" y="7891"/>
                </a:lnTo>
                <a:lnTo>
                  <a:pt x="481" y="7824"/>
                </a:lnTo>
                <a:lnTo>
                  <a:pt x="549" y="7824"/>
                </a:lnTo>
                <a:lnTo>
                  <a:pt x="549" y="7724"/>
                </a:lnTo>
                <a:lnTo>
                  <a:pt x="618" y="7724"/>
                </a:lnTo>
                <a:lnTo>
                  <a:pt x="618" y="7657"/>
                </a:lnTo>
                <a:lnTo>
                  <a:pt x="549" y="7657"/>
                </a:lnTo>
                <a:lnTo>
                  <a:pt x="549" y="7590"/>
                </a:lnTo>
                <a:lnTo>
                  <a:pt x="481" y="7590"/>
                </a:lnTo>
                <a:lnTo>
                  <a:pt x="481" y="7490"/>
                </a:lnTo>
                <a:lnTo>
                  <a:pt x="378" y="7490"/>
                </a:lnTo>
                <a:lnTo>
                  <a:pt x="378" y="7356"/>
                </a:lnTo>
                <a:lnTo>
                  <a:pt x="309" y="7356"/>
                </a:lnTo>
                <a:lnTo>
                  <a:pt x="309" y="7323"/>
                </a:lnTo>
                <a:lnTo>
                  <a:pt x="240" y="7323"/>
                </a:lnTo>
                <a:lnTo>
                  <a:pt x="240" y="7122"/>
                </a:lnTo>
                <a:lnTo>
                  <a:pt x="206" y="7122"/>
                </a:lnTo>
                <a:lnTo>
                  <a:pt x="206" y="6955"/>
                </a:lnTo>
                <a:lnTo>
                  <a:pt x="137" y="6955"/>
                </a:lnTo>
                <a:lnTo>
                  <a:pt x="137" y="6888"/>
                </a:lnTo>
                <a:lnTo>
                  <a:pt x="0" y="6888"/>
                </a:lnTo>
                <a:lnTo>
                  <a:pt x="0" y="6854"/>
                </a:lnTo>
                <a:lnTo>
                  <a:pt x="137" y="6854"/>
                </a:lnTo>
                <a:lnTo>
                  <a:pt x="137" y="6788"/>
                </a:lnTo>
                <a:lnTo>
                  <a:pt x="206" y="6788"/>
                </a:lnTo>
                <a:lnTo>
                  <a:pt x="206" y="6654"/>
                </a:lnTo>
                <a:lnTo>
                  <a:pt x="137" y="6654"/>
                </a:lnTo>
                <a:lnTo>
                  <a:pt x="137" y="6554"/>
                </a:lnTo>
                <a:lnTo>
                  <a:pt x="206" y="6554"/>
                </a:lnTo>
                <a:lnTo>
                  <a:pt x="206" y="6487"/>
                </a:lnTo>
                <a:lnTo>
                  <a:pt x="240" y="6487"/>
                </a:lnTo>
                <a:lnTo>
                  <a:pt x="240" y="6420"/>
                </a:lnTo>
                <a:lnTo>
                  <a:pt x="309" y="6420"/>
                </a:lnTo>
                <a:lnTo>
                  <a:pt x="309" y="6386"/>
                </a:lnTo>
                <a:lnTo>
                  <a:pt x="446" y="6386"/>
                </a:lnTo>
                <a:lnTo>
                  <a:pt x="446" y="6320"/>
                </a:lnTo>
                <a:lnTo>
                  <a:pt x="481" y="6320"/>
                </a:lnTo>
                <a:lnTo>
                  <a:pt x="549" y="6253"/>
                </a:lnTo>
                <a:lnTo>
                  <a:pt x="481" y="6186"/>
                </a:lnTo>
                <a:lnTo>
                  <a:pt x="481" y="5952"/>
                </a:lnTo>
                <a:lnTo>
                  <a:pt x="549" y="5952"/>
                </a:lnTo>
                <a:lnTo>
                  <a:pt x="549" y="5918"/>
                </a:lnTo>
                <a:lnTo>
                  <a:pt x="618" y="5918"/>
                </a:lnTo>
                <a:lnTo>
                  <a:pt x="618" y="5617"/>
                </a:lnTo>
                <a:lnTo>
                  <a:pt x="687" y="5550"/>
                </a:lnTo>
                <a:lnTo>
                  <a:pt x="721" y="5550"/>
                </a:lnTo>
                <a:lnTo>
                  <a:pt x="721" y="5484"/>
                </a:lnTo>
                <a:lnTo>
                  <a:pt x="790" y="5484"/>
                </a:lnTo>
                <a:lnTo>
                  <a:pt x="790" y="5450"/>
                </a:lnTo>
                <a:lnTo>
                  <a:pt x="859" y="5450"/>
                </a:lnTo>
                <a:lnTo>
                  <a:pt x="927" y="5383"/>
                </a:lnTo>
                <a:lnTo>
                  <a:pt x="1030" y="5316"/>
                </a:lnTo>
                <a:lnTo>
                  <a:pt x="1099" y="5250"/>
                </a:lnTo>
                <a:lnTo>
                  <a:pt x="1202" y="5250"/>
                </a:lnTo>
                <a:lnTo>
                  <a:pt x="1339" y="5216"/>
                </a:lnTo>
                <a:lnTo>
                  <a:pt x="1614" y="5216"/>
                </a:lnTo>
                <a:lnTo>
                  <a:pt x="1614" y="5149"/>
                </a:lnTo>
                <a:lnTo>
                  <a:pt x="1751" y="5149"/>
                </a:lnTo>
                <a:lnTo>
                  <a:pt x="1751" y="5082"/>
                </a:lnTo>
                <a:lnTo>
                  <a:pt x="1820" y="5082"/>
                </a:lnTo>
                <a:lnTo>
                  <a:pt x="1820" y="5015"/>
                </a:lnTo>
                <a:lnTo>
                  <a:pt x="2060" y="5015"/>
                </a:lnTo>
                <a:lnTo>
                  <a:pt x="2060" y="5149"/>
                </a:lnTo>
                <a:lnTo>
                  <a:pt x="2232" y="5149"/>
                </a:lnTo>
                <a:lnTo>
                  <a:pt x="2232" y="5015"/>
                </a:lnTo>
                <a:lnTo>
                  <a:pt x="2301" y="5015"/>
                </a:lnTo>
                <a:lnTo>
                  <a:pt x="2301" y="4815"/>
                </a:lnTo>
                <a:lnTo>
                  <a:pt x="2335" y="4748"/>
                </a:lnTo>
                <a:lnTo>
                  <a:pt x="2335" y="4514"/>
                </a:lnTo>
                <a:lnTo>
                  <a:pt x="2404" y="4447"/>
                </a:lnTo>
                <a:lnTo>
                  <a:pt x="2404" y="4213"/>
                </a:lnTo>
                <a:lnTo>
                  <a:pt x="2472" y="4146"/>
                </a:lnTo>
                <a:lnTo>
                  <a:pt x="2472" y="3879"/>
                </a:lnTo>
                <a:lnTo>
                  <a:pt x="2541" y="3812"/>
                </a:lnTo>
                <a:lnTo>
                  <a:pt x="2541" y="3277"/>
                </a:lnTo>
                <a:lnTo>
                  <a:pt x="2472" y="3277"/>
                </a:lnTo>
                <a:lnTo>
                  <a:pt x="2472" y="3176"/>
                </a:lnTo>
                <a:lnTo>
                  <a:pt x="2404" y="3110"/>
                </a:lnTo>
                <a:lnTo>
                  <a:pt x="2404" y="3043"/>
                </a:lnTo>
                <a:lnTo>
                  <a:pt x="2335" y="3043"/>
                </a:lnTo>
                <a:lnTo>
                  <a:pt x="2301" y="2976"/>
                </a:lnTo>
                <a:lnTo>
                  <a:pt x="2232" y="2976"/>
                </a:lnTo>
                <a:lnTo>
                  <a:pt x="2232" y="2508"/>
                </a:lnTo>
                <a:lnTo>
                  <a:pt x="2301" y="2508"/>
                </a:lnTo>
                <a:lnTo>
                  <a:pt x="2301" y="2474"/>
                </a:lnTo>
                <a:lnTo>
                  <a:pt x="2472" y="2474"/>
                </a:lnTo>
                <a:lnTo>
                  <a:pt x="2472" y="2407"/>
                </a:lnTo>
                <a:lnTo>
                  <a:pt x="2541" y="2407"/>
                </a:lnTo>
                <a:lnTo>
                  <a:pt x="2541" y="2474"/>
                </a:lnTo>
                <a:lnTo>
                  <a:pt x="2644" y="2474"/>
                </a:lnTo>
                <a:lnTo>
                  <a:pt x="2644" y="2508"/>
                </a:lnTo>
                <a:lnTo>
                  <a:pt x="2713" y="2508"/>
                </a:lnTo>
                <a:lnTo>
                  <a:pt x="2713" y="2341"/>
                </a:lnTo>
                <a:lnTo>
                  <a:pt x="2644" y="2341"/>
                </a:lnTo>
                <a:lnTo>
                  <a:pt x="2644" y="2274"/>
                </a:lnTo>
                <a:lnTo>
                  <a:pt x="2576" y="2240"/>
                </a:lnTo>
                <a:lnTo>
                  <a:pt x="2541" y="2240"/>
                </a:lnTo>
                <a:lnTo>
                  <a:pt x="2541" y="2274"/>
                </a:lnTo>
                <a:lnTo>
                  <a:pt x="2472" y="2274"/>
                </a:lnTo>
                <a:lnTo>
                  <a:pt x="2472" y="2240"/>
                </a:lnTo>
                <a:lnTo>
                  <a:pt x="2301" y="2240"/>
                </a:lnTo>
                <a:lnTo>
                  <a:pt x="2335" y="2173"/>
                </a:lnTo>
                <a:lnTo>
                  <a:pt x="2335" y="1939"/>
                </a:lnTo>
                <a:lnTo>
                  <a:pt x="3194" y="1939"/>
                </a:lnTo>
                <a:lnTo>
                  <a:pt x="3262" y="1872"/>
                </a:lnTo>
                <a:lnTo>
                  <a:pt x="3194" y="1872"/>
                </a:lnTo>
                <a:lnTo>
                  <a:pt x="3194" y="1772"/>
                </a:lnTo>
                <a:lnTo>
                  <a:pt x="3262" y="1772"/>
                </a:lnTo>
                <a:lnTo>
                  <a:pt x="3262" y="1806"/>
                </a:lnTo>
                <a:lnTo>
                  <a:pt x="3297" y="1806"/>
                </a:lnTo>
                <a:lnTo>
                  <a:pt x="3297" y="1872"/>
                </a:lnTo>
                <a:lnTo>
                  <a:pt x="3434" y="1872"/>
                </a:lnTo>
                <a:lnTo>
                  <a:pt x="3503" y="1806"/>
                </a:lnTo>
                <a:lnTo>
                  <a:pt x="3503" y="1772"/>
                </a:lnTo>
                <a:lnTo>
                  <a:pt x="3606" y="1772"/>
                </a:lnTo>
                <a:lnTo>
                  <a:pt x="3606" y="1705"/>
                </a:lnTo>
                <a:lnTo>
                  <a:pt x="3674" y="1705"/>
                </a:lnTo>
                <a:lnTo>
                  <a:pt x="3743" y="1772"/>
                </a:lnTo>
                <a:lnTo>
                  <a:pt x="3743" y="1872"/>
                </a:lnTo>
                <a:lnTo>
                  <a:pt x="3777" y="1872"/>
                </a:lnTo>
                <a:lnTo>
                  <a:pt x="3777" y="1939"/>
                </a:lnTo>
                <a:lnTo>
                  <a:pt x="3846" y="2006"/>
                </a:lnTo>
                <a:lnTo>
                  <a:pt x="3846" y="2173"/>
                </a:lnTo>
                <a:lnTo>
                  <a:pt x="3983" y="2173"/>
                </a:lnTo>
                <a:lnTo>
                  <a:pt x="3983" y="2240"/>
                </a:lnTo>
                <a:lnTo>
                  <a:pt x="4018" y="2240"/>
                </a:lnTo>
                <a:lnTo>
                  <a:pt x="4018" y="2274"/>
                </a:lnTo>
                <a:lnTo>
                  <a:pt x="4086" y="2274"/>
                </a:lnTo>
                <a:lnTo>
                  <a:pt x="4086" y="2341"/>
                </a:lnTo>
                <a:lnTo>
                  <a:pt x="4155" y="2341"/>
                </a:lnTo>
                <a:lnTo>
                  <a:pt x="4224" y="2407"/>
                </a:lnTo>
                <a:lnTo>
                  <a:pt x="4258" y="2407"/>
                </a:lnTo>
                <a:lnTo>
                  <a:pt x="4258" y="2474"/>
                </a:lnTo>
                <a:lnTo>
                  <a:pt x="4396" y="2474"/>
                </a:lnTo>
                <a:lnTo>
                  <a:pt x="4396" y="2407"/>
                </a:lnTo>
                <a:lnTo>
                  <a:pt x="4499" y="2407"/>
                </a:lnTo>
                <a:lnTo>
                  <a:pt x="4499" y="2341"/>
                </a:lnTo>
                <a:lnTo>
                  <a:pt x="4636" y="2341"/>
                </a:lnTo>
                <a:lnTo>
                  <a:pt x="4636" y="2274"/>
                </a:lnTo>
                <a:lnTo>
                  <a:pt x="4670" y="2274"/>
                </a:lnTo>
                <a:lnTo>
                  <a:pt x="4670" y="2407"/>
                </a:lnTo>
                <a:lnTo>
                  <a:pt x="4636" y="2407"/>
                </a:lnTo>
                <a:lnTo>
                  <a:pt x="4636" y="2474"/>
                </a:lnTo>
                <a:lnTo>
                  <a:pt x="4670" y="2508"/>
                </a:lnTo>
                <a:lnTo>
                  <a:pt x="4739" y="2474"/>
                </a:lnTo>
                <a:lnTo>
                  <a:pt x="4739" y="2407"/>
                </a:lnTo>
                <a:lnTo>
                  <a:pt x="4808" y="2407"/>
                </a:lnTo>
                <a:lnTo>
                  <a:pt x="4808" y="2341"/>
                </a:lnTo>
                <a:lnTo>
                  <a:pt x="4876" y="2341"/>
                </a:lnTo>
                <a:lnTo>
                  <a:pt x="4876" y="2274"/>
                </a:lnTo>
                <a:lnTo>
                  <a:pt x="4911" y="2240"/>
                </a:lnTo>
                <a:lnTo>
                  <a:pt x="4979" y="2240"/>
                </a:lnTo>
                <a:lnTo>
                  <a:pt x="4979" y="2173"/>
                </a:lnTo>
                <a:lnTo>
                  <a:pt x="5151" y="2173"/>
                </a:lnTo>
                <a:lnTo>
                  <a:pt x="5151" y="2107"/>
                </a:lnTo>
                <a:lnTo>
                  <a:pt x="5288" y="2107"/>
                </a:lnTo>
                <a:lnTo>
                  <a:pt x="5288" y="2040"/>
                </a:lnTo>
                <a:lnTo>
                  <a:pt x="5357" y="2040"/>
                </a:lnTo>
                <a:lnTo>
                  <a:pt x="5357" y="2107"/>
                </a:lnTo>
                <a:lnTo>
                  <a:pt x="5391" y="2040"/>
                </a:lnTo>
                <a:lnTo>
                  <a:pt x="5391" y="2006"/>
                </a:lnTo>
                <a:lnTo>
                  <a:pt x="5460" y="2006"/>
                </a:lnTo>
                <a:lnTo>
                  <a:pt x="5460" y="1939"/>
                </a:lnTo>
                <a:lnTo>
                  <a:pt x="5529" y="1872"/>
                </a:lnTo>
                <a:lnTo>
                  <a:pt x="5529" y="1772"/>
                </a:lnTo>
                <a:lnTo>
                  <a:pt x="5632" y="1772"/>
                </a:lnTo>
                <a:lnTo>
                  <a:pt x="5700" y="1705"/>
                </a:lnTo>
                <a:lnTo>
                  <a:pt x="5769" y="1705"/>
                </a:lnTo>
                <a:lnTo>
                  <a:pt x="5769" y="1638"/>
                </a:lnTo>
                <a:lnTo>
                  <a:pt x="5872" y="1638"/>
                </a:lnTo>
                <a:lnTo>
                  <a:pt x="5872" y="1538"/>
                </a:lnTo>
                <a:lnTo>
                  <a:pt x="5597" y="1538"/>
                </a:lnTo>
                <a:lnTo>
                  <a:pt x="5597" y="1471"/>
                </a:lnTo>
                <a:lnTo>
                  <a:pt x="5529" y="1471"/>
                </a:lnTo>
                <a:lnTo>
                  <a:pt x="5529" y="1170"/>
                </a:lnTo>
                <a:lnTo>
                  <a:pt x="5460" y="1170"/>
                </a:lnTo>
                <a:lnTo>
                  <a:pt x="5460" y="1137"/>
                </a:lnTo>
                <a:lnTo>
                  <a:pt x="5391" y="1070"/>
                </a:lnTo>
                <a:lnTo>
                  <a:pt x="5391" y="903"/>
                </a:lnTo>
                <a:lnTo>
                  <a:pt x="5357" y="836"/>
                </a:lnTo>
                <a:lnTo>
                  <a:pt x="5357" y="769"/>
                </a:lnTo>
                <a:lnTo>
                  <a:pt x="5220" y="769"/>
                </a:lnTo>
                <a:lnTo>
                  <a:pt x="5220" y="702"/>
                </a:lnTo>
                <a:lnTo>
                  <a:pt x="5151" y="669"/>
                </a:lnTo>
                <a:lnTo>
                  <a:pt x="5151" y="602"/>
                </a:lnTo>
                <a:lnTo>
                  <a:pt x="5117" y="602"/>
                </a:lnTo>
                <a:lnTo>
                  <a:pt x="5117" y="535"/>
                </a:lnTo>
                <a:lnTo>
                  <a:pt x="5220" y="535"/>
                </a:lnTo>
                <a:lnTo>
                  <a:pt x="5220" y="602"/>
                </a:lnTo>
                <a:lnTo>
                  <a:pt x="5288" y="602"/>
                </a:lnTo>
                <a:lnTo>
                  <a:pt x="5357" y="669"/>
                </a:lnTo>
                <a:lnTo>
                  <a:pt x="5391" y="669"/>
                </a:lnTo>
                <a:lnTo>
                  <a:pt x="5391" y="702"/>
                </a:lnTo>
                <a:lnTo>
                  <a:pt x="5769" y="702"/>
                </a:lnTo>
                <a:lnTo>
                  <a:pt x="5769" y="769"/>
                </a:lnTo>
                <a:lnTo>
                  <a:pt x="5838" y="769"/>
                </a:lnTo>
                <a:lnTo>
                  <a:pt x="5838" y="702"/>
                </a:lnTo>
                <a:lnTo>
                  <a:pt x="5872" y="702"/>
                </a:lnTo>
                <a:lnTo>
                  <a:pt x="5941" y="769"/>
                </a:lnTo>
                <a:lnTo>
                  <a:pt x="6010" y="769"/>
                </a:lnTo>
                <a:lnTo>
                  <a:pt x="6010" y="836"/>
                </a:lnTo>
                <a:lnTo>
                  <a:pt x="6078" y="836"/>
                </a:lnTo>
                <a:lnTo>
                  <a:pt x="6078" y="903"/>
                </a:lnTo>
                <a:lnTo>
                  <a:pt x="6113" y="936"/>
                </a:lnTo>
                <a:lnTo>
                  <a:pt x="6181" y="903"/>
                </a:lnTo>
                <a:lnTo>
                  <a:pt x="6181" y="702"/>
                </a:lnTo>
                <a:lnTo>
                  <a:pt x="6250" y="669"/>
                </a:lnTo>
                <a:lnTo>
                  <a:pt x="6422" y="669"/>
                </a:lnTo>
                <a:lnTo>
                  <a:pt x="6490" y="602"/>
                </a:lnTo>
                <a:lnTo>
                  <a:pt x="6799" y="602"/>
                </a:lnTo>
                <a:lnTo>
                  <a:pt x="6902" y="535"/>
                </a:lnTo>
                <a:lnTo>
                  <a:pt x="6971" y="468"/>
                </a:lnTo>
                <a:lnTo>
                  <a:pt x="7074" y="435"/>
                </a:lnTo>
                <a:lnTo>
                  <a:pt x="7211" y="435"/>
                </a:lnTo>
                <a:lnTo>
                  <a:pt x="7211" y="368"/>
                </a:lnTo>
                <a:lnTo>
                  <a:pt x="7280" y="368"/>
                </a:lnTo>
                <a:lnTo>
                  <a:pt x="7280" y="301"/>
                </a:lnTo>
                <a:lnTo>
                  <a:pt x="7314" y="301"/>
                </a:lnTo>
                <a:lnTo>
                  <a:pt x="7314" y="234"/>
                </a:lnTo>
                <a:lnTo>
                  <a:pt x="7383" y="234"/>
                </a:lnTo>
                <a:lnTo>
                  <a:pt x="7383" y="134"/>
                </a:lnTo>
                <a:lnTo>
                  <a:pt x="7314" y="134"/>
                </a:lnTo>
                <a:lnTo>
                  <a:pt x="7314" y="0"/>
                </a:lnTo>
                <a:close/>
                <a:moveTo>
                  <a:pt x="7314" y="0"/>
                </a:moveTo>
              </a:path>
            </a:pathLst>
          </a:custGeom>
          <a:solidFill>
            <a:srgbClr val="00BACF">
              <a:alpha val="50000"/>
            </a:srgbClr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102" name="Freeform 33"/>
          <p:cNvSpPr>
            <a:spLocks/>
          </p:cNvSpPr>
          <p:nvPr/>
        </p:nvSpPr>
        <p:spPr bwMode="auto">
          <a:xfrm>
            <a:off x="7425596" y="5362539"/>
            <a:ext cx="40616" cy="10627"/>
          </a:xfrm>
          <a:custGeom>
            <a:avLst/>
            <a:gdLst/>
            <a:ahLst/>
            <a:cxnLst>
              <a:cxn ang="0">
                <a:pos x="7714" y="0"/>
              </a:cxn>
              <a:cxn ang="0">
                <a:pos x="21600" y="0"/>
              </a:cxn>
              <a:cxn ang="0">
                <a:pos x="21600" y="4320"/>
              </a:cxn>
              <a:cxn ang="0">
                <a:pos x="12343" y="4320"/>
              </a:cxn>
              <a:cxn ang="0">
                <a:pos x="12343" y="12960"/>
              </a:cxn>
              <a:cxn ang="0">
                <a:pos x="4629" y="12960"/>
              </a:cxn>
              <a:cxn ang="0">
                <a:pos x="4629" y="21600"/>
              </a:cxn>
              <a:cxn ang="0">
                <a:pos x="1543" y="21600"/>
              </a:cxn>
              <a:cxn ang="0">
                <a:pos x="0" y="12960"/>
              </a:cxn>
              <a:cxn ang="0">
                <a:pos x="0" y="4320"/>
              </a:cxn>
              <a:cxn ang="0">
                <a:pos x="4629" y="4320"/>
              </a:cxn>
              <a:cxn ang="0">
                <a:pos x="7714" y="0"/>
              </a:cxn>
              <a:cxn ang="0">
                <a:pos x="7714" y="0"/>
              </a:cxn>
            </a:cxnLst>
            <a:rect l="0" t="0" r="r" b="b"/>
            <a:pathLst>
              <a:path w="21600" h="21600">
                <a:moveTo>
                  <a:pt x="7714" y="0"/>
                </a:moveTo>
                <a:lnTo>
                  <a:pt x="21600" y="0"/>
                </a:lnTo>
                <a:lnTo>
                  <a:pt x="21600" y="4320"/>
                </a:lnTo>
                <a:lnTo>
                  <a:pt x="12343" y="4320"/>
                </a:lnTo>
                <a:lnTo>
                  <a:pt x="12343" y="12960"/>
                </a:lnTo>
                <a:lnTo>
                  <a:pt x="4629" y="12960"/>
                </a:lnTo>
                <a:lnTo>
                  <a:pt x="4629" y="21600"/>
                </a:lnTo>
                <a:lnTo>
                  <a:pt x="1543" y="21600"/>
                </a:lnTo>
                <a:lnTo>
                  <a:pt x="0" y="12960"/>
                </a:lnTo>
                <a:lnTo>
                  <a:pt x="0" y="4320"/>
                </a:lnTo>
                <a:lnTo>
                  <a:pt x="4629" y="4320"/>
                </a:lnTo>
                <a:lnTo>
                  <a:pt x="7714" y="0"/>
                </a:lnTo>
                <a:close/>
                <a:moveTo>
                  <a:pt x="7714" y="0"/>
                </a:moveTo>
              </a:path>
            </a:pathLst>
          </a:custGeom>
          <a:solidFill>
            <a:srgbClr val="00BACF"/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104" name="AutoShape 34"/>
          <p:cNvSpPr>
            <a:spLocks/>
          </p:cNvSpPr>
          <p:nvPr/>
        </p:nvSpPr>
        <p:spPr bwMode="auto">
          <a:xfrm>
            <a:off x="7241605" y="5275082"/>
            <a:ext cx="163662" cy="103000"/>
          </a:xfrm>
          <a:custGeom>
            <a:avLst/>
            <a:gdLst>
              <a:gd name="T0" fmla="*/ 10800 w 21600"/>
              <a:gd name="T1" fmla="*/ 10800 h 21600"/>
            </a:gdLst>
            <a:ahLst/>
            <a:cxnLst>
              <a:cxn ang="0">
                <a:pos x="T0" y="T1"/>
              </a:cxn>
            </a:cxnLst>
            <a:rect l="0" t="0" r="r" b="b"/>
            <a:pathLst>
              <a:path w="21600" h="21600">
                <a:moveTo>
                  <a:pt x="0" y="4320"/>
                </a:moveTo>
                <a:lnTo>
                  <a:pt x="400" y="4320"/>
                </a:lnTo>
                <a:lnTo>
                  <a:pt x="1200" y="5184"/>
                </a:lnTo>
                <a:lnTo>
                  <a:pt x="2800" y="5184"/>
                </a:lnTo>
                <a:lnTo>
                  <a:pt x="2800" y="6480"/>
                </a:lnTo>
                <a:lnTo>
                  <a:pt x="3200" y="7344"/>
                </a:lnTo>
                <a:lnTo>
                  <a:pt x="4000" y="7344"/>
                </a:lnTo>
                <a:lnTo>
                  <a:pt x="4000" y="8208"/>
                </a:lnTo>
                <a:lnTo>
                  <a:pt x="4800" y="8208"/>
                </a:lnTo>
                <a:lnTo>
                  <a:pt x="4800" y="9072"/>
                </a:lnTo>
                <a:lnTo>
                  <a:pt x="5600" y="9072"/>
                </a:lnTo>
                <a:lnTo>
                  <a:pt x="5600" y="9504"/>
                </a:lnTo>
                <a:lnTo>
                  <a:pt x="6000" y="10368"/>
                </a:lnTo>
                <a:lnTo>
                  <a:pt x="6800" y="10368"/>
                </a:lnTo>
                <a:lnTo>
                  <a:pt x="6800" y="11232"/>
                </a:lnTo>
                <a:lnTo>
                  <a:pt x="7600" y="12096"/>
                </a:lnTo>
                <a:lnTo>
                  <a:pt x="8800" y="12528"/>
                </a:lnTo>
                <a:lnTo>
                  <a:pt x="9600" y="13392"/>
                </a:lnTo>
                <a:lnTo>
                  <a:pt x="11200" y="14256"/>
                </a:lnTo>
                <a:lnTo>
                  <a:pt x="12400" y="14256"/>
                </a:lnTo>
                <a:lnTo>
                  <a:pt x="12400" y="15120"/>
                </a:lnTo>
                <a:lnTo>
                  <a:pt x="13200" y="15120"/>
                </a:lnTo>
                <a:lnTo>
                  <a:pt x="14400" y="16416"/>
                </a:lnTo>
                <a:lnTo>
                  <a:pt x="16000" y="16416"/>
                </a:lnTo>
                <a:lnTo>
                  <a:pt x="16000" y="17280"/>
                </a:lnTo>
                <a:lnTo>
                  <a:pt x="21600" y="17280"/>
                </a:lnTo>
                <a:lnTo>
                  <a:pt x="21600" y="19440"/>
                </a:lnTo>
                <a:lnTo>
                  <a:pt x="20800" y="20304"/>
                </a:lnTo>
                <a:lnTo>
                  <a:pt x="17200" y="20304"/>
                </a:lnTo>
                <a:lnTo>
                  <a:pt x="16400" y="21168"/>
                </a:lnTo>
                <a:lnTo>
                  <a:pt x="14000" y="21168"/>
                </a:lnTo>
                <a:lnTo>
                  <a:pt x="13200" y="21600"/>
                </a:lnTo>
                <a:lnTo>
                  <a:pt x="12400" y="21600"/>
                </a:lnTo>
                <a:lnTo>
                  <a:pt x="11600" y="21168"/>
                </a:lnTo>
                <a:lnTo>
                  <a:pt x="10400" y="21168"/>
                </a:lnTo>
                <a:lnTo>
                  <a:pt x="10400" y="20304"/>
                </a:lnTo>
                <a:lnTo>
                  <a:pt x="8400" y="20304"/>
                </a:lnTo>
                <a:lnTo>
                  <a:pt x="7600" y="19440"/>
                </a:lnTo>
                <a:lnTo>
                  <a:pt x="0" y="19440"/>
                </a:lnTo>
                <a:lnTo>
                  <a:pt x="0" y="4320"/>
                </a:lnTo>
                <a:close/>
                <a:moveTo>
                  <a:pt x="0" y="0"/>
                </a:moveTo>
                <a:lnTo>
                  <a:pt x="400" y="0"/>
                </a:lnTo>
                <a:lnTo>
                  <a:pt x="400" y="432"/>
                </a:lnTo>
                <a:lnTo>
                  <a:pt x="1200" y="1296"/>
                </a:lnTo>
                <a:lnTo>
                  <a:pt x="1200" y="2160"/>
                </a:lnTo>
                <a:lnTo>
                  <a:pt x="400" y="2160"/>
                </a:lnTo>
                <a:lnTo>
                  <a:pt x="400" y="3024"/>
                </a:lnTo>
                <a:lnTo>
                  <a:pt x="0" y="3456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rgbClr val="00BACF">
              <a:alpha val="50000"/>
            </a:srgbClr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105" name="AutoShape 35"/>
          <p:cNvSpPr>
            <a:spLocks/>
          </p:cNvSpPr>
          <p:nvPr/>
        </p:nvSpPr>
        <p:spPr bwMode="auto">
          <a:xfrm>
            <a:off x="6996714" y="4075874"/>
            <a:ext cx="968829" cy="1180413"/>
          </a:xfrm>
          <a:custGeom>
            <a:avLst/>
            <a:gdLst>
              <a:gd name="T0" fmla="*/ 10800 w 21600"/>
              <a:gd name="T1" fmla="*/ 10800 h 21600"/>
            </a:gdLst>
            <a:ahLst/>
            <a:cxnLst>
              <a:cxn ang="0">
                <a:pos x="T0" y="T1"/>
              </a:cxn>
            </a:cxnLst>
            <a:rect l="0" t="0" r="r" b="b"/>
            <a:pathLst>
              <a:path w="21600" h="21600">
                <a:moveTo>
                  <a:pt x="5468" y="21525"/>
                </a:moveTo>
                <a:lnTo>
                  <a:pt x="5535" y="21525"/>
                </a:lnTo>
                <a:lnTo>
                  <a:pt x="5535" y="21600"/>
                </a:lnTo>
                <a:lnTo>
                  <a:pt x="5468" y="21525"/>
                </a:lnTo>
                <a:close/>
                <a:moveTo>
                  <a:pt x="8032" y="0"/>
                </a:moveTo>
                <a:lnTo>
                  <a:pt x="8235" y="151"/>
                </a:lnTo>
                <a:lnTo>
                  <a:pt x="8370" y="151"/>
                </a:lnTo>
                <a:lnTo>
                  <a:pt x="8370" y="226"/>
                </a:lnTo>
                <a:lnTo>
                  <a:pt x="8505" y="226"/>
                </a:lnTo>
                <a:lnTo>
                  <a:pt x="8505" y="264"/>
                </a:lnTo>
                <a:lnTo>
                  <a:pt x="9113" y="264"/>
                </a:lnTo>
                <a:lnTo>
                  <a:pt x="9113" y="226"/>
                </a:lnTo>
                <a:lnTo>
                  <a:pt x="9180" y="226"/>
                </a:lnTo>
                <a:lnTo>
                  <a:pt x="9180" y="264"/>
                </a:lnTo>
                <a:lnTo>
                  <a:pt x="9653" y="264"/>
                </a:lnTo>
                <a:lnTo>
                  <a:pt x="9653" y="339"/>
                </a:lnTo>
                <a:lnTo>
                  <a:pt x="9787" y="339"/>
                </a:lnTo>
                <a:lnTo>
                  <a:pt x="9787" y="490"/>
                </a:lnTo>
                <a:lnTo>
                  <a:pt x="9922" y="603"/>
                </a:lnTo>
                <a:lnTo>
                  <a:pt x="10058" y="679"/>
                </a:lnTo>
                <a:lnTo>
                  <a:pt x="10058" y="754"/>
                </a:lnTo>
                <a:lnTo>
                  <a:pt x="10125" y="754"/>
                </a:lnTo>
                <a:lnTo>
                  <a:pt x="10125" y="490"/>
                </a:lnTo>
                <a:lnTo>
                  <a:pt x="10260" y="415"/>
                </a:lnTo>
                <a:lnTo>
                  <a:pt x="10260" y="339"/>
                </a:lnTo>
                <a:lnTo>
                  <a:pt x="10395" y="264"/>
                </a:lnTo>
                <a:lnTo>
                  <a:pt x="10395" y="226"/>
                </a:lnTo>
                <a:lnTo>
                  <a:pt x="11070" y="226"/>
                </a:lnTo>
                <a:lnTo>
                  <a:pt x="11205" y="151"/>
                </a:lnTo>
                <a:lnTo>
                  <a:pt x="11678" y="151"/>
                </a:lnTo>
                <a:lnTo>
                  <a:pt x="11678" y="226"/>
                </a:lnTo>
                <a:lnTo>
                  <a:pt x="11812" y="264"/>
                </a:lnTo>
                <a:lnTo>
                  <a:pt x="11947" y="264"/>
                </a:lnTo>
                <a:lnTo>
                  <a:pt x="11947" y="339"/>
                </a:lnTo>
                <a:lnTo>
                  <a:pt x="12150" y="490"/>
                </a:lnTo>
                <a:lnTo>
                  <a:pt x="12285" y="490"/>
                </a:lnTo>
                <a:lnTo>
                  <a:pt x="12285" y="603"/>
                </a:lnTo>
                <a:lnTo>
                  <a:pt x="12420" y="603"/>
                </a:lnTo>
                <a:lnTo>
                  <a:pt x="12420" y="679"/>
                </a:lnTo>
                <a:lnTo>
                  <a:pt x="12487" y="679"/>
                </a:lnTo>
                <a:lnTo>
                  <a:pt x="12487" y="754"/>
                </a:lnTo>
                <a:lnTo>
                  <a:pt x="12622" y="792"/>
                </a:lnTo>
                <a:lnTo>
                  <a:pt x="12622" y="867"/>
                </a:lnTo>
                <a:lnTo>
                  <a:pt x="12757" y="867"/>
                </a:lnTo>
                <a:lnTo>
                  <a:pt x="12757" y="942"/>
                </a:lnTo>
                <a:lnTo>
                  <a:pt x="12892" y="942"/>
                </a:lnTo>
                <a:lnTo>
                  <a:pt x="12892" y="1018"/>
                </a:lnTo>
                <a:lnTo>
                  <a:pt x="13095" y="1018"/>
                </a:lnTo>
                <a:lnTo>
                  <a:pt x="13095" y="1055"/>
                </a:lnTo>
                <a:lnTo>
                  <a:pt x="13567" y="1319"/>
                </a:lnTo>
                <a:lnTo>
                  <a:pt x="13702" y="1319"/>
                </a:lnTo>
                <a:lnTo>
                  <a:pt x="13702" y="1395"/>
                </a:lnTo>
                <a:lnTo>
                  <a:pt x="14378" y="1395"/>
                </a:lnTo>
                <a:lnTo>
                  <a:pt x="14378" y="1470"/>
                </a:lnTo>
                <a:lnTo>
                  <a:pt x="14715" y="1470"/>
                </a:lnTo>
                <a:lnTo>
                  <a:pt x="14715" y="1546"/>
                </a:lnTo>
                <a:lnTo>
                  <a:pt x="14985" y="1546"/>
                </a:lnTo>
                <a:lnTo>
                  <a:pt x="14985" y="1583"/>
                </a:lnTo>
                <a:lnTo>
                  <a:pt x="15188" y="1583"/>
                </a:lnTo>
                <a:lnTo>
                  <a:pt x="15188" y="1659"/>
                </a:lnTo>
                <a:lnTo>
                  <a:pt x="15322" y="1734"/>
                </a:lnTo>
                <a:lnTo>
                  <a:pt x="15457" y="1734"/>
                </a:lnTo>
                <a:lnTo>
                  <a:pt x="15457" y="1809"/>
                </a:lnTo>
                <a:lnTo>
                  <a:pt x="15660" y="1809"/>
                </a:lnTo>
                <a:lnTo>
                  <a:pt x="15930" y="1923"/>
                </a:lnTo>
                <a:lnTo>
                  <a:pt x="16133" y="1998"/>
                </a:lnTo>
                <a:lnTo>
                  <a:pt x="16403" y="1998"/>
                </a:lnTo>
                <a:lnTo>
                  <a:pt x="16403" y="2073"/>
                </a:lnTo>
                <a:lnTo>
                  <a:pt x="16537" y="2073"/>
                </a:lnTo>
                <a:lnTo>
                  <a:pt x="16537" y="2111"/>
                </a:lnTo>
                <a:lnTo>
                  <a:pt x="16740" y="2111"/>
                </a:lnTo>
                <a:lnTo>
                  <a:pt x="16740" y="2186"/>
                </a:lnTo>
                <a:lnTo>
                  <a:pt x="16875" y="2186"/>
                </a:lnTo>
                <a:lnTo>
                  <a:pt x="17010" y="2262"/>
                </a:lnTo>
                <a:lnTo>
                  <a:pt x="17213" y="2262"/>
                </a:lnTo>
                <a:lnTo>
                  <a:pt x="17347" y="2337"/>
                </a:lnTo>
                <a:lnTo>
                  <a:pt x="17347" y="2526"/>
                </a:lnTo>
                <a:lnTo>
                  <a:pt x="17213" y="2526"/>
                </a:lnTo>
                <a:lnTo>
                  <a:pt x="17077" y="2601"/>
                </a:lnTo>
                <a:lnTo>
                  <a:pt x="17077" y="2639"/>
                </a:lnTo>
                <a:lnTo>
                  <a:pt x="17010" y="2714"/>
                </a:lnTo>
                <a:lnTo>
                  <a:pt x="17010" y="2790"/>
                </a:lnTo>
                <a:lnTo>
                  <a:pt x="16875" y="2790"/>
                </a:lnTo>
                <a:lnTo>
                  <a:pt x="16875" y="2865"/>
                </a:lnTo>
                <a:lnTo>
                  <a:pt x="16740" y="2865"/>
                </a:lnTo>
                <a:lnTo>
                  <a:pt x="16740" y="2978"/>
                </a:lnTo>
                <a:lnTo>
                  <a:pt x="16605" y="3053"/>
                </a:lnTo>
                <a:lnTo>
                  <a:pt x="16605" y="3242"/>
                </a:lnTo>
                <a:lnTo>
                  <a:pt x="16537" y="3242"/>
                </a:lnTo>
                <a:lnTo>
                  <a:pt x="16537" y="3317"/>
                </a:lnTo>
                <a:lnTo>
                  <a:pt x="16268" y="3430"/>
                </a:lnTo>
                <a:lnTo>
                  <a:pt x="16133" y="3430"/>
                </a:lnTo>
                <a:lnTo>
                  <a:pt x="16133" y="3581"/>
                </a:lnTo>
                <a:lnTo>
                  <a:pt x="17213" y="3581"/>
                </a:lnTo>
                <a:lnTo>
                  <a:pt x="17213" y="3619"/>
                </a:lnTo>
                <a:lnTo>
                  <a:pt x="17482" y="3619"/>
                </a:lnTo>
                <a:lnTo>
                  <a:pt x="17482" y="3694"/>
                </a:lnTo>
                <a:lnTo>
                  <a:pt x="18157" y="3694"/>
                </a:lnTo>
                <a:lnTo>
                  <a:pt x="18157" y="3619"/>
                </a:lnTo>
                <a:lnTo>
                  <a:pt x="18293" y="3619"/>
                </a:lnTo>
                <a:lnTo>
                  <a:pt x="18428" y="3694"/>
                </a:lnTo>
                <a:lnTo>
                  <a:pt x="18495" y="3694"/>
                </a:lnTo>
                <a:lnTo>
                  <a:pt x="18495" y="3770"/>
                </a:lnTo>
                <a:lnTo>
                  <a:pt x="18765" y="3770"/>
                </a:lnTo>
                <a:lnTo>
                  <a:pt x="18765" y="3694"/>
                </a:lnTo>
                <a:lnTo>
                  <a:pt x="18900" y="3694"/>
                </a:lnTo>
                <a:lnTo>
                  <a:pt x="18967" y="3619"/>
                </a:lnTo>
                <a:lnTo>
                  <a:pt x="19440" y="3619"/>
                </a:lnTo>
                <a:lnTo>
                  <a:pt x="19440" y="3506"/>
                </a:lnTo>
                <a:lnTo>
                  <a:pt x="19575" y="3430"/>
                </a:lnTo>
                <a:lnTo>
                  <a:pt x="19710" y="3430"/>
                </a:lnTo>
                <a:lnTo>
                  <a:pt x="19710" y="3355"/>
                </a:lnTo>
                <a:lnTo>
                  <a:pt x="19912" y="3355"/>
                </a:lnTo>
                <a:lnTo>
                  <a:pt x="19912" y="3317"/>
                </a:lnTo>
                <a:lnTo>
                  <a:pt x="20182" y="3166"/>
                </a:lnTo>
                <a:lnTo>
                  <a:pt x="20317" y="3166"/>
                </a:lnTo>
                <a:lnTo>
                  <a:pt x="20317" y="3129"/>
                </a:lnTo>
                <a:lnTo>
                  <a:pt x="20385" y="3129"/>
                </a:lnTo>
                <a:lnTo>
                  <a:pt x="20385" y="2978"/>
                </a:lnTo>
                <a:lnTo>
                  <a:pt x="20520" y="2978"/>
                </a:lnTo>
                <a:lnTo>
                  <a:pt x="20520" y="2526"/>
                </a:lnTo>
                <a:lnTo>
                  <a:pt x="20857" y="2526"/>
                </a:lnTo>
                <a:lnTo>
                  <a:pt x="20857" y="2450"/>
                </a:lnTo>
                <a:lnTo>
                  <a:pt x="20993" y="2450"/>
                </a:lnTo>
                <a:lnTo>
                  <a:pt x="21127" y="2526"/>
                </a:lnTo>
                <a:lnTo>
                  <a:pt x="21195" y="2526"/>
                </a:lnTo>
                <a:lnTo>
                  <a:pt x="21195" y="2601"/>
                </a:lnTo>
                <a:lnTo>
                  <a:pt x="21330" y="2601"/>
                </a:lnTo>
                <a:lnTo>
                  <a:pt x="21330" y="2639"/>
                </a:lnTo>
                <a:lnTo>
                  <a:pt x="21465" y="2714"/>
                </a:lnTo>
                <a:lnTo>
                  <a:pt x="21465" y="2790"/>
                </a:lnTo>
                <a:lnTo>
                  <a:pt x="21600" y="2865"/>
                </a:lnTo>
                <a:lnTo>
                  <a:pt x="21600" y="3166"/>
                </a:lnTo>
                <a:lnTo>
                  <a:pt x="21465" y="3166"/>
                </a:lnTo>
                <a:lnTo>
                  <a:pt x="21465" y="3430"/>
                </a:lnTo>
                <a:lnTo>
                  <a:pt x="21330" y="3430"/>
                </a:lnTo>
                <a:lnTo>
                  <a:pt x="21330" y="3506"/>
                </a:lnTo>
                <a:lnTo>
                  <a:pt x="21195" y="3581"/>
                </a:lnTo>
                <a:lnTo>
                  <a:pt x="20993" y="3581"/>
                </a:lnTo>
                <a:lnTo>
                  <a:pt x="20993" y="3619"/>
                </a:lnTo>
                <a:lnTo>
                  <a:pt x="20790" y="3619"/>
                </a:lnTo>
                <a:lnTo>
                  <a:pt x="20790" y="3694"/>
                </a:lnTo>
                <a:lnTo>
                  <a:pt x="20317" y="3694"/>
                </a:lnTo>
                <a:lnTo>
                  <a:pt x="20317" y="3770"/>
                </a:lnTo>
                <a:lnTo>
                  <a:pt x="20182" y="3845"/>
                </a:lnTo>
                <a:lnTo>
                  <a:pt x="20047" y="3845"/>
                </a:lnTo>
                <a:lnTo>
                  <a:pt x="19845" y="3958"/>
                </a:lnTo>
                <a:lnTo>
                  <a:pt x="19845" y="4034"/>
                </a:lnTo>
                <a:lnTo>
                  <a:pt x="19710" y="4034"/>
                </a:lnTo>
                <a:lnTo>
                  <a:pt x="19710" y="4109"/>
                </a:lnTo>
                <a:lnTo>
                  <a:pt x="19440" y="4109"/>
                </a:lnTo>
                <a:lnTo>
                  <a:pt x="19372" y="4147"/>
                </a:lnTo>
                <a:lnTo>
                  <a:pt x="19372" y="4297"/>
                </a:lnTo>
                <a:lnTo>
                  <a:pt x="19237" y="4297"/>
                </a:lnTo>
                <a:lnTo>
                  <a:pt x="19237" y="4373"/>
                </a:lnTo>
                <a:lnTo>
                  <a:pt x="19102" y="4373"/>
                </a:lnTo>
                <a:lnTo>
                  <a:pt x="19102" y="4410"/>
                </a:lnTo>
                <a:lnTo>
                  <a:pt x="18967" y="4410"/>
                </a:lnTo>
                <a:lnTo>
                  <a:pt x="18967" y="4486"/>
                </a:lnTo>
                <a:lnTo>
                  <a:pt x="18900" y="4486"/>
                </a:lnTo>
                <a:lnTo>
                  <a:pt x="18765" y="4561"/>
                </a:lnTo>
                <a:lnTo>
                  <a:pt x="18630" y="4561"/>
                </a:lnTo>
                <a:lnTo>
                  <a:pt x="18630" y="4674"/>
                </a:lnTo>
                <a:lnTo>
                  <a:pt x="18495" y="4674"/>
                </a:lnTo>
                <a:lnTo>
                  <a:pt x="18495" y="4750"/>
                </a:lnTo>
                <a:lnTo>
                  <a:pt x="18428" y="4750"/>
                </a:lnTo>
                <a:lnTo>
                  <a:pt x="18428" y="4825"/>
                </a:lnTo>
                <a:lnTo>
                  <a:pt x="18157" y="4938"/>
                </a:lnTo>
                <a:lnTo>
                  <a:pt x="18157" y="5014"/>
                </a:lnTo>
                <a:lnTo>
                  <a:pt x="18023" y="5089"/>
                </a:lnTo>
                <a:lnTo>
                  <a:pt x="17955" y="5089"/>
                </a:lnTo>
                <a:lnTo>
                  <a:pt x="17955" y="5164"/>
                </a:lnTo>
                <a:lnTo>
                  <a:pt x="17820" y="5164"/>
                </a:lnTo>
                <a:lnTo>
                  <a:pt x="17820" y="5202"/>
                </a:lnTo>
                <a:lnTo>
                  <a:pt x="17685" y="5202"/>
                </a:lnTo>
                <a:lnTo>
                  <a:pt x="17550" y="5277"/>
                </a:lnTo>
                <a:lnTo>
                  <a:pt x="17550" y="5353"/>
                </a:lnTo>
                <a:lnTo>
                  <a:pt x="17482" y="5353"/>
                </a:lnTo>
                <a:lnTo>
                  <a:pt x="17482" y="5428"/>
                </a:lnTo>
                <a:lnTo>
                  <a:pt x="17347" y="5428"/>
                </a:lnTo>
                <a:lnTo>
                  <a:pt x="17213" y="5466"/>
                </a:lnTo>
                <a:lnTo>
                  <a:pt x="17213" y="5617"/>
                </a:lnTo>
                <a:lnTo>
                  <a:pt x="17077" y="5617"/>
                </a:lnTo>
                <a:lnTo>
                  <a:pt x="17077" y="5692"/>
                </a:lnTo>
                <a:lnTo>
                  <a:pt x="17010" y="5692"/>
                </a:lnTo>
                <a:lnTo>
                  <a:pt x="17010" y="5805"/>
                </a:lnTo>
                <a:lnTo>
                  <a:pt x="17077" y="5805"/>
                </a:lnTo>
                <a:lnTo>
                  <a:pt x="17077" y="5956"/>
                </a:lnTo>
                <a:lnTo>
                  <a:pt x="17010" y="5956"/>
                </a:lnTo>
                <a:lnTo>
                  <a:pt x="17010" y="6220"/>
                </a:lnTo>
                <a:lnTo>
                  <a:pt x="16875" y="6258"/>
                </a:lnTo>
                <a:lnTo>
                  <a:pt x="16875" y="6521"/>
                </a:lnTo>
                <a:lnTo>
                  <a:pt x="16740" y="6521"/>
                </a:lnTo>
                <a:lnTo>
                  <a:pt x="16740" y="6597"/>
                </a:lnTo>
                <a:lnTo>
                  <a:pt x="16605" y="6597"/>
                </a:lnTo>
                <a:lnTo>
                  <a:pt x="16605" y="7125"/>
                </a:lnTo>
                <a:lnTo>
                  <a:pt x="16740" y="7238"/>
                </a:lnTo>
                <a:lnTo>
                  <a:pt x="16740" y="7388"/>
                </a:lnTo>
                <a:lnTo>
                  <a:pt x="16605" y="7464"/>
                </a:lnTo>
                <a:lnTo>
                  <a:pt x="16537" y="7464"/>
                </a:lnTo>
                <a:lnTo>
                  <a:pt x="16537" y="7502"/>
                </a:lnTo>
                <a:lnTo>
                  <a:pt x="16403" y="7502"/>
                </a:lnTo>
                <a:lnTo>
                  <a:pt x="16403" y="7841"/>
                </a:lnTo>
                <a:lnTo>
                  <a:pt x="16268" y="7841"/>
                </a:lnTo>
                <a:lnTo>
                  <a:pt x="16268" y="7992"/>
                </a:lnTo>
                <a:lnTo>
                  <a:pt x="16403" y="7992"/>
                </a:lnTo>
                <a:lnTo>
                  <a:pt x="16403" y="8180"/>
                </a:lnTo>
                <a:lnTo>
                  <a:pt x="16268" y="8256"/>
                </a:lnTo>
                <a:lnTo>
                  <a:pt x="16268" y="8293"/>
                </a:lnTo>
                <a:lnTo>
                  <a:pt x="16605" y="8519"/>
                </a:lnTo>
                <a:lnTo>
                  <a:pt x="16875" y="8557"/>
                </a:lnTo>
                <a:lnTo>
                  <a:pt x="16875" y="8632"/>
                </a:lnTo>
                <a:lnTo>
                  <a:pt x="17077" y="8632"/>
                </a:lnTo>
                <a:lnTo>
                  <a:pt x="17077" y="8708"/>
                </a:lnTo>
                <a:lnTo>
                  <a:pt x="17347" y="8708"/>
                </a:lnTo>
                <a:lnTo>
                  <a:pt x="17550" y="8821"/>
                </a:lnTo>
                <a:lnTo>
                  <a:pt x="17685" y="8972"/>
                </a:lnTo>
                <a:lnTo>
                  <a:pt x="17820" y="9047"/>
                </a:lnTo>
                <a:lnTo>
                  <a:pt x="17685" y="9160"/>
                </a:lnTo>
                <a:lnTo>
                  <a:pt x="17550" y="9236"/>
                </a:lnTo>
                <a:lnTo>
                  <a:pt x="17550" y="9424"/>
                </a:lnTo>
                <a:lnTo>
                  <a:pt x="17685" y="9424"/>
                </a:lnTo>
                <a:lnTo>
                  <a:pt x="17685" y="9575"/>
                </a:lnTo>
                <a:lnTo>
                  <a:pt x="17820" y="9575"/>
                </a:lnTo>
                <a:lnTo>
                  <a:pt x="17820" y="9613"/>
                </a:lnTo>
                <a:lnTo>
                  <a:pt x="18293" y="9613"/>
                </a:lnTo>
                <a:lnTo>
                  <a:pt x="18293" y="10140"/>
                </a:lnTo>
                <a:lnTo>
                  <a:pt x="18157" y="10140"/>
                </a:lnTo>
                <a:lnTo>
                  <a:pt x="18157" y="10216"/>
                </a:lnTo>
                <a:lnTo>
                  <a:pt x="18023" y="10216"/>
                </a:lnTo>
                <a:lnTo>
                  <a:pt x="18023" y="10291"/>
                </a:lnTo>
                <a:lnTo>
                  <a:pt x="17955" y="10291"/>
                </a:lnTo>
                <a:lnTo>
                  <a:pt x="17955" y="10329"/>
                </a:lnTo>
                <a:lnTo>
                  <a:pt x="17820" y="10480"/>
                </a:lnTo>
                <a:lnTo>
                  <a:pt x="17550" y="10593"/>
                </a:lnTo>
                <a:lnTo>
                  <a:pt x="17550" y="10668"/>
                </a:lnTo>
                <a:lnTo>
                  <a:pt x="17482" y="10668"/>
                </a:lnTo>
                <a:lnTo>
                  <a:pt x="17482" y="10743"/>
                </a:lnTo>
                <a:lnTo>
                  <a:pt x="17213" y="10857"/>
                </a:lnTo>
                <a:lnTo>
                  <a:pt x="17213" y="10932"/>
                </a:lnTo>
                <a:lnTo>
                  <a:pt x="17077" y="10932"/>
                </a:lnTo>
                <a:lnTo>
                  <a:pt x="17077" y="11007"/>
                </a:lnTo>
                <a:lnTo>
                  <a:pt x="17010" y="11007"/>
                </a:lnTo>
                <a:lnTo>
                  <a:pt x="16740" y="11083"/>
                </a:lnTo>
                <a:lnTo>
                  <a:pt x="16605" y="11120"/>
                </a:lnTo>
                <a:lnTo>
                  <a:pt x="16537" y="11120"/>
                </a:lnTo>
                <a:lnTo>
                  <a:pt x="16268" y="11196"/>
                </a:lnTo>
                <a:lnTo>
                  <a:pt x="16065" y="11196"/>
                </a:lnTo>
                <a:lnTo>
                  <a:pt x="15930" y="11271"/>
                </a:lnTo>
                <a:lnTo>
                  <a:pt x="15660" y="11271"/>
                </a:lnTo>
                <a:lnTo>
                  <a:pt x="15457" y="11347"/>
                </a:lnTo>
                <a:lnTo>
                  <a:pt x="14985" y="11347"/>
                </a:lnTo>
                <a:lnTo>
                  <a:pt x="14850" y="11384"/>
                </a:lnTo>
                <a:lnTo>
                  <a:pt x="14513" y="11384"/>
                </a:lnTo>
                <a:lnTo>
                  <a:pt x="14378" y="11460"/>
                </a:lnTo>
                <a:lnTo>
                  <a:pt x="12892" y="11460"/>
                </a:lnTo>
                <a:lnTo>
                  <a:pt x="12622" y="11384"/>
                </a:lnTo>
                <a:lnTo>
                  <a:pt x="12150" y="11384"/>
                </a:lnTo>
                <a:lnTo>
                  <a:pt x="12150" y="11648"/>
                </a:lnTo>
                <a:lnTo>
                  <a:pt x="12420" y="11648"/>
                </a:lnTo>
                <a:lnTo>
                  <a:pt x="12420" y="11724"/>
                </a:lnTo>
                <a:lnTo>
                  <a:pt x="12487" y="11724"/>
                </a:lnTo>
                <a:lnTo>
                  <a:pt x="12487" y="11912"/>
                </a:lnTo>
                <a:lnTo>
                  <a:pt x="12420" y="11987"/>
                </a:lnTo>
                <a:lnTo>
                  <a:pt x="12420" y="12063"/>
                </a:lnTo>
                <a:lnTo>
                  <a:pt x="12285" y="12063"/>
                </a:lnTo>
                <a:lnTo>
                  <a:pt x="12285" y="12138"/>
                </a:lnTo>
                <a:lnTo>
                  <a:pt x="12150" y="12138"/>
                </a:lnTo>
                <a:lnTo>
                  <a:pt x="12150" y="12402"/>
                </a:lnTo>
                <a:lnTo>
                  <a:pt x="12015" y="12402"/>
                </a:lnTo>
                <a:lnTo>
                  <a:pt x="12015" y="12440"/>
                </a:lnTo>
                <a:lnTo>
                  <a:pt x="12150" y="12440"/>
                </a:lnTo>
                <a:lnTo>
                  <a:pt x="12150" y="12591"/>
                </a:lnTo>
                <a:lnTo>
                  <a:pt x="12285" y="12666"/>
                </a:lnTo>
                <a:lnTo>
                  <a:pt x="12285" y="12779"/>
                </a:lnTo>
                <a:lnTo>
                  <a:pt x="12150" y="12779"/>
                </a:lnTo>
                <a:lnTo>
                  <a:pt x="12150" y="12854"/>
                </a:lnTo>
                <a:lnTo>
                  <a:pt x="12015" y="12854"/>
                </a:lnTo>
                <a:lnTo>
                  <a:pt x="11947" y="12930"/>
                </a:lnTo>
                <a:lnTo>
                  <a:pt x="11812" y="12930"/>
                </a:lnTo>
                <a:lnTo>
                  <a:pt x="11678" y="12968"/>
                </a:lnTo>
                <a:lnTo>
                  <a:pt x="11475" y="12968"/>
                </a:lnTo>
                <a:lnTo>
                  <a:pt x="11475" y="13043"/>
                </a:lnTo>
                <a:lnTo>
                  <a:pt x="10598" y="13043"/>
                </a:lnTo>
                <a:lnTo>
                  <a:pt x="9653" y="12779"/>
                </a:lnTo>
                <a:lnTo>
                  <a:pt x="9450" y="12779"/>
                </a:lnTo>
                <a:lnTo>
                  <a:pt x="9450" y="12704"/>
                </a:lnTo>
                <a:lnTo>
                  <a:pt x="9315" y="12704"/>
                </a:lnTo>
                <a:lnTo>
                  <a:pt x="9315" y="12779"/>
                </a:lnTo>
                <a:lnTo>
                  <a:pt x="9180" y="12779"/>
                </a:lnTo>
                <a:lnTo>
                  <a:pt x="9180" y="13118"/>
                </a:lnTo>
                <a:lnTo>
                  <a:pt x="9315" y="13194"/>
                </a:lnTo>
                <a:lnTo>
                  <a:pt x="9315" y="13495"/>
                </a:lnTo>
                <a:lnTo>
                  <a:pt x="9180" y="13495"/>
                </a:lnTo>
                <a:lnTo>
                  <a:pt x="9180" y="13646"/>
                </a:lnTo>
                <a:lnTo>
                  <a:pt x="9450" y="13759"/>
                </a:lnTo>
                <a:lnTo>
                  <a:pt x="9585" y="13759"/>
                </a:lnTo>
                <a:lnTo>
                  <a:pt x="9585" y="13835"/>
                </a:lnTo>
                <a:lnTo>
                  <a:pt x="9653" y="13835"/>
                </a:lnTo>
                <a:lnTo>
                  <a:pt x="9653" y="13948"/>
                </a:lnTo>
                <a:lnTo>
                  <a:pt x="10260" y="13948"/>
                </a:lnTo>
                <a:lnTo>
                  <a:pt x="10260" y="13835"/>
                </a:lnTo>
                <a:lnTo>
                  <a:pt x="10058" y="13835"/>
                </a:lnTo>
                <a:lnTo>
                  <a:pt x="10058" y="13759"/>
                </a:lnTo>
                <a:lnTo>
                  <a:pt x="10395" y="13759"/>
                </a:lnTo>
                <a:lnTo>
                  <a:pt x="10395" y="13721"/>
                </a:lnTo>
                <a:lnTo>
                  <a:pt x="10598" y="13721"/>
                </a:lnTo>
                <a:lnTo>
                  <a:pt x="10733" y="13759"/>
                </a:lnTo>
                <a:lnTo>
                  <a:pt x="10733" y="13835"/>
                </a:lnTo>
                <a:lnTo>
                  <a:pt x="10868" y="13910"/>
                </a:lnTo>
                <a:lnTo>
                  <a:pt x="10868" y="14098"/>
                </a:lnTo>
                <a:lnTo>
                  <a:pt x="10733" y="14174"/>
                </a:lnTo>
                <a:lnTo>
                  <a:pt x="10733" y="14212"/>
                </a:lnTo>
                <a:lnTo>
                  <a:pt x="10598" y="14212"/>
                </a:lnTo>
                <a:lnTo>
                  <a:pt x="10530" y="14174"/>
                </a:lnTo>
                <a:lnTo>
                  <a:pt x="10125" y="14174"/>
                </a:lnTo>
                <a:lnTo>
                  <a:pt x="10125" y="14098"/>
                </a:lnTo>
                <a:lnTo>
                  <a:pt x="10058" y="14098"/>
                </a:lnTo>
                <a:lnTo>
                  <a:pt x="10058" y="14023"/>
                </a:lnTo>
                <a:lnTo>
                  <a:pt x="9653" y="14023"/>
                </a:lnTo>
                <a:lnTo>
                  <a:pt x="9585" y="14098"/>
                </a:lnTo>
                <a:lnTo>
                  <a:pt x="9450" y="14098"/>
                </a:lnTo>
                <a:lnTo>
                  <a:pt x="9315" y="14174"/>
                </a:lnTo>
                <a:lnTo>
                  <a:pt x="9315" y="14212"/>
                </a:lnTo>
                <a:lnTo>
                  <a:pt x="9585" y="14212"/>
                </a:lnTo>
                <a:lnTo>
                  <a:pt x="9585" y="14287"/>
                </a:lnTo>
                <a:lnTo>
                  <a:pt x="9653" y="14287"/>
                </a:lnTo>
                <a:lnTo>
                  <a:pt x="9787" y="14362"/>
                </a:lnTo>
                <a:lnTo>
                  <a:pt x="10058" y="14362"/>
                </a:lnTo>
                <a:lnTo>
                  <a:pt x="10058" y="14438"/>
                </a:lnTo>
                <a:lnTo>
                  <a:pt x="9653" y="14438"/>
                </a:lnTo>
                <a:lnTo>
                  <a:pt x="9585" y="14475"/>
                </a:lnTo>
                <a:lnTo>
                  <a:pt x="9315" y="14551"/>
                </a:lnTo>
                <a:lnTo>
                  <a:pt x="9180" y="14702"/>
                </a:lnTo>
                <a:lnTo>
                  <a:pt x="9113" y="14702"/>
                </a:lnTo>
                <a:lnTo>
                  <a:pt x="9113" y="14890"/>
                </a:lnTo>
                <a:lnTo>
                  <a:pt x="8977" y="14890"/>
                </a:lnTo>
                <a:lnTo>
                  <a:pt x="8977" y="15079"/>
                </a:lnTo>
                <a:lnTo>
                  <a:pt x="9113" y="15079"/>
                </a:lnTo>
                <a:lnTo>
                  <a:pt x="9113" y="15342"/>
                </a:lnTo>
                <a:lnTo>
                  <a:pt x="8977" y="15418"/>
                </a:lnTo>
                <a:lnTo>
                  <a:pt x="8977" y="15493"/>
                </a:lnTo>
                <a:lnTo>
                  <a:pt x="8842" y="15493"/>
                </a:lnTo>
                <a:lnTo>
                  <a:pt x="8640" y="15606"/>
                </a:lnTo>
                <a:lnTo>
                  <a:pt x="8640" y="15870"/>
                </a:lnTo>
                <a:lnTo>
                  <a:pt x="8235" y="15870"/>
                </a:lnTo>
                <a:lnTo>
                  <a:pt x="8235" y="15795"/>
                </a:lnTo>
                <a:lnTo>
                  <a:pt x="7898" y="15795"/>
                </a:lnTo>
                <a:lnTo>
                  <a:pt x="7695" y="15946"/>
                </a:lnTo>
                <a:lnTo>
                  <a:pt x="7560" y="15946"/>
                </a:lnTo>
                <a:lnTo>
                  <a:pt x="7425" y="16021"/>
                </a:lnTo>
                <a:lnTo>
                  <a:pt x="7223" y="16021"/>
                </a:lnTo>
                <a:lnTo>
                  <a:pt x="7223" y="16059"/>
                </a:lnTo>
                <a:lnTo>
                  <a:pt x="7088" y="16059"/>
                </a:lnTo>
                <a:lnTo>
                  <a:pt x="7088" y="16134"/>
                </a:lnTo>
                <a:lnTo>
                  <a:pt x="6952" y="16134"/>
                </a:lnTo>
                <a:lnTo>
                  <a:pt x="6952" y="16209"/>
                </a:lnTo>
                <a:lnTo>
                  <a:pt x="6885" y="16285"/>
                </a:lnTo>
                <a:lnTo>
                  <a:pt x="6885" y="16398"/>
                </a:lnTo>
                <a:lnTo>
                  <a:pt x="6750" y="16398"/>
                </a:lnTo>
                <a:lnTo>
                  <a:pt x="6750" y="16473"/>
                </a:lnTo>
                <a:lnTo>
                  <a:pt x="6615" y="16549"/>
                </a:lnTo>
                <a:lnTo>
                  <a:pt x="6480" y="16662"/>
                </a:lnTo>
                <a:lnTo>
                  <a:pt x="6480" y="16926"/>
                </a:lnTo>
                <a:lnTo>
                  <a:pt x="7088" y="17265"/>
                </a:lnTo>
                <a:lnTo>
                  <a:pt x="7223" y="17265"/>
                </a:lnTo>
                <a:lnTo>
                  <a:pt x="7425" y="17378"/>
                </a:lnTo>
                <a:lnTo>
                  <a:pt x="7830" y="17378"/>
                </a:lnTo>
                <a:lnTo>
                  <a:pt x="8032" y="17453"/>
                </a:lnTo>
                <a:lnTo>
                  <a:pt x="8235" y="17453"/>
                </a:lnTo>
                <a:lnTo>
                  <a:pt x="8235" y="17529"/>
                </a:lnTo>
                <a:lnTo>
                  <a:pt x="8505" y="17529"/>
                </a:lnTo>
                <a:lnTo>
                  <a:pt x="8505" y="17830"/>
                </a:lnTo>
                <a:lnTo>
                  <a:pt x="8370" y="17906"/>
                </a:lnTo>
                <a:lnTo>
                  <a:pt x="8235" y="17906"/>
                </a:lnTo>
                <a:lnTo>
                  <a:pt x="8235" y="17981"/>
                </a:lnTo>
                <a:lnTo>
                  <a:pt x="8505" y="18094"/>
                </a:lnTo>
                <a:lnTo>
                  <a:pt x="8370" y="18170"/>
                </a:lnTo>
                <a:lnTo>
                  <a:pt x="8235" y="18170"/>
                </a:lnTo>
                <a:lnTo>
                  <a:pt x="7898" y="18358"/>
                </a:lnTo>
                <a:lnTo>
                  <a:pt x="7830" y="18358"/>
                </a:lnTo>
                <a:lnTo>
                  <a:pt x="7695" y="18434"/>
                </a:lnTo>
                <a:lnTo>
                  <a:pt x="7560" y="18434"/>
                </a:lnTo>
                <a:lnTo>
                  <a:pt x="7560" y="18509"/>
                </a:lnTo>
                <a:lnTo>
                  <a:pt x="7425" y="18509"/>
                </a:lnTo>
                <a:lnTo>
                  <a:pt x="7358" y="18584"/>
                </a:lnTo>
                <a:lnTo>
                  <a:pt x="6952" y="18697"/>
                </a:lnTo>
                <a:lnTo>
                  <a:pt x="6480" y="18961"/>
                </a:lnTo>
                <a:lnTo>
                  <a:pt x="6480" y="19037"/>
                </a:lnTo>
                <a:lnTo>
                  <a:pt x="6413" y="19037"/>
                </a:lnTo>
                <a:lnTo>
                  <a:pt x="6413" y="19489"/>
                </a:lnTo>
                <a:lnTo>
                  <a:pt x="6278" y="19640"/>
                </a:lnTo>
                <a:lnTo>
                  <a:pt x="6143" y="19677"/>
                </a:lnTo>
                <a:lnTo>
                  <a:pt x="6008" y="19677"/>
                </a:lnTo>
                <a:lnTo>
                  <a:pt x="6008" y="19753"/>
                </a:lnTo>
                <a:lnTo>
                  <a:pt x="5535" y="19753"/>
                </a:lnTo>
                <a:lnTo>
                  <a:pt x="5535" y="19677"/>
                </a:lnTo>
                <a:lnTo>
                  <a:pt x="5468" y="19677"/>
                </a:lnTo>
                <a:lnTo>
                  <a:pt x="5468" y="19640"/>
                </a:lnTo>
                <a:lnTo>
                  <a:pt x="5333" y="19640"/>
                </a:lnTo>
                <a:lnTo>
                  <a:pt x="5333" y="19677"/>
                </a:lnTo>
                <a:lnTo>
                  <a:pt x="5468" y="19677"/>
                </a:lnTo>
                <a:lnTo>
                  <a:pt x="5468" y="19753"/>
                </a:lnTo>
                <a:lnTo>
                  <a:pt x="5535" y="19753"/>
                </a:lnTo>
                <a:lnTo>
                  <a:pt x="5535" y="19828"/>
                </a:lnTo>
                <a:lnTo>
                  <a:pt x="5468" y="19904"/>
                </a:lnTo>
                <a:lnTo>
                  <a:pt x="5198" y="19904"/>
                </a:lnTo>
                <a:lnTo>
                  <a:pt x="5198" y="19941"/>
                </a:lnTo>
                <a:lnTo>
                  <a:pt x="5063" y="19941"/>
                </a:lnTo>
                <a:lnTo>
                  <a:pt x="5063" y="20017"/>
                </a:lnTo>
                <a:lnTo>
                  <a:pt x="4995" y="20017"/>
                </a:lnTo>
                <a:lnTo>
                  <a:pt x="4995" y="20092"/>
                </a:lnTo>
                <a:lnTo>
                  <a:pt x="4860" y="20168"/>
                </a:lnTo>
                <a:lnTo>
                  <a:pt x="4860" y="20356"/>
                </a:lnTo>
                <a:lnTo>
                  <a:pt x="4725" y="20431"/>
                </a:lnTo>
                <a:lnTo>
                  <a:pt x="4725" y="20544"/>
                </a:lnTo>
                <a:lnTo>
                  <a:pt x="4860" y="20544"/>
                </a:lnTo>
                <a:lnTo>
                  <a:pt x="4860" y="20808"/>
                </a:lnTo>
                <a:lnTo>
                  <a:pt x="4995" y="20884"/>
                </a:lnTo>
                <a:lnTo>
                  <a:pt x="4995" y="20921"/>
                </a:lnTo>
                <a:lnTo>
                  <a:pt x="4590" y="20921"/>
                </a:lnTo>
                <a:lnTo>
                  <a:pt x="4725" y="20997"/>
                </a:lnTo>
                <a:lnTo>
                  <a:pt x="5063" y="20997"/>
                </a:lnTo>
                <a:lnTo>
                  <a:pt x="5063" y="21148"/>
                </a:lnTo>
                <a:lnTo>
                  <a:pt x="5198" y="21185"/>
                </a:lnTo>
                <a:lnTo>
                  <a:pt x="5198" y="21336"/>
                </a:lnTo>
                <a:lnTo>
                  <a:pt x="5333" y="21336"/>
                </a:lnTo>
                <a:lnTo>
                  <a:pt x="5333" y="21412"/>
                </a:lnTo>
                <a:lnTo>
                  <a:pt x="5468" y="21412"/>
                </a:lnTo>
                <a:lnTo>
                  <a:pt x="5468" y="21525"/>
                </a:lnTo>
                <a:lnTo>
                  <a:pt x="5333" y="21525"/>
                </a:lnTo>
                <a:lnTo>
                  <a:pt x="5333" y="21449"/>
                </a:lnTo>
                <a:lnTo>
                  <a:pt x="4995" y="21449"/>
                </a:lnTo>
                <a:lnTo>
                  <a:pt x="4995" y="21412"/>
                </a:lnTo>
                <a:lnTo>
                  <a:pt x="4590" y="21412"/>
                </a:lnTo>
                <a:lnTo>
                  <a:pt x="4590" y="21336"/>
                </a:lnTo>
                <a:lnTo>
                  <a:pt x="4050" y="21336"/>
                </a:lnTo>
                <a:lnTo>
                  <a:pt x="4050" y="21261"/>
                </a:lnTo>
                <a:lnTo>
                  <a:pt x="1755" y="21261"/>
                </a:lnTo>
                <a:lnTo>
                  <a:pt x="1755" y="21148"/>
                </a:lnTo>
                <a:lnTo>
                  <a:pt x="1688" y="21148"/>
                </a:lnTo>
                <a:lnTo>
                  <a:pt x="1688" y="21072"/>
                </a:lnTo>
                <a:lnTo>
                  <a:pt x="1553" y="21072"/>
                </a:lnTo>
                <a:lnTo>
                  <a:pt x="1553" y="20997"/>
                </a:lnTo>
                <a:lnTo>
                  <a:pt x="1350" y="20997"/>
                </a:lnTo>
                <a:lnTo>
                  <a:pt x="1350" y="20808"/>
                </a:lnTo>
                <a:lnTo>
                  <a:pt x="1417" y="20808"/>
                </a:lnTo>
                <a:lnTo>
                  <a:pt x="1417" y="20620"/>
                </a:lnTo>
                <a:lnTo>
                  <a:pt x="1350" y="20620"/>
                </a:lnTo>
                <a:lnTo>
                  <a:pt x="1350" y="20544"/>
                </a:lnTo>
                <a:lnTo>
                  <a:pt x="1417" y="20544"/>
                </a:lnTo>
                <a:lnTo>
                  <a:pt x="1417" y="20168"/>
                </a:lnTo>
                <a:lnTo>
                  <a:pt x="1080" y="20168"/>
                </a:lnTo>
                <a:lnTo>
                  <a:pt x="1080" y="20205"/>
                </a:lnTo>
                <a:lnTo>
                  <a:pt x="945" y="20205"/>
                </a:lnTo>
                <a:lnTo>
                  <a:pt x="945" y="20168"/>
                </a:lnTo>
                <a:lnTo>
                  <a:pt x="878" y="20168"/>
                </a:lnTo>
                <a:lnTo>
                  <a:pt x="878" y="20205"/>
                </a:lnTo>
                <a:lnTo>
                  <a:pt x="743" y="20205"/>
                </a:lnTo>
                <a:lnTo>
                  <a:pt x="743" y="20281"/>
                </a:lnTo>
                <a:lnTo>
                  <a:pt x="472" y="20281"/>
                </a:lnTo>
                <a:lnTo>
                  <a:pt x="472" y="20092"/>
                </a:lnTo>
                <a:lnTo>
                  <a:pt x="405" y="20092"/>
                </a:lnTo>
                <a:lnTo>
                  <a:pt x="405" y="19828"/>
                </a:lnTo>
                <a:lnTo>
                  <a:pt x="135" y="19828"/>
                </a:lnTo>
                <a:lnTo>
                  <a:pt x="0" y="19753"/>
                </a:lnTo>
                <a:lnTo>
                  <a:pt x="0" y="19677"/>
                </a:lnTo>
                <a:lnTo>
                  <a:pt x="135" y="19640"/>
                </a:lnTo>
                <a:lnTo>
                  <a:pt x="135" y="19376"/>
                </a:lnTo>
                <a:lnTo>
                  <a:pt x="0" y="19301"/>
                </a:lnTo>
                <a:lnTo>
                  <a:pt x="0" y="19225"/>
                </a:lnTo>
                <a:lnTo>
                  <a:pt x="135" y="19225"/>
                </a:lnTo>
                <a:lnTo>
                  <a:pt x="135" y="19150"/>
                </a:lnTo>
                <a:lnTo>
                  <a:pt x="405" y="19150"/>
                </a:lnTo>
                <a:lnTo>
                  <a:pt x="472" y="19112"/>
                </a:lnTo>
                <a:lnTo>
                  <a:pt x="608" y="19112"/>
                </a:lnTo>
                <a:lnTo>
                  <a:pt x="608" y="18961"/>
                </a:lnTo>
                <a:lnTo>
                  <a:pt x="743" y="18961"/>
                </a:lnTo>
                <a:lnTo>
                  <a:pt x="743" y="18886"/>
                </a:lnTo>
                <a:lnTo>
                  <a:pt x="878" y="18886"/>
                </a:lnTo>
                <a:lnTo>
                  <a:pt x="878" y="18848"/>
                </a:lnTo>
                <a:lnTo>
                  <a:pt x="945" y="18848"/>
                </a:lnTo>
                <a:lnTo>
                  <a:pt x="1215" y="18697"/>
                </a:lnTo>
                <a:lnTo>
                  <a:pt x="1215" y="18622"/>
                </a:lnTo>
                <a:lnTo>
                  <a:pt x="1080" y="18584"/>
                </a:lnTo>
                <a:lnTo>
                  <a:pt x="1080" y="18509"/>
                </a:lnTo>
                <a:lnTo>
                  <a:pt x="1215" y="18434"/>
                </a:lnTo>
                <a:lnTo>
                  <a:pt x="1417" y="18434"/>
                </a:lnTo>
                <a:lnTo>
                  <a:pt x="1417" y="18170"/>
                </a:lnTo>
                <a:lnTo>
                  <a:pt x="1350" y="18094"/>
                </a:lnTo>
                <a:lnTo>
                  <a:pt x="1215" y="18094"/>
                </a:lnTo>
                <a:lnTo>
                  <a:pt x="1215" y="17906"/>
                </a:lnTo>
                <a:lnTo>
                  <a:pt x="1350" y="17830"/>
                </a:lnTo>
                <a:lnTo>
                  <a:pt x="1417" y="17830"/>
                </a:lnTo>
                <a:lnTo>
                  <a:pt x="1417" y="17642"/>
                </a:lnTo>
                <a:lnTo>
                  <a:pt x="1688" y="17642"/>
                </a:lnTo>
                <a:lnTo>
                  <a:pt x="1688" y="17566"/>
                </a:lnTo>
                <a:lnTo>
                  <a:pt x="1755" y="17566"/>
                </a:lnTo>
                <a:lnTo>
                  <a:pt x="1890" y="17529"/>
                </a:lnTo>
                <a:lnTo>
                  <a:pt x="1890" y="17453"/>
                </a:lnTo>
                <a:lnTo>
                  <a:pt x="1755" y="17378"/>
                </a:lnTo>
                <a:lnTo>
                  <a:pt x="1755" y="17340"/>
                </a:lnTo>
                <a:lnTo>
                  <a:pt x="1890" y="17265"/>
                </a:lnTo>
                <a:lnTo>
                  <a:pt x="1890" y="17190"/>
                </a:lnTo>
                <a:lnTo>
                  <a:pt x="2025" y="17190"/>
                </a:lnTo>
                <a:lnTo>
                  <a:pt x="2160" y="17114"/>
                </a:lnTo>
                <a:lnTo>
                  <a:pt x="2160" y="17001"/>
                </a:lnTo>
                <a:lnTo>
                  <a:pt x="2025" y="17001"/>
                </a:lnTo>
                <a:lnTo>
                  <a:pt x="2025" y="16850"/>
                </a:lnTo>
                <a:lnTo>
                  <a:pt x="1890" y="16850"/>
                </a:lnTo>
                <a:lnTo>
                  <a:pt x="1890" y="16737"/>
                </a:lnTo>
                <a:lnTo>
                  <a:pt x="2025" y="16737"/>
                </a:lnTo>
                <a:lnTo>
                  <a:pt x="2025" y="16662"/>
                </a:lnTo>
                <a:lnTo>
                  <a:pt x="2160" y="16662"/>
                </a:lnTo>
                <a:lnTo>
                  <a:pt x="2160" y="16549"/>
                </a:lnTo>
                <a:lnTo>
                  <a:pt x="2025" y="16473"/>
                </a:lnTo>
                <a:lnTo>
                  <a:pt x="2025" y="16285"/>
                </a:lnTo>
                <a:lnTo>
                  <a:pt x="2227" y="16285"/>
                </a:lnTo>
                <a:lnTo>
                  <a:pt x="2227" y="16209"/>
                </a:lnTo>
                <a:lnTo>
                  <a:pt x="2363" y="16209"/>
                </a:lnTo>
                <a:lnTo>
                  <a:pt x="2363" y="16134"/>
                </a:lnTo>
                <a:lnTo>
                  <a:pt x="2498" y="16134"/>
                </a:lnTo>
                <a:lnTo>
                  <a:pt x="2498" y="16021"/>
                </a:lnTo>
                <a:lnTo>
                  <a:pt x="2363" y="15946"/>
                </a:lnTo>
                <a:lnTo>
                  <a:pt x="2227" y="15946"/>
                </a:lnTo>
                <a:lnTo>
                  <a:pt x="2227" y="15870"/>
                </a:lnTo>
                <a:lnTo>
                  <a:pt x="2160" y="15795"/>
                </a:lnTo>
                <a:lnTo>
                  <a:pt x="1755" y="15795"/>
                </a:lnTo>
                <a:lnTo>
                  <a:pt x="1755" y="15757"/>
                </a:lnTo>
                <a:lnTo>
                  <a:pt x="1688" y="15757"/>
                </a:lnTo>
                <a:lnTo>
                  <a:pt x="1688" y="15682"/>
                </a:lnTo>
                <a:lnTo>
                  <a:pt x="2363" y="15682"/>
                </a:lnTo>
                <a:lnTo>
                  <a:pt x="2363" y="15757"/>
                </a:lnTo>
                <a:lnTo>
                  <a:pt x="2498" y="15757"/>
                </a:lnTo>
                <a:lnTo>
                  <a:pt x="2498" y="15606"/>
                </a:lnTo>
                <a:lnTo>
                  <a:pt x="2632" y="15606"/>
                </a:lnTo>
                <a:lnTo>
                  <a:pt x="2632" y="15531"/>
                </a:lnTo>
                <a:lnTo>
                  <a:pt x="2700" y="15531"/>
                </a:lnTo>
                <a:lnTo>
                  <a:pt x="2700" y="15493"/>
                </a:lnTo>
                <a:lnTo>
                  <a:pt x="2632" y="15493"/>
                </a:lnTo>
                <a:lnTo>
                  <a:pt x="2632" y="15418"/>
                </a:lnTo>
                <a:lnTo>
                  <a:pt x="2025" y="15418"/>
                </a:lnTo>
                <a:lnTo>
                  <a:pt x="1890" y="15342"/>
                </a:lnTo>
                <a:lnTo>
                  <a:pt x="1890" y="15267"/>
                </a:lnTo>
                <a:lnTo>
                  <a:pt x="2025" y="15267"/>
                </a:lnTo>
                <a:lnTo>
                  <a:pt x="2025" y="15154"/>
                </a:lnTo>
                <a:lnTo>
                  <a:pt x="2160" y="15079"/>
                </a:lnTo>
                <a:lnTo>
                  <a:pt x="2160" y="14965"/>
                </a:lnTo>
                <a:lnTo>
                  <a:pt x="2025" y="14890"/>
                </a:lnTo>
                <a:lnTo>
                  <a:pt x="2025" y="14739"/>
                </a:lnTo>
                <a:lnTo>
                  <a:pt x="1890" y="14739"/>
                </a:lnTo>
                <a:lnTo>
                  <a:pt x="1890" y="14626"/>
                </a:lnTo>
                <a:lnTo>
                  <a:pt x="2025" y="14551"/>
                </a:lnTo>
                <a:lnTo>
                  <a:pt x="2025" y="14475"/>
                </a:lnTo>
                <a:lnTo>
                  <a:pt x="1890" y="14475"/>
                </a:lnTo>
                <a:lnTo>
                  <a:pt x="1890" y="14438"/>
                </a:lnTo>
                <a:lnTo>
                  <a:pt x="1553" y="14438"/>
                </a:lnTo>
                <a:lnTo>
                  <a:pt x="1553" y="14174"/>
                </a:lnTo>
                <a:lnTo>
                  <a:pt x="1688" y="14174"/>
                </a:lnTo>
                <a:lnTo>
                  <a:pt x="1688" y="13835"/>
                </a:lnTo>
                <a:lnTo>
                  <a:pt x="1755" y="13835"/>
                </a:lnTo>
                <a:lnTo>
                  <a:pt x="1755" y="13759"/>
                </a:lnTo>
                <a:lnTo>
                  <a:pt x="2025" y="13759"/>
                </a:lnTo>
                <a:lnTo>
                  <a:pt x="2025" y="13571"/>
                </a:lnTo>
                <a:lnTo>
                  <a:pt x="1890" y="13571"/>
                </a:lnTo>
                <a:lnTo>
                  <a:pt x="1890" y="13495"/>
                </a:lnTo>
                <a:lnTo>
                  <a:pt x="1755" y="13495"/>
                </a:lnTo>
                <a:lnTo>
                  <a:pt x="1755" y="13231"/>
                </a:lnTo>
                <a:lnTo>
                  <a:pt x="1890" y="13118"/>
                </a:lnTo>
                <a:lnTo>
                  <a:pt x="1890" y="12779"/>
                </a:lnTo>
                <a:lnTo>
                  <a:pt x="1755" y="12779"/>
                </a:lnTo>
                <a:lnTo>
                  <a:pt x="1755" y="12666"/>
                </a:lnTo>
                <a:lnTo>
                  <a:pt x="1890" y="12666"/>
                </a:lnTo>
                <a:lnTo>
                  <a:pt x="1890" y="12515"/>
                </a:lnTo>
                <a:lnTo>
                  <a:pt x="2025" y="12515"/>
                </a:lnTo>
                <a:lnTo>
                  <a:pt x="2160" y="12440"/>
                </a:lnTo>
                <a:lnTo>
                  <a:pt x="2160" y="12402"/>
                </a:lnTo>
                <a:lnTo>
                  <a:pt x="2025" y="12402"/>
                </a:lnTo>
                <a:lnTo>
                  <a:pt x="1890" y="12327"/>
                </a:lnTo>
                <a:lnTo>
                  <a:pt x="1890" y="12251"/>
                </a:lnTo>
                <a:lnTo>
                  <a:pt x="2160" y="12251"/>
                </a:lnTo>
                <a:lnTo>
                  <a:pt x="2160" y="11912"/>
                </a:lnTo>
                <a:lnTo>
                  <a:pt x="2227" y="11912"/>
                </a:lnTo>
                <a:lnTo>
                  <a:pt x="2227" y="11874"/>
                </a:lnTo>
                <a:lnTo>
                  <a:pt x="2363" y="11874"/>
                </a:lnTo>
                <a:lnTo>
                  <a:pt x="2363" y="11460"/>
                </a:lnTo>
                <a:lnTo>
                  <a:pt x="2498" y="11384"/>
                </a:lnTo>
                <a:lnTo>
                  <a:pt x="2632" y="11384"/>
                </a:lnTo>
                <a:lnTo>
                  <a:pt x="2700" y="11347"/>
                </a:lnTo>
                <a:lnTo>
                  <a:pt x="2970" y="11347"/>
                </a:lnTo>
                <a:lnTo>
                  <a:pt x="2970" y="11120"/>
                </a:lnTo>
                <a:lnTo>
                  <a:pt x="2835" y="11120"/>
                </a:lnTo>
                <a:lnTo>
                  <a:pt x="2835" y="10743"/>
                </a:lnTo>
                <a:lnTo>
                  <a:pt x="2700" y="10743"/>
                </a:lnTo>
                <a:lnTo>
                  <a:pt x="2700" y="10480"/>
                </a:lnTo>
                <a:lnTo>
                  <a:pt x="2632" y="10404"/>
                </a:lnTo>
                <a:lnTo>
                  <a:pt x="2632" y="10291"/>
                </a:lnTo>
                <a:lnTo>
                  <a:pt x="2700" y="10216"/>
                </a:lnTo>
                <a:lnTo>
                  <a:pt x="2700" y="9763"/>
                </a:lnTo>
                <a:lnTo>
                  <a:pt x="3105" y="9763"/>
                </a:lnTo>
                <a:lnTo>
                  <a:pt x="3105" y="9688"/>
                </a:lnTo>
                <a:lnTo>
                  <a:pt x="3173" y="9688"/>
                </a:lnTo>
                <a:lnTo>
                  <a:pt x="3173" y="9575"/>
                </a:lnTo>
                <a:lnTo>
                  <a:pt x="3308" y="9575"/>
                </a:lnTo>
                <a:lnTo>
                  <a:pt x="3308" y="9499"/>
                </a:lnTo>
                <a:lnTo>
                  <a:pt x="3442" y="9499"/>
                </a:lnTo>
                <a:lnTo>
                  <a:pt x="3442" y="9047"/>
                </a:lnTo>
                <a:lnTo>
                  <a:pt x="3308" y="8972"/>
                </a:lnTo>
                <a:lnTo>
                  <a:pt x="3308" y="8821"/>
                </a:lnTo>
                <a:lnTo>
                  <a:pt x="3442" y="8821"/>
                </a:lnTo>
                <a:lnTo>
                  <a:pt x="3578" y="8783"/>
                </a:lnTo>
                <a:lnTo>
                  <a:pt x="3578" y="8557"/>
                </a:lnTo>
                <a:lnTo>
                  <a:pt x="3645" y="8557"/>
                </a:lnTo>
                <a:lnTo>
                  <a:pt x="3645" y="8444"/>
                </a:lnTo>
                <a:lnTo>
                  <a:pt x="3780" y="8369"/>
                </a:lnTo>
                <a:lnTo>
                  <a:pt x="3780" y="8256"/>
                </a:lnTo>
                <a:lnTo>
                  <a:pt x="4117" y="8256"/>
                </a:lnTo>
                <a:lnTo>
                  <a:pt x="4117" y="8105"/>
                </a:lnTo>
                <a:lnTo>
                  <a:pt x="4050" y="8105"/>
                </a:lnTo>
                <a:lnTo>
                  <a:pt x="4050" y="7916"/>
                </a:lnTo>
                <a:lnTo>
                  <a:pt x="4117" y="7916"/>
                </a:lnTo>
                <a:lnTo>
                  <a:pt x="4117" y="7841"/>
                </a:lnTo>
                <a:lnTo>
                  <a:pt x="4050" y="7841"/>
                </a:lnTo>
                <a:lnTo>
                  <a:pt x="4050" y="7765"/>
                </a:lnTo>
                <a:lnTo>
                  <a:pt x="4117" y="7765"/>
                </a:lnTo>
                <a:lnTo>
                  <a:pt x="4117" y="7577"/>
                </a:lnTo>
                <a:lnTo>
                  <a:pt x="3915" y="7577"/>
                </a:lnTo>
                <a:lnTo>
                  <a:pt x="3915" y="7464"/>
                </a:lnTo>
                <a:lnTo>
                  <a:pt x="3780" y="7388"/>
                </a:lnTo>
                <a:lnTo>
                  <a:pt x="3915" y="7313"/>
                </a:lnTo>
                <a:lnTo>
                  <a:pt x="3915" y="7238"/>
                </a:lnTo>
                <a:lnTo>
                  <a:pt x="3780" y="7200"/>
                </a:lnTo>
                <a:lnTo>
                  <a:pt x="3780" y="6974"/>
                </a:lnTo>
                <a:lnTo>
                  <a:pt x="3645" y="6974"/>
                </a:lnTo>
                <a:lnTo>
                  <a:pt x="3645" y="6861"/>
                </a:lnTo>
                <a:lnTo>
                  <a:pt x="3578" y="6861"/>
                </a:lnTo>
                <a:lnTo>
                  <a:pt x="3578" y="6672"/>
                </a:lnTo>
                <a:lnTo>
                  <a:pt x="3645" y="6672"/>
                </a:lnTo>
                <a:lnTo>
                  <a:pt x="3645" y="6597"/>
                </a:lnTo>
                <a:lnTo>
                  <a:pt x="3442" y="6484"/>
                </a:lnTo>
                <a:lnTo>
                  <a:pt x="3442" y="6333"/>
                </a:lnTo>
                <a:lnTo>
                  <a:pt x="3308" y="6333"/>
                </a:lnTo>
                <a:lnTo>
                  <a:pt x="3308" y="6145"/>
                </a:lnTo>
                <a:lnTo>
                  <a:pt x="3442" y="6145"/>
                </a:lnTo>
                <a:lnTo>
                  <a:pt x="3442" y="6069"/>
                </a:lnTo>
                <a:lnTo>
                  <a:pt x="3578" y="6069"/>
                </a:lnTo>
                <a:lnTo>
                  <a:pt x="3578" y="5994"/>
                </a:lnTo>
                <a:lnTo>
                  <a:pt x="3645" y="5994"/>
                </a:lnTo>
                <a:lnTo>
                  <a:pt x="3578" y="5956"/>
                </a:lnTo>
                <a:lnTo>
                  <a:pt x="3578" y="5805"/>
                </a:lnTo>
                <a:lnTo>
                  <a:pt x="3645" y="5805"/>
                </a:lnTo>
                <a:lnTo>
                  <a:pt x="3645" y="5617"/>
                </a:lnTo>
                <a:lnTo>
                  <a:pt x="3780" y="5617"/>
                </a:lnTo>
                <a:lnTo>
                  <a:pt x="3780" y="5541"/>
                </a:lnTo>
                <a:lnTo>
                  <a:pt x="4050" y="5541"/>
                </a:lnTo>
                <a:lnTo>
                  <a:pt x="4050" y="5466"/>
                </a:lnTo>
                <a:lnTo>
                  <a:pt x="4117" y="5466"/>
                </a:lnTo>
                <a:lnTo>
                  <a:pt x="4117" y="5428"/>
                </a:lnTo>
                <a:lnTo>
                  <a:pt x="4050" y="5428"/>
                </a:lnTo>
                <a:lnTo>
                  <a:pt x="4050" y="5353"/>
                </a:lnTo>
                <a:lnTo>
                  <a:pt x="3915" y="5353"/>
                </a:lnTo>
                <a:lnTo>
                  <a:pt x="3915" y="5277"/>
                </a:lnTo>
                <a:lnTo>
                  <a:pt x="4050" y="5277"/>
                </a:lnTo>
                <a:lnTo>
                  <a:pt x="4050" y="5164"/>
                </a:lnTo>
                <a:lnTo>
                  <a:pt x="3915" y="5089"/>
                </a:lnTo>
                <a:lnTo>
                  <a:pt x="3915" y="4825"/>
                </a:lnTo>
                <a:lnTo>
                  <a:pt x="4050" y="4825"/>
                </a:lnTo>
                <a:lnTo>
                  <a:pt x="4050" y="4637"/>
                </a:lnTo>
                <a:lnTo>
                  <a:pt x="4117" y="4637"/>
                </a:lnTo>
                <a:lnTo>
                  <a:pt x="4117" y="4486"/>
                </a:lnTo>
                <a:lnTo>
                  <a:pt x="4252" y="4486"/>
                </a:lnTo>
                <a:lnTo>
                  <a:pt x="4252" y="4297"/>
                </a:lnTo>
                <a:lnTo>
                  <a:pt x="4387" y="4297"/>
                </a:lnTo>
                <a:lnTo>
                  <a:pt x="4387" y="4147"/>
                </a:lnTo>
                <a:lnTo>
                  <a:pt x="4523" y="4147"/>
                </a:lnTo>
                <a:lnTo>
                  <a:pt x="4590" y="4109"/>
                </a:lnTo>
                <a:lnTo>
                  <a:pt x="4590" y="4034"/>
                </a:lnTo>
                <a:lnTo>
                  <a:pt x="4725" y="3958"/>
                </a:lnTo>
                <a:lnTo>
                  <a:pt x="4860" y="3958"/>
                </a:lnTo>
                <a:lnTo>
                  <a:pt x="4860" y="3845"/>
                </a:lnTo>
                <a:lnTo>
                  <a:pt x="4995" y="3845"/>
                </a:lnTo>
                <a:lnTo>
                  <a:pt x="4995" y="3694"/>
                </a:lnTo>
                <a:lnTo>
                  <a:pt x="5063" y="3619"/>
                </a:lnTo>
                <a:lnTo>
                  <a:pt x="5063" y="3581"/>
                </a:lnTo>
                <a:lnTo>
                  <a:pt x="5198" y="3506"/>
                </a:lnTo>
                <a:lnTo>
                  <a:pt x="5198" y="3430"/>
                </a:lnTo>
                <a:lnTo>
                  <a:pt x="5333" y="3506"/>
                </a:lnTo>
                <a:lnTo>
                  <a:pt x="5468" y="3506"/>
                </a:lnTo>
                <a:lnTo>
                  <a:pt x="5468" y="3430"/>
                </a:lnTo>
                <a:lnTo>
                  <a:pt x="5670" y="3430"/>
                </a:lnTo>
                <a:lnTo>
                  <a:pt x="5670" y="3355"/>
                </a:lnTo>
                <a:lnTo>
                  <a:pt x="5805" y="3355"/>
                </a:lnTo>
                <a:lnTo>
                  <a:pt x="5805" y="3317"/>
                </a:lnTo>
                <a:lnTo>
                  <a:pt x="5670" y="3317"/>
                </a:lnTo>
                <a:lnTo>
                  <a:pt x="5670" y="3242"/>
                </a:lnTo>
                <a:lnTo>
                  <a:pt x="5535" y="3242"/>
                </a:lnTo>
                <a:lnTo>
                  <a:pt x="5535" y="3129"/>
                </a:lnTo>
                <a:lnTo>
                  <a:pt x="5468" y="3053"/>
                </a:lnTo>
                <a:lnTo>
                  <a:pt x="5468" y="2262"/>
                </a:lnTo>
                <a:lnTo>
                  <a:pt x="5535" y="2262"/>
                </a:lnTo>
                <a:lnTo>
                  <a:pt x="5535" y="2186"/>
                </a:lnTo>
                <a:lnTo>
                  <a:pt x="5670" y="2186"/>
                </a:lnTo>
                <a:lnTo>
                  <a:pt x="5670" y="2111"/>
                </a:lnTo>
                <a:lnTo>
                  <a:pt x="5535" y="2111"/>
                </a:lnTo>
                <a:lnTo>
                  <a:pt x="5535" y="2073"/>
                </a:lnTo>
                <a:lnTo>
                  <a:pt x="5468" y="1998"/>
                </a:lnTo>
                <a:lnTo>
                  <a:pt x="5468" y="1847"/>
                </a:lnTo>
                <a:lnTo>
                  <a:pt x="5535" y="1847"/>
                </a:lnTo>
                <a:lnTo>
                  <a:pt x="5535" y="1809"/>
                </a:lnTo>
                <a:lnTo>
                  <a:pt x="5670" y="1809"/>
                </a:lnTo>
                <a:lnTo>
                  <a:pt x="5805" y="1734"/>
                </a:lnTo>
                <a:lnTo>
                  <a:pt x="5940" y="1734"/>
                </a:lnTo>
                <a:lnTo>
                  <a:pt x="5940" y="1659"/>
                </a:lnTo>
                <a:lnTo>
                  <a:pt x="6278" y="1659"/>
                </a:lnTo>
                <a:lnTo>
                  <a:pt x="6278" y="1583"/>
                </a:lnTo>
                <a:lnTo>
                  <a:pt x="6413" y="1583"/>
                </a:lnTo>
                <a:lnTo>
                  <a:pt x="6480" y="1546"/>
                </a:lnTo>
                <a:lnTo>
                  <a:pt x="6750" y="1546"/>
                </a:lnTo>
                <a:lnTo>
                  <a:pt x="6750" y="1470"/>
                </a:lnTo>
                <a:lnTo>
                  <a:pt x="6885" y="1395"/>
                </a:lnTo>
                <a:lnTo>
                  <a:pt x="6885" y="1319"/>
                </a:lnTo>
                <a:lnTo>
                  <a:pt x="6952" y="1282"/>
                </a:lnTo>
                <a:lnTo>
                  <a:pt x="6952" y="1055"/>
                </a:lnTo>
                <a:lnTo>
                  <a:pt x="7088" y="1018"/>
                </a:lnTo>
                <a:lnTo>
                  <a:pt x="7088" y="867"/>
                </a:lnTo>
                <a:lnTo>
                  <a:pt x="7223" y="867"/>
                </a:lnTo>
                <a:lnTo>
                  <a:pt x="7223" y="792"/>
                </a:lnTo>
                <a:lnTo>
                  <a:pt x="7088" y="792"/>
                </a:lnTo>
                <a:lnTo>
                  <a:pt x="7088" y="754"/>
                </a:lnTo>
                <a:lnTo>
                  <a:pt x="6952" y="754"/>
                </a:lnTo>
                <a:lnTo>
                  <a:pt x="6952" y="679"/>
                </a:lnTo>
                <a:lnTo>
                  <a:pt x="7088" y="679"/>
                </a:lnTo>
                <a:lnTo>
                  <a:pt x="7088" y="603"/>
                </a:lnTo>
                <a:lnTo>
                  <a:pt x="7223" y="528"/>
                </a:lnTo>
                <a:lnTo>
                  <a:pt x="7223" y="490"/>
                </a:lnTo>
                <a:lnTo>
                  <a:pt x="7425" y="490"/>
                </a:lnTo>
                <a:lnTo>
                  <a:pt x="7425" y="339"/>
                </a:lnTo>
                <a:lnTo>
                  <a:pt x="7560" y="339"/>
                </a:lnTo>
                <a:lnTo>
                  <a:pt x="7695" y="264"/>
                </a:lnTo>
                <a:lnTo>
                  <a:pt x="7898" y="264"/>
                </a:lnTo>
                <a:lnTo>
                  <a:pt x="7898" y="151"/>
                </a:lnTo>
                <a:lnTo>
                  <a:pt x="8032" y="151"/>
                </a:lnTo>
                <a:lnTo>
                  <a:pt x="8032" y="0"/>
                </a:lnTo>
                <a:close/>
                <a:moveTo>
                  <a:pt x="8032" y="0"/>
                </a:moveTo>
              </a:path>
            </a:pathLst>
          </a:custGeom>
          <a:solidFill>
            <a:srgbClr val="00BACF">
              <a:alpha val="50000"/>
            </a:srgbClr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106" name="Freeform 36"/>
          <p:cNvSpPr>
            <a:spLocks/>
          </p:cNvSpPr>
          <p:nvPr/>
        </p:nvSpPr>
        <p:spPr bwMode="auto">
          <a:xfrm>
            <a:off x="7573709" y="2987834"/>
            <a:ext cx="37033" cy="29429"/>
          </a:xfrm>
          <a:custGeom>
            <a:avLst/>
            <a:gdLst/>
            <a:ahLst/>
            <a:cxnLst>
              <a:cxn ang="0">
                <a:pos x="18000" y="0"/>
              </a:cxn>
              <a:cxn ang="0">
                <a:pos x="21600" y="0"/>
              </a:cxn>
              <a:cxn ang="0">
                <a:pos x="21600" y="4629"/>
              </a:cxn>
              <a:cxn ang="0">
                <a:pos x="18000" y="4629"/>
              </a:cxn>
              <a:cxn ang="0">
                <a:pos x="18000" y="18514"/>
              </a:cxn>
              <a:cxn ang="0">
                <a:pos x="5400" y="18514"/>
              </a:cxn>
              <a:cxn ang="0">
                <a:pos x="1800" y="21600"/>
              </a:cxn>
              <a:cxn ang="0">
                <a:pos x="0" y="18514"/>
              </a:cxn>
              <a:cxn ang="0">
                <a:pos x="0" y="15429"/>
              </a:cxn>
              <a:cxn ang="0">
                <a:pos x="5400" y="15429"/>
              </a:cxn>
              <a:cxn ang="0">
                <a:pos x="5400" y="7714"/>
              </a:cxn>
              <a:cxn ang="0">
                <a:pos x="1800" y="4629"/>
              </a:cxn>
              <a:cxn ang="0">
                <a:pos x="1800" y="1543"/>
              </a:cxn>
              <a:cxn ang="0">
                <a:pos x="18000" y="1543"/>
              </a:cxn>
              <a:cxn ang="0">
                <a:pos x="18000" y="0"/>
              </a:cxn>
              <a:cxn ang="0">
                <a:pos x="18000" y="0"/>
              </a:cxn>
            </a:cxnLst>
            <a:rect l="0" t="0" r="r" b="b"/>
            <a:pathLst>
              <a:path w="21600" h="21600">
                <a:moveTo>
                  <a:pt x="18000" y="0"/>
                </a:moveTo>
                <a:lnTo>
                  <a:pt x="21600" y="0"/>
                </a:lnTo>
                <a:lnTo>
                  <a:pt x="21600" y="4629"/>
                </a:lnTo>
                <a:lnTo>
                  <a:pt x="18000" y="4629"/>
                </a:lnTo>
                <a:lnTo>
                  <a:pt x="18000" y="18514"/>
                </a:lnTo>
                <a:lnTo>
                  <a:pt x="5400" y="18514"/>
                </a:lnTo>
                <a:lnTo>
                  <a:pt x="1800" y="21600"/>
                </a:lnTo>
                <a:lnTo>
                  <a:pt x="0" y="18514"/>
                </a:lnTo>
                <a:lnTo>
                  <a:pt x="0" y="15429"/>
                </a:lnTo>
                <a:lnTo>
                  <a:pt x="5400" y="15429"/>
                </a:lnTo>
                <a:lnTo>
                  <a:pt x="5400" y="7714"/>
                </a:lnTo>
                <a:lnTo>
                  <a:pt x="1800" y="4629"/>
                </a:lnTo>
                <a:lnTo>
                  <a:pt x="1800" y="1543"/>
                </a:lnTo>
                <a:lnTo>
                  <a:pt x="18000" y="1543"/>
                </a:lnTo>
                <a:lnTo>
                  <a:pt x="18000" y="0"/>
                </a:lnTo>
                <a:close/>
                <a:moveTo>
                  <a:pt x="18000" y="0"/>
                </a:moveTo>
              </a:path>
            </a:pathLst>
          </a:custGeom>
          <a:solidFill>
            <a:srgbClr val="00BACF"/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111" name="AutoShape 37"/>
          <p:cNvSpPr>
            <a:spLocks/>
          </p:cNvSpPr>
          <p:nvPr/>
        </p:nvSpPr>
        <p:spPr bwMode="auto">
          <a:xfrm>
            <a:off x="5062637" y="2339572"/>
            <a:ext cx="26282" cy="22889"/>
          </a:xfrm>
          <a:custGeom>
            <a:avLst/>
            <a:gdLst>
              <a:gd name="T0" fmla="*/ 10800 w 21600"/>
              <a:gd name="T1" fmla="*/ 10800 h 21600"/>
            </a:gdLst>
            <a:ahLst/>
            <a:cxnLst>
              <a:cxn ang="0">
                <a:pos x="T0" y="T1"/>
              </a:cxn>
            </a:cxnLst>
            <a:rect l="0" t="0" r="r" b="b"/>
            <a:pathLst>
              <a:path w="21600" h="21600">
                <a:moveTo>
                  <a:pt x="16800" y="17673"/>
                </a:moveTo>
                <a:lnTo>
                  <a:pt x="21600" y="17673"/>
                </a:lnTo>
                <a:lnTo>
                  <a:pt x="21600" y="21600"/>
                </a:lnTo>
                <a:lnTo>
                  <a:pt x="16800" y="21600"/>
                </a:lnTo>
                <a:lnTo>
                  <a:pt x="16800" y="17673"/>
                </a:lnTo>
                <a:close/>
                <a:moveTo>
                  <a:pt x="7200" y="11782"/>
                </a:moveTo>
                <a:lnTo>
                  <a:pt x="16800" y="11782"/>
                </a:lnTo>
                <a:lnTo>
                  <a:pt x="16800" y="17673"/>
                </a:lnTo>
                <a:lnTo>
                  <a:pt x="7200" y="17673"/>
                </a:lnTo>
                <a:lnTo>
                  <a:pt x="7200" y="11782"/>
                </a:lnTo>
                <a:close/>
                <a:moveTo>
                  <a:pt x="4800" y="3927"/>
                </a:moveTo>
                <a:lnTo>
                  <a:pt x="7200" y="3927"/>
                </a:lnTo>
                <a:lnTo>
                  <a:pt x="7200" y="11782"/>
                </a:lnTo>
                <a:lnTo>
                  <a:pt x="4800" y="11782"/>
                </a:lnTo>
                <a:lnTo>
                  <a:pt x="4800" y="3927"/>
                </a:lnTo>
                <a:close/>
                <a:moveTo>
                  <a:pt x="0" y="0"/>
                </a:moveTo>
                <a:lnTo>
                  <a:pt x="4800" y="0"/>
                </a:lnTo>
                <a:lnTo>
                  <a:pt x="4800" y="3927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rgbClr val="00BACF"/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117" name="AutoShape 38"/>
          <p:cNvSpPr>
            <a:spLocks/>
          </p:cNvSpPr>
          <p:nvPr/>
        </p:nvSpPr>
        <p:spPr bwMode="auto">
          <a:xfrm>
            <a:off x="4894197" y="2228399"/>
            <a:ext cx="1466980" cy="635984"/>
          </a:xfrm>
          <a:custGeom>
            <a:avLst/>
            <a:gdLst>
              <a:gd name="T0" fmla="*/ 10800 w 21600"/>
              <a:gd name="T1" fmla="*/ 10800 h 21600"/>
            </a:gdLst>
            <a:ahLst/>
            <a:cxnLst>
              <a:cxn ang="0">
                <a:pos x="T0" y="T1"/>
              </a:cxn>
            </a:cxnLst>
            <a:rect l="0" t="0" r="r" b="b"/>
            <a:pathLst>
              <a:path w="21600" h="21600">
                <a:moveTo>
                  <a:pt x="16189" y="19643"/>
                </a:moveTo>
                <a:lnTo>
                  <a:pt x="16278" y="19643"/>
                </a:lnTo>
                <a:lnTo>
                  <a:pt x="16322" y="19783"/>
                </a:lnTo>
                <a:lnTo>
                  <a:pt x="16189" y="19783"/>
                </a:lnTo>
                <a:lnTo>
                  <a:pt x="16189" y="19643"/>
                </a:lnTo>
                <a:close/>
                <a:moveTo>
                  <a:pt x="15036" y="16847"/>
                </a:moveTo>
                <a:lnTo>
                  <a:pt x="15036" y="16986"/>
                </a:lnTo>
                <a:lnTo>
                  <a:pt x="15080" y="16986"/>
                </a:lnTo>
                <a:lnTo>
                  <a:pt x="15080" y="16847"/>
                </a:lnTo>
                <a:lnTo>
                  <a:pt x="15036" y="16847"/>
                </a:lnTo>
                <a:close/>
                <a:moveTo>
                  <a:pt x="21068" y="15798"/>
                </a:moveTo>
                <a:lnTo>
                  <a:pt x="21156" y="15798"/>
                </a:lnTo>
                <a:lnTo>
                  <a:pt x="21156" y="15868"/>
                </a:lnTo>
                <a:lnTo>
                  <a:pt x="21068" y="15868"/>
                </a:lnTo>
                <a:lnTo>
                  <a:pt x="21068" y="15798"/>
                </a:lnTo>
                <a:close/>
                <a:moveTo>
                  <a:pt x="13927" y="13212"/>
                </a:moveTo>
                <a:lnTo>
                  <a:pt x="14016" y="13212"/>
                </a:lnTo>
                <a:lnTo>
                  <a:pt x="14016" y="13351"/>
                </a:lnTo>
                <a:lnTo>
                  <a:pt x="14104" y="13351"/>
                </a:lnTo>
                <a:lnTo>
                  <a:pt x="14104" y="13561"/>
                </a:lnTo>
                <a:lnTo>
                  <a:pt x="14016" y="13701"/>
                </a:lnTo>
                <a:lnTo>
                  <a:pt x="14016" y="13421"/>
                </a:lnTo>
                <a:lnTo>
                  <a:pt x="13927" y="13351"/>
                </a:lnTo>
                <a:lnTo>
                  <a:pt x="13927" y="13212"/>
                </a:lnTo>
                <a:close/>
                <a:moveTo>
                  <a:pt x="13794" y="10276"/>
                </a:moveTo>
                <a:lnTo>
                  <a:pt x="13705" y="10416"/>
                </a:lnTo>
                <a:lnTo>
                  <a:pt x="13794" y="10485"/>
                </a:lnTo>
                <a:lnTo>
                  <a:pt x="13794" y="10276"/>
                </a:lnTo>
                <a:close/>
                <a:moveTo>
                  <a:pt x="13794" y="9647"/>
                </a:moveTo>
                <a:lnTo>
                  <a:pt x="13794" y="9926"/>
                </a:lnTo>
                <a:lnTo>
                  <a:pt x="13705" y="9926"/>
                </a:lnTo>
                <a:lnTo>
                  <a:pt x="13794" y="9996"/>
                </a:lnTo>
                <a:lnTo>
                  <a:pt x="13883" y="9647"/>
                </a:lnTo>
                <a:lnTo>
                  <a:pt x="13794" y="9647"/>
                </a:lnTo>
                <a:close/>
                <a:moveTo>
                  <a:pt x="1641" y="0"/>
                </a:moveTo>
                <a:lnTo>
                  <a:pt x="1730" y="0"/>
                </a:lnTo>
                <a:lnTo>
                  <a:pt x="1730" y="280"/>
                </a:lnTo>
                <a:lnTo>
                  <a:pt x="1774" y="280"/>
                </a:lnTo>
                <a:lnTo>
                  <a:pt x="2040" y="419"/>
                </a:lnTo>
                <a:lnTo>
                  <a:pt x="2484" y="769"/>
                </a:lnTo>
                <a:lnTo>
                  <a:pt x="3105" y="979"/>
                </a:lnTo>
                <a:lnTo>
                  <a:pt x="3726" y="1398"/>
                </a:lnTo>
                <a:lnTo>
                  <a:pt x="4435" y="1748"/>
                </a:lnTo>
                <a:lnTo>
                  <a:pt x="6343" y="1748"/>
                </a:lnTo>
                <a:lnTo>
                  <a:pt x="6343" y="1258"/>
                </a:lnTo>
                <a:lnTo>
                  <a:pt x="7496" y="1258"/>
                </a:lnTo>
                <a:lnTo>
                  <a:pt x="8738" y="2726"/>
                </a:lnTo>
                <a:lnTo>
                  <a:pt x="8738" y="2796"/>
                </a:lnTo>
                <a:lnTo>
                  <a:pt x="8826" y="2936"/>
                </a:lnTo>
                <a:lnTo>
                  <a:pt x="8826" y="3425"/>
                </a:lnTo>
                <a:lnTo>
                  <a:pt x="8915" y="3565"/>
                </a:lnTo>
                <a:lnTo>
                  <a:pt x="8915" y="3705"/>
                </a:lnTo>
                <a:lnTo>
                  <a:pt x="9004" y="3705"/>
                </a:lnTo>
                <a:lnTo>
                  <a:pt x="9004" y="3775"/>
                </a:lnTo>
                <a:lnTo>
                  <a:pt x="9048" y="3775"/>
                </a:lnTo>
                <a:lnTo>
                  <a:pt x="9048" y="3915"/>
                </a:lnTo>
                <a:lnTo>
                  <a:pt x="9137" y="3915"/>
                </a:lnTo>
                <a:lnTo>
                  <a:pt x="9137" y="4054"/>
                </a:lnTo>
                <a:lnTo>
                  <a:pt x="9314" y="4054"/>
                </a:lnTo>
                <a:lnTo>
                  <a:pt x="9314" y="4194"/>
                </a:lnTo>
                <a:lnTo>
                  <a:pt x="9359" y="4194"/>
                </a:lnTo>
                <a:lnTo>
                  <a:pt x="9359" y="4264"/>
                </a:lnTo>
                <a:lnTo>
                  <a:pt x="9625" y="4264"/>
                </a:lnTo>
                <a:lnTo>
                  <a:pt x="9625" y="4404"/>
                </a:lnTo>
                <a:lnTo>
                  <a:pt x="9758" y="4404"/>
                </a:lnTo>
                <a:lnTo>
                  <a:pt x="9846" y="4544"/>
                </a:lnTo>
                <a:lnTo>
                  <a:pt x="10068" y="4544"/>
                </a:lnTo>
                <a:lnTo>
                  <a:pt x="10068" y="4264"/>
                </a:lnTo>
                <a:lnTo>
                  <a:pt x="10246" y="4054"/>
                </a:lnTo>
                <a:lnTo>
                  <a:pt x="10246" y="3915"/>
                </a:lnTo>
                <a:lnTo>
                  <a:pt x="10290" y="3775"/>
                </a:lnTo>
                <a:lnTo>
                  <a:pt x="10290" y="3705"/>
                </a:lnTo>
                <a:lnTo>
                  <a:pt x="10556" y="3705"/>
                </a:lnTo>
                <a:lnTo>
                  <a:pt x="10556" y="3425"/>
                </a:lnTo>
                <a:lnTo>
                  <a:pt x="10689" y="3425"/>
                </a:lnTo>
                <a:lnTo>
                  <a:pt x="10689" y="3565"/>
                </a:lnTo>
                <a:lnTo>
                  <a:pt x="10822" y="3565"/>
                </a:lnTo>
                <a:lnTo>
                  <a:pt x="10911" y="3705"/>
                </a:lnTo>
                <a:lnTo>
                  <a:pt x="11088" y="3705"/>
                </a:lnTo>
                <a:lnTo>
                  <a:pt x="11088" y="3565"/>
                </a:lnTo>
                <a:lnTo>
                  <a:pt x="11133" y="3565"/>
                </a:lnTo>
                <a:lnTo>
                  <a:pt x="11310" y="3775"/>
                </a:lnTo>
                <a:lnTo>
                  <a:pt x="11443" y="3915"/>
                </a:lnTo>
                <a:lnTo>
                  <a:pt x="11532" y="4054"/>
                </a:lnTo>
                <a:lnTo>
                  <a:pt x="11621" y="4264"/>
                </a:lnTo>
                <a:lnTo>
                  <a:pt x="11709" y="4404"/>
                </a:lnTo>
                <a:lnTo>
                  <a:pt x="11709" y="4683"/>
                </a:lnTo>
                <a:lnTo>
                  <a:pt x="11754" y="4683"/>
                </a:lnTo>
                <a:lnTo>
                  <a:pt x="11754" y="4753"/>
                </a:lnTo>
                <a:lnTo>
                  <a:pt x="11842" y="4893"/>
                </a:lnTo>
                <a:lnTo>
                  <a:pt x="11842" y="5033"/>
                </a:lnTo>
                <a:lnTo>
                  <a:pt x="12020" y="5243"/>
                </a:lnTo>
                <a:lnTo>
                  <a:pt x="12020" y="5383"/>
                </a:lnTo>
                <a:lnTo>
                  <a:pt x="12153" y="5662"/>
                </a:lnTo>
                <a:lnTo>
                  <a:pt x="12153" y="5732"/>
                </a:lnTo>
                <a:lnTo>
                  <a:pt x="12241" y="5732"/>
                </a:lnTo>
                <a:lnTo>
                  <a:pt x="12241" y="5872"/>
                </a:lnTo>
                <a:lnTo>
                  <a:pt x="12330" y="6012"/>
                </a:lnTo>
                <a:lnTo>
                  <a:pt x="12330" y="6151"/>
                </a:lnTo>
                <a:lnTo>
                  <a:pt x="12375" y="6151"/>
                </a:lnTo>
                <a:lnTo>
                  <a:pt x="12375" y="6221"/>
                </a:lnTo>
                <a:lnTo>
                  <a:pt x="12552" y="6221"/>
                </a:lnTo>
                <a:lnTo>
                  <a:pt x="12552" y="6641"/>
                </a:lnTo>
                <a:lnTo>
                  <a:pt x="12641" y="6850"/>
                </a:lnTo>
                <a:lnTo>
                  <a:pt x="12641" y="7130"/>
                </a:lnTo>
                <a:lnTo>
                  <a:pt x="12685" y="7130"/>
                </a:lnTo>
                <a:lnTo>
                  <a:pt x="12685" y="7480"/>
                </a:lnTo>
                <a:lnTo>
                  <a:pt x="12774" y="7619"/>
                </a:lnTo>
                <a:lnTo>
                  <a:pt x="12774" y="7689"/>
                </a:lnTo>
                <a:lnTo>
                  <a:pt x="12862" y="7829"/>
                </a:lnTo>
                <a:lnTo>
                  <a:pt x="13173" y="7829"/>
                </a:lnTo>
                <a:lnTo>
                  <a:pt x="13173" y="7969"/>
                </a:lnTo>
                <a:lnTo>
                  <a:pt x="13306" y="7969"/>
                </a:lnTo>
                <a:lnTo>
                  <a:pt x="13306" y="8109"/>
                </a:lnTo>
                <a:lnTo>
                  <a:pt x="13794" y="8109"/>
                </a:lnTo>
                <a:lnTo>
                  <a:pt x="13794" y="8179"/>
                </a:lnTo>
                <a:lnTo>
                  <a:pt x="13883" y="8179"/>
                </a:lnTo>
                <a:lnTo>
                  <a:pt x="13883" y="8318"/>
                </a:lnTo>
                <a:lnTo>
                  <a:pt x="14193" y="8318"/>
                </a:lnTo>
                <a:lnTo>
                  <a:pt x="14193" y="8598"/>
                </a:lnTo>
                <a:lnTo>
                  <a:pt x="14104" y="8598"/>
                </a:lnTo>
                <a:lnTo>
                  <a:pt x="14104" y="8948"/>
                </a:lnTo>
                <a:lnTo>
                  <a:pt x="14016" y="8948"/>
                </a:lnTo>
                <a:lnTo>
                  <a:pt x="14016" y="8808"/>
                </a:lnTo>
                <a:lnTo>
                  <a:pt x="13927" y="8808"/>
                </a:lnTo>
                <a:lnTo>
                  <a:pt x="13927" y="9087"/>
                </a:lnTo>
                <a:lnTo>
                  <a:pt x="13794" y="9087"/>
                </a:lnTo>
                <a:lnTo>
                  <a:pt x="13794" y="9437"/>
                </a:lnTo>
                <a:lnTo>
                  <a:pt x="13883" y="9437"/>
                </a:lnTo>
                <a:lnTo>
                  <a:pt x="13883" y="9507"/>
                </a:lnTo>
                <a:lnTo>
                  <a:pt x="13927" y="9437"/>
                </a:lnTo>
                <a:lnTo>
                  <a:pt x="13927" y="9507"/>
                </a:lnTo>
                <a:lnTo>
                  <a:pt x="13883" y="9786"/>
                </a:lnTo>
                <a:lnTo>
                  <a:pt x="13883" y="10625"/>
                </a:lnTo>
                <a:lnTo>
                  <a:pt x="13794" y="10625"/>
                </a:lnTo>
                <a:lnTo>
                  <a:pt x="13794" y="11744"/>
                </a:lnTo>
                <a:lnTo>
                  <a:pt x="13705" y="11744"/>
                </a:lnTo>
                <a:lnTo>
                  <a:pt x="13705" y="12583"/>
                </a:lnTo>
                <a:lnTo>
                  <a:pt x="13794" y="12722"/>
                </a:lnTo>
                <a:lnTo>
                  <a:pt x="13794" y="12932"/>
                </a:lnTo>
                <a:lnTo>
                  <a:pt x="13883" y="12932"/>
                </a:lnTo>
                <a:lnTo>
                  <a:pt x="13883" y="13072"/>
                </a:lnTo>
                <a:lnTo>
                  <a:pt x="13927" y="13072"/>
                </a:lnTo>
                <a:lnTo>
                  <a:pt x="13927" y="13212"/>
                </a:lnTo>
                <a:lnTo>
                  <a:pt x="13883" y="13212"/>
                </a:lnTo>
                <a:lnTo>
                  <a:pt x="13883" y="13421"/>
                </a:lnTo>
                <a:lnTo>
                  <a:pt x="13927" y="13561"/>
                </a:lnTo>
                <a:lnTo>
                  <a:pt x="13927" y="13701"/>
                </a:lnTo>
                <a:lnTo>
                  <a:pt x="14016" y="13701"/>
                </a:lnTo>
                <a:lnTo>
                  <a:pt x="14016" y="13911"/>
                </a:lnTo>
                <a:lnTo>
                  <a:pt x="14104" y="14190"/>
                </a:lnTo>
                <a:lnTo>
                  <a:pt x="14193" y="14330"/>
                </a:lnTo>
                <a:lnTo>
                  <a:pt x="14193" y="14540"/>
                </a:lnTo>
                <a:lnTo>
                  <a:pt x="14504" y="15029"/>
                </a:lnTo>
                <a:lnTo>
                  <a:pt x="14637" y="15169"/>
                </a:lnTo>
                <a:lnTo>
                  <a:pt x="14637" y="15309"/>
                </a:lnTo>
                <a:lnTo>
                  <a:pt x="14725" y="15379"/>
                </a:lnTo>
                <a:lnTo>
                  <a:pt x="14725" y="15868"/>
                </a:lnTo>
                <a:lnTo>
                  <a:pt x="14814" y="16008"/>
                </a:lnTo>
                <a:lnTo>
                  <a:pt x="14858" y="16217"/>
                </a:lnTo>
                <a:lnTo>
                  <a:pt x="15036" y="16497"/>
                </a:lnTo>
                <a:lnTo>
                  <a:pt x="15080" y="16497"/>
                </a:lnTo>
                <a:lnTo>
                  <a:pt x="15080" y="16637"/>
                </a:lnTo>
                <a:lnTo>
                  <a:pt x="15169" y="16637"/>
                </a:lnTo>
                <a:lnTo>
                  <a:pt x="15080" y="16707"/>
                </a:lnTo>
                <a:lnTo>
                  <a:pt x="15479" y="16707"/>
                </a:lnTo>
                <a:lnTo>
                  <a:pt x="15568" y="16847"/>
                </a:lnTo>
                <a:lnTo>
                  <a:pt x="15701" y="16847"/>
                </a:lnTo>
                <a:lnTo>
                  <a:pt x="15701" y="16986"/>
                </a:lnTo>
                <a:lnTo>
                  <a:pt x="15878" y="16986"/>
                </a:lnTo>
                <a:lnTo>
                  <a:pt x="15878" y="17126"/>
                </a:lnTo>
                <a:lnTo>
                  <a:pt x="15967" y="17126"/>
                </a:lnTo>
                <a:lnTo>
                  <a:pt x="15967" y="17196"/>
                </a:lnTo>
                <a:lnTo>
                  <a:pt x="16100" y="17476"/>
                </a:lnTo>
                <a:lnTo>
                  <a:pt x="16278" y="17476"/>
                </a:lnTo>
                <a:lnTo>
                  <a:pt x="16322" y="17336"/>
                </a:lnTo>
                <a:lnTo>
                  <a:pt x="16588" y="17336"/>
                </a:lnTo>
                <a:lnTo>
                  <a:pt x="16721" y="17126"/>
                </a:lnTo>
                <a:lnTo>
                  <a:pt x="17120" y="17126"/>
                </a:lnTo>
                <a:lnTo>
                  <a:pt x="17120" y="16986"/>
                </a:lnTo>
                <a:lnTo>
                  <a:pt x="17520" y="16986"/>
                </a:lnTo>
                <a:lnTo>
                  <a:pt x="17520" y="16847"/>
                </a:lnTo>
                <a:lnTo>
                  <a:pt x="17741" y="16847"/>
                </a:lnTo>
                <a:lnTo>
                  <a:pt x="17741" y="16707"/>
                </a:lnTo>
                <a:lnTo>
                  <a:pt x="17874" y="16707"/>
                </a:lnTo>
                <a:lnTo>
                  <a:pt x="17963" y="16847"/>
                </a:lnTo>
                <a:lnTo>
                  <a:pt x="17874" y="16847"/>
                </a:lnTo>
                <a:lnTo>
                  <a:pt x="17874" y="16986"/>
                </a:lnTo>
                <a:lnTo>
                  <a:pt x="17963" y="16986"/>
                </a:lnTo>
                <a:lnTo>
                  <a:pt x="17963" y="17126"/>
                </a:lnTo>
                <a:lnTo>
                  <a:pt x="18140" y="17126"/>
                </a:lnTo>
                <a:lnTo>
                  <a:pt x="18185" y="16986"/>
                </a:lnTo>
                <a:lnTo>
                  <a:pt x="18362" y="16986"/>
                </a:lnTo>
                <a:lnTo>
                  <a:pt x="18362" y="16637"/>
                </a:lnTo>
                <a:lnTo>
                  <a:pt x="18274" y="16637"/>
                </a:lnTo>
                <a:lnTo>
                  <a:pt x="18274" y="16497"/>
                </a:lnTo>
                <a:lnTo>
                  <a:pt x="18451" y="16497"/>
                </a:lnTo>
                <a:lnTo>
                  <a:pt x="18451" y="16357"/>
                </a:lnTo>
                <a:lnTo>
                  <a:pt x="18495" y="16357"/>
                </a:lnTo>
                <a:lnTo>
                  <a:pt x="18495" y="16217"/>
                </a:lnTo>
                <a:lnTo>
                  <a:pt x="18584" y="16217"/>
                </a:lnTo>
                <a:lnTo>
                  <a:pt x="18761" y="16008"/>
                </a:lnTo>
                <a:lnTo>
                  <a:pt x="18761" y="15868"/>
                </a:lnTo>
                <a:lnTo>
                  <a:pt x="18806" y="15658"/>
                </a:lnTo>
                <a:lnTo>
                  <a:pt x="18806" y="15379"/>
                </a:lnTo>
                <a:lnTo>
                  <a:pt x="18894" y="15379"/>
                </a:lnTo>
                <a:lnTo>
                  <a:pt x="18894" y="15169"/>
                </a:lnTo>
                <a:lnTo>
                  <a:pt x="18983" y="15169"/>
                </a:lnTo>
                <a:lnTo>
                  <a:pt x="18983" y="14330"/>
                </a:lnTo>
                <a:lnTo>
                  <a:pt x="19205" y="13911"/>
                </a:lnTo>
                <a:lnTo>
                  <a:pt x="19294" y="13911"/>
                </a:lnTo>
                <a:lnTo>
                  <a:pt x="19338" y="13841"/>
                </a:lnTo>
                <a:lnTo>
                  <a:pt x="19515" y="13841"/>
                </a:lnTo>
                <a:lnTo>
                  <a:pt x="19604" y="13701"/>
                </a:lnTo>
                <a:lnTo>
                  <a:pt x="19959" y="13701"/>
                </a:lnTo>
                <a:lnTo>
                  <a:pt x="20136" y="13561"/>
                </a:lnTo>
                <a:lnTo>
                  <a:pt x="20225" y="13561"/>
                </a:lnTo>
                <a:lnTo>
                  <a:pt x="20358" y="13421"/>
                </a:lnTo>
                <a:lnTo>
                  <a:pt x="20979" y="13421"/>
                </a:lnTo>
                <a:lnTo>
                  <a:pt x="20979" y="13561"/>
                </a:lnTo>
                <a:lnTo>
                  <a:pt x="21156" y="13561"/>
                </a:lnTo>
                <a:lnTo>
                  <a:pt x="21156" y="13421"/>
                </a:lnTo>
                <a:lnTo>
                  <a:pt x="21467" y="13421"/>
                </a:lnTo>
                <a:lnTo>
                  <a:pt x="21511" y="13561"/>
                </a:lnTo>
                <a:lnTo>
                  <a:pt x="21511" y="13841"/>
                </a:lnTo>
                <a:lnTo>
                  <a:pt x="21600" y="13911"/>
                </a:lnTo>
                <a:lnTo>
                  <a:pt x="21600" y="14050"/>
                </a:lnTo>
                <a:lnTo>
                  <a:pt x="21511" y="14330"/>
                </a:lnTo>
                <a:lnTo>
                  <a:pt x="21467" y="14400"/>
                </a:lnTo>
                <a:lnTo>
                  <a:pt x="21467" y="14540"/>
                </a:lnTo>
                <a:lnTo>
                  <a:pt x="21378" y="14540"/>
                </a:lnTo>
                <a:lnTo>
                  <a:pt x="21290" y="14680"/>
                </a:lnTo>
                <a:lnTo>
                  <a:pt x="21290" y="14819"/>
                </a:lnTo>
                <a:lnTo>
                  <a:pt x="21201" y="14819"/>
                </a:lnTo>
                <a:lnTo>
                  <a:pt x="21201" y="14889"/>
                </a:lnTo>
                <a:lnTo>
                  <a:pt x="21156" y="14889"/>
                </a:lnTo>
                <a:lnTo>
                  <a:pt x="21156" y="15029"/>
                </a:lnTo>
                <a:lnTo>
                  <a:pt x="21068" y="15169"/>
                </a:lnTo>
                <a:lnTo>
                  <a:pt x="21068" y="15518"/>
                </a:lnTo>
                <a:lnTo>
                  <a:pt x="20979" y="15518"/>
                </a:lnTo>
                <a:lnTo>
                  <a:pt x="20890" y="15658"/>
                </a:lnTo>
                <a:lnTo>
                  <a:pt x="20890" y="15798"/>
                </a:lnTo>
                <a:lnTo>
                  <a:pt x="20979" y="15798"/>
                </a:lnTo>
                <a:lnTo>
                  <a:pt x="20979" y="15868"/>
                </a:lnTo>
                <a:lnTo>
                  <a:pt x="21068" y="15868"/>
                </a:lnTo>
                <a:lnTo>
                  <a:pt x="20979" y="16008"/>
                </a:lnTo>
                <a:lnTo>
                  <a:pt x="20979" y="16148"/>
                </a:lnTo>
                <a:lnTo>
                  <a:pt x="21068" y="16008"/>
                </a:lnTo>
                <a:lnTo>
                  <a:pt x="21156" y="16008"/>
                </a:lnTo>
                <a:lnTo>
                  <a:pt x="21156" y="16148"/>
                </a:lnTo>
                <a:lnTo>
                  <a:pt x="21068" y="16148"/>
                </a:lnTo>
                <a:lnTo>
                  <a:pt x="21068" y="16217"/>
                </a:lnTo>
                <a:lnTo>
                  <a:pt x="20979" y="16217"/>
                </a:lnTo>
                <a:lnTo>
                  <a:pt x="20979" y="16497"/>
                </a:lnTo>
                <a:lnTo>
                  <a:pt x="20890" y="16637"/>
                </a:lnTo>
                <a:lnTo>
                  <a:pt x="20890" y="16847"/>
                </a:lnTo>
                <a:lnTo>
                  <a:pt x="20846" y="16986"/>
                </a:lnTo>
                <a:lnTo>
                  <a:pt x="20846" y="17336"/>
                </a:lnTo>
                <a:lnTo>
                  <a:pt x="20757" y="17336"/>
                </a:lnTo>
                <a:lnTo>
                  <a:pt x="20757" y="17196"/>
                </a:lnTo>
                <a:lnTo>
                  <a:pt x="20669" y="17196"/>
                </a:lnTo>
                <a:lnTo>
                  <a:pt x="20669" y="16707"/>
                </a:lnTo>
                <a:lnTo>
                  <a:pt x="20580" y="16707"/>
                </a:lnTo>
                <a:lnTo>
                  <a:pt x="20580" y="16847"/>
                </a:lnTo>
                <a:lnTo>
                  <a:pt x="20536" y="16847"/>
                </a:lnTo>
                <a:lnTo>
                  <a:pt x="20536" y="16986"/>
                </a:lnTo>
                <a:lnTo>
                  <a:pt x="20358" y="16986"/>
                </a:lnTo>
                <a:lnTo>
                  <a:pt x="20358" y="17126"/>
                </a:lnTo>
                <a:lnTo>
                  <a:pt x="20269" y="17196"/>
                </a:lnTo>
                <a:lnTo>
                  <a:pt x="20269" y="17336"/>
                </a:lnTo>
                <a:lnTo>
                  <a:pt x="20225" y="17476"/>
                </a:lnTo>
                <a:lnTo>
                  <a:pt x="20225" y="17616"/>
                </a:lnTo>
                <a:lnTo>
                  <a:pt x="20136" y="17616"/>
                </a:lnTo>
                <a:lnTo>
                  <a:pt x="20136" y="17685"/>
                </a:lnTo>
                <a:lnTo>
                  <a:pt x="20048" y="17685"/>
                </a:lnTo>
                <a:lnTo>
                  <a:pt x="19959" y="17616"/>
                </a:lnTo>
                <a:lnTo>
                  <a:pt x="19915" y="17616"/>
                </a:lnTo>
                <a:lnTo>
                  <a:pt x="19915" y="17825"/>
                </a:lnTo>
                <a:lnTo>
                  <a:pt x="18584" y="17825"/>
                </a:lnTo>
                <a:lnTo>
                  <a:pt x="18584" y="18454"/>
                </a:lnTo>
                <a:lnTo>
                  <a:pt x="18274" y="18454"/>
                </a:lnTo>
                <a:lnTo>
                  <a:pt x="18274" y="18594"/>
                </a:lnTo>
                <a:lnTo>
                  <a:pt x="18451" y="18594"/>
                </a:lnTo>
                <a:lnTo>
                  <a:pt x="18451" y="18664"/>
                </a:lnTo>
                <a:lnTo>
                  <a:pt x="18495" y="18804"/>
                </a:lnTo>
                <a:lnTo>
                  <a:pt x="18495" y="18944"/>
                </a:lnTo>
                <a:lnTo>
                  <a:pt x="18673" y="18944"/>
                </a:lnTo>
                <a:lnTo>
                  <a:pt x="18761" y="19083"/>
                </a:lnTo>
                <a:lnTo>
                  <a:pt x="18806" y="19083"/>
                </a:lnTo>
                <a:lnTo>
                  <a:pt x="18806" y="19293"/>
                </a:lnTo>
                <a:lnTo>
                  <a:pt x="18894" y="19293"/>
                </a:lnTo>
                <a:lnTo>
                  <a:pt x="18894" y="19433"/>
                </a:lnTo>
                <a:lnTo>
                  <a:pt x="18983" y="19433"/>
                </a:lnTo>
                <a:lnTo>
                  <a:pt x="19072" y="19573"/>
                </a:lnTo>
                <a:lnTo>
                  <a:pt x="18983" y="19573"/>
                </a:lnTo>
                <a:lnTo>
                  <a:pt x="18983" y="19783"/>
                </a:lnTo>
                <a:lnTo>
                  <a:pt x="17963" y="19783"/>
                </a:lnTo>
                <a:lnTo>
                  <a:pt x="17653" y="20901"/>
                </a:lnTo>
                <a:lnTo>
                  <a:pt x="17830" y="21111"/>
                </a:lnTo>
                <a:lnTo>
                  <a:pt x="17830" y="21390"/>
                </a:lnTo>
                <a:lnTo>
                  <a:pt x="17741" y="21530"/>
                </a:lnTo>
                <a:lnTo>
                  <a:pt x="17741" y="21600"/>
                </a:lnTo>
                <a:lnTo>
                  <a:pt x="17653" y="21600"/>
                </a:lnTo>
                <a:lnTo>
                  <a:pt x="17653" y="21530"/>
                </a:lnTo>
                <a:lnTo>
                  <a:pt x="17564" y="21530"/>
                </a:lnTo>
                <a:lnTo>
                  <a:pt x="17564" y="21390"/>
                </a:lnTo>
                <a:lnTo>
                  <a:pt x="17520" y="21390"/>
                </a:lnTo>
                <a:lnTo>
                  <a:pt x="17520" y="21250"/>
                </a:lnTo>
                <a:lnTo>
                  <a:pt x="17209" y="20761"/>
                </a:lnTo>
                <a:lnTo>
                  <a:pt x="17120" y="20761"/>
                </a:lnTo>
                <a:lnTo>
                  <a:pt x="17120" y="20621"/>
                </a:lnTo>
                <a:lnTo>
                  <a:pt x="17032" y="20621"/>
                </a:lnTo>
                <a:lnTo>
                  <a:pt x="17032" y="20551"/>
                </a:lnTo>
                <a:lnTo>
                  <a:pt x="16943" y="20412"/>
                </a:lnTo>
                <a:lnTo>
                  <a:pt x="16899" y="20412"/>
                </a:lnTo>
                <a:lnTo>
                  <a:pt x="16899" y="20272"/>
                </a:lnTo>
                <a:lnTo>
                  <a:pt x="16810" y="20272"/>
                </a:lnTo>
                <a:lnTo>
                  <a:pt x="16632" y="20062"/>
                </a:lnTo>
                <a:lnTo>
                  <a:pt x="16588" y="20062"/>
                </a:lnTo>
                <a:lnTo>
                  <a:pt x="16588" y="19922"/>
                </a:lnTo>
                <a:lnTo>
                  <a:pt x="16499" y="19922"/>
                </a:lnTo>
                <a:lnTo>
                  <a:pt x="16499" y="19783"/>
                </a:lnTo>
                <a:lnTo>
                  <a:pt x="16411" y="19783"/>
                </a:lnTo>
                <a:lnTo>
                  <a:pt x="16278" y="19643"/>
                </a:lnTo>
                <a:lnTo>
                  <a:pt x="16189" y="19573"/>
                </a:lnTo>
                <a:lnTo>
                  <a:pt x="16189" y="19643"/>
                </a:lnTo>
                <a:lnTo>
                  <a:pt x="15878" y="19643"/>
                </a:lnTo>
                <a:lnTo>
                  <a:pt x="15878" y="19573"/>
                </a:lnTo>
                <a:lnTo>
                  <a:pt x="15701" y="19573"/>
                </a:lnTo>
                <a:lnTo>
                  <a:pt x="15701" y="19643"/>
                </a:lnTo>
                <a:lnTo>
                  <a:pt x="15657" y="19643"/>
                </a:lnTo>
                <a:lnTo>
                  <a:pt x="15479" y="19783"/>
                </a:lnTo>
                <a:lnTo>
                  <a:pt x="15391" y="19922"/>
                </a:lnTo>
                <a:lnTo>
                  <a:pt x="15346" y="19922"/>
                </a:lnTo>
                <a:lnTo>
                  <a:pt x="15346" y="20062"/>
                </a:lnTo>
                <a:lnTo>
                  <a:pt x="15080" y="20062"/>
                </a:lnTo>
                <a:lnTo>
                  <a:pt x="15080" y="20132"/>
                </a:lnTo>
                <a:lnTo>
                  <a:pt x="14947" y="20132"/>
                </a:lnTo>
                <a:lnTo>
                  <a:pt x="14858" y="20272"/>
                </a:lnTo>
                <a:lnTo>
                  <a:pt x="14415" y="20272"/>
                </a:lnTo>
                <a:lnTo>
                  <a:pt x="14237" y="20062"/>
                </a:lnTo>
                <a:lnTo>
                  <a:pt x="13883" y="20062"/>
                </a:lnTo>
                <a:lnTo>
                  <a:pt x="13794" y="19922"/>
                </a:lnTo>
                <a:lnTo>
                  <a:pt x="13705" y="19922"/>
                </a:lnTo>
                <a:lnTo>
                  <a:pt x="13705" y="19783"/>
                </a:lnTo>
                <a:lnTo>
                  <a:pt x="13572" y="19783"/>
                </a:lnTo>
                <a:lnTo>
                  <a:pt x="13572" y="19643"/>
                </a:lnTo>
                <a:lnTo>
                  <a:pt x="13306" y="19643"/>
                </a:lnTo>
                <a:lnTo>
                  <a:pt x="13306" y="19573"/>
                </a:lnTo>
                <a:lnTo>
                  <a:pt x="13173" y="19573"/>
                </a:lnTo>
                <a:lnTo>
                  <a:pt x="13173" y="19433"/>
                </a:lnTo>
                <a:lnTo>
                  <a:pt x="13084" y="19433"/>
                </a:lnTo>
                <a:lnTo>
                  <a:pt x="12995" y="19293"/>
                </a:lnTo>
                <a:lnTo>
                  <a:pt x="12862" y="19293"/>
                </a:lnTo>
                <a:lnTo>
                  <a:pt x="12774" y="19153"/>
                </a:lnTo>
                <a:lnTo>
                  <a:pt x="12552" y="19153"/>
                </a:lnTo>
                <a:lnTo>
                  <a:pt x="12375" y="19083"/>
                </a:lnTo>
                <a:lnTo>
                  <a:pt x="12330" y="18944"/>
                </a:lnTo>
                <a:lnTo>
                  <a:pt x="12153" y="18944"/>
                </a:lnTo>
                <a:lnTo>
                  <a:pt x="12064" y="18804"/>
                </a:lnTo>
                <a:lnTo>
                  <a:pt x="12020" y="18804"/>
                </a:lnTo>
                <a:lnTo>
                  <a:pt x="11931" y="18664"/>
                </a:lnTo>
                <a:lnTo>
                  <a:pt x="11842" y="18664"/>
                </a:lnTo>
                <a:lnTo>
                  <a:pt x="11754" y="18594"/>
                </a:lnTo>
                <a:lnTo>
                  <a:pt x="11621" y="18594"/>
                </a:lnTo>
                <a:lnTo>
                  <a:pt x="11621" y="18454"/>
                </a:lnTo>
                <a:lnTo>
                  <a:pt x="11443" y="18454"/>
                </a:lnTo>
                <a:lnTo>
                  <a:pt x="11443" y="18315"/>
                </a:lnTo>
                <a:lnTo>
                  <a:pt x="11310" y="18315"/>
                </a:lnTo>
                <a:lnTo>
                  <a:pt x="11221" y="18175"/>
                </a:lnTo>
                <a:lnTo>
                  <a:pt x="11133" y="18175"/>
                </a:lnTo>
                <a:lnTo>
                  <a:pt x="11133" y="18105"/>
                </a:lnTo>
                <a:lnTo>
                  <a:pt x="11088" y="18105"/>
                </a:lnTo>
                <a:lnTo>
                  <a:pt x="11088" y="17965"/>
                </a:lnTo>
                <a:lnTo>
                  <a:pt x="11000" y="17965"/>
                </a:lnTo>
                <a:lnTo>
                  <a:pt x="11000" y="17825"/>
                </a:lnTo>
                <a:lnTo>
                  <a:pt x="10911" y="17825"/>
                </a:lnTo>
                <a:lnTo>
                  <a:pt x="10911" y="17685"/>
                </a:lnTo>
                <a:lnTo>
                  <a:pt x="10822" y="17685"/>
                </a:lnTo>
                <a:lnTo>
                  <a:pt x="10778" y="17616"/>
                </a:lnTo>
                <a:lnTo>
                  <a:pt x="10689" y="17616"/>
                </a:lnTo>
                <a:lnTo>
                  <a:pt x="10689" y="17685"/>
                </a:lnTo>
                <a:lnTo>
                  <a:pt x="10556" y="17685"/>
                </a:lnTo>
                <a:lnTo>
                  <a:pt x="10467" y="17616"/>
                </a:lnTo>
                <a:lnTo>
                  <a:pt x="10290" y="17616"/>
                </a:lnTo>
                <a:lnTo>
                  <a:pt x="10290" y="17476"/>
                </a:lnTo>
                <a:lnTo>
                  <a:pt x="10068" y="17476"/>
                </a:lnTo>
                <a:lnTo>
                  <a:pt x="10068" y="17336"/>
                </a:lnTo>
                <a:lnTo>
                  <a:pt x="9846" y="17336"/>
                </a:lnTo>
                <a:lnTo>
                  <a:pt x="9669" y="17196"/>
                </a:lnTo>
                <a:lnTo>
                  <a:pt x="9625" y="17126"/>
                </a:lnTo>
                <a:lnTo>
                  <a:pt x="9536" y="16847"/>
                </a:lnTo>
                <a:lnTo>
                  <a:pt x="9447" y="16847"/>
                </a:lnTo>
                <a:lnTo>
                  <a:pt x="9447" y="16707"/>
                </a:lnTo>
                <a:lnTo>
                  <a:pt x="9359" y="16637"/>
                </a:lnTo>
                <a:lnTo>
                  <a:pt x="9225" y="16637"/>
                </a:lnTo>
                <a:lnTo>
                  <a:pt x="9225" y="16497"/>
                </a:lnTo>
                <a:lnTo>
                  <a:pt x="9137" y="16357"/>
                </a:lnTo>
                <a:lnTo>
                  <a:pt x="9048" y="16357"/>
                </a:lnTo>
                <a:lnTo>
                  <a:pt x="8915" y="16217"/>
                </a:lnTo>
                <a:lnTo>
                  <a:pt x="8826" y="16217"/>
                </a:lnTo>
                <a:lnTo>
                  <a:pt x="8516" y="15798"/>
                </a:lnTo>
                <a:lnTo>
                  <a:pt x="8427" y="15798"/>
                </a:lnTo>
                <a:lnTo>
                  <a:pt x="8427" y="15658"/>
                </a:lnTo>
                <a:lnTo>
                  <a:pt x="8383" y="15518"/>
                </a:lnTo>
                <a:lnTo>
                  <a:pt x="8383" y="15379"/>
                </a:lnTo>
                <a:lnTo>
                  <a:pt x="8294" y="15379"/>
                </a:lnTo>
                <a:lnTo>
                  <a:pt x="8294" y="15309"/>
                </a:lnTo>
                <a:lnTo>
                  <a:pt x="8205" y="15309"/>
                </a:lnTo>
                <a:lnTo>
                  <a:pt x="8205" y="15029"/>
                </a:lnTo>
                <a:lnTo>
                  <a:pt x="8117" y="14889"/>
                </a:lnTo>
                <a:lnTo>
                  <a:pt x="8117" y="14819"/>
                </a:lnTo>
                <a:lnTo>
                  <a:pt x="8205" y="14680"/>
                </a:lnTo>
                <a:lnTo>
                  <a:pt x="8427" y="14680"/>
                </a:lnTo>
                <a:lnTo>
                  <a:pt x="8427" y="14400"/>
                </a:lnTo>
                <a:lnTo>
                  <a:pt x="8205" y="14400"/>
                </a:lnTo>
                <a:lnTo>
                  <a:pt x="8205" y="14330"/>
                </a:lnTo>
                <a:lnTo>
                  <a:pt x="8294" y="14330"/>
                </a:lnTo>
                <a:lnTo>
                  <a:pt x="8383" y="14190"/>
                </a:lnTo>
                <a:lnTo>
                  <a:pt x="8383" y="13911"/>
                </a:lnTo>
                <a:lnTo>
                  <a:pt x="8427" y="13841"/>
                </a:lnTo>
                <a:lnTo>
                  <a:pt x="8427" y="13561"/>
                </a:lnTo>
                <a:lnTo>
                  <a:pt x="8383" y="13561"/>
                </a:lnTo>
                <a:lnTo>
                  <a:pt x="8383" y="13421"/>
                </a:lnTo>
                <a:lnTo>
                  <a:pt x="8294" y="13351"/>
                </a:lnTo>
                <a:lnTo>
                  <a:pt x="8294" y="13212"/>
                </a:lnTo>
                <a:lnTo>
                  <a:pt x="8205" y="13212"/>
                </a:lnTo>
                <a:lnTo>
                  <a:pt x="8205" y="13072"/>
                </a:lnTo>
                <a:lnTo>
                  <a:pt x="8117" y="13072"/>
                </a:lnTo>
                <a:lnTo>
                  <a:pt x="8117" y="12373"/>
                </a:lnTo>
                <a:lnTo>
                  <a:pt x="8072" y="12373"/>
                </a:lnTo>
                <a:lnTo>
                  <a:pt x="8072" y="12233"/>
                </a:lnTo>
                <a:lnTo>
                  <a:pt x="7895" y="11953"/>
                </a:lnTo>
                <a:lnTo>
                  <a:pt x="7806" y="11953"/>
                </a:lnTo>
                <a:lnTo>
                  <a:pt x="7806" y="11883"/>
                </a:lnTo>
                <a:lnTo>
                  <a:pt x="7496" y="11394"/>
                </a:lnTo>
                <a:lnTo>
                  <a:pt x="7451" y="11115"/>
                </a:lnTo>
                <a:lnTo>
                  <a:pt x="7363" y="11115"/>
                </a:lnTo>
                <a:lnTo>
                  <a:pt x="7363" y="10975"/>
                </a:lnTo>
                <a:lnTo>
                  <a:pt x="7185" y="10765"/>
                </a:lnTo>
                <a:lnTo>
                  <a:pt x="7185" y="10625"/>
                </a:lnTo>
                <a:lnTo>
                  <a:pt x="7141" y="10625"/>
                </a:lnTo>
                <a:lnTo>
                  <a:pt x="7141" y="10485"/>
                </a:lnTo>
                <a:lnTo>
                  <a:pt x="7052" y="10485"/>
                </a:lnTo>
                <a:lnTo>
                  <a:pt x="6963" y="10416"/>
                </a:lnTo>
                <a:lnTo>
                  <a:pt x="6875" y="10416"/>
                </a:lnTo>
                <a:lnTo>
                  <a:pt x="6875" y="10276"/>
                </a:lnTo>
                <a:lnTo>
                  <a:pt x="6830" y="10136"/>
                </a:lnTo>
                <a:lnTo>
                  <a:pt x="6830" y="9996"/>
                </a:lnTo>
                <a:lnTo>
                  <a:pt x="6564" y="9996"/>
                </a:lnTo>
                <a:lnTo>
                  <a:pt x="6564" y="9926"/>
                </a:lnTo>
                <a:lnTo>
                  <a:pt x="6520" y="9926"/>
                </a:lnTo>
                <a:lnTo>
                  <a:pt x="6520" y="9647"/>
                </a:lnTo>
                <a:lnTo>
                  <a:pt x="6431" y="9437"/>
                </a:lnTo>
                <a:lnTo>
                  <a:pt x="6431" y="9157"/>
                </a:lnTo>
                <a:lnTo>
                  <a:pt x="6298" y="9157"/>
                </a:lnTo>
                <a:lnTo>
                  <a:pt x="6209" y="9087"/>
                </a:lnTo>
                <a:lnTo>
                  <a:pt x="6121" y="9087"/>
                </a:lnTo>
                <a:lnTo>
                  <a:pt x="6032" y="8948"/>
                </a:lnTo>
                <a:lnTo>
                  <a:pt x="5899" y="8948"/>
                </a:lnTo>
                <a:lnTo>
                  <a:pt x="5810" y="8808"/>
                </a:lnTo>
                <a:lnTo>
                  <a:pt x="5810" y="8668"/>
                </a:lnTo>
                <a:lnTo>
                  <a:pt x="5677" y="8668"/>
                </a:lnTo>
                <a:lnTo>
                  <a:pt x="5677" y="8598"/>
                </a:lnTo>
                <a:lnTo>
                  <a:pt x="5500" y="8598"/>
                </a:lnTo>
                <a:lnTo>
                  <a:pt x="5500" y="8109"/>
                </a:lnTo>
                <a:lnTo>
                  <a:pt x="5589" y="8109"/>
                </a:lnTo>
                <a:lnTo>
                  <a:pt x="5589" y="7829"/>
                </a:lnTo>
                <a:lnTo>
                  <a:pt x="5677" y="7829"/>
                </a:lnTo>
                <a:lnTo>
                  <a:pt x="5677" y="7689"/>
                </a:lnTo>
                <a:lnTo>
                  <a:pt x="5589" y="7480"/>
                </a:lnTo>
                <a:lnTo>
                  <a:pt x="5500" y="7340"/>
                </a:lnTo>
                <a:lnTo>
                  <a:pt x="5367" y="7340"/>
                </a:lnTo>
                <a:lnTo>
                  <a:pt x="5367" y="7200"/>
                </a:lnTo>
                <a:lnTo>
                  <a:pt x="5101" y="7200"/>
                </a:lnTo>
                <a:lnTo>
                  <a:pt x="5101" y="6850"/>
                </a:lnTo>
                <a:lnTo>
                  <a:pt x="4879" y="6850"/>
                </a:lnTo>
                <a:lnTo>
                  <a:pt x="4879" y="6711"/>
                </a:lnTo>
                <a:lnTo>
                  <a:pt x="4746" y="6711"/>
                </a:lnTo>
                <a:lnTo>
                  <a:pt x="4746" y="6641"/>
                </a:lnTo>
                <a:lnTo>
                  <a:pt x="4657" y="6501"/>
                </a:lnTo>
                <a:lnTo>
                  <a:pt x="4657" y="6012"/>
                </a:lnTo>
                <a:lnTo>
                  <a:pt x="4568" y="6012"/>
                </a:lnTo>
                <a:lnTo>
                  <a:pt x="4480" y="5872"/>
                </a:lnTo>
                <a:lnTo>
                  <a:pt x="4347" y="5872"/>
                </a:lnTo>
                <a:lnTo>
                  <a:pt x="4036" y="5383"/>
                </a:lnTo>
                <a:lnTo>
                  <a:pt x="3859" y="5243"/>
                </a:lnTo>
                <a:lnTo>
                  <a:pt x="3814" y="5173"/>
                </a:lnTo>
                <a:lnTo>
                  <a:pt x="3814" y="5033"/>
                </a:lnTo>
                <a:lnTo>
                  <a:pt x="3726" y="4893"/>
                </a:lnTo>
                <a:lnTo>
                  <a:pt x="3637" y="4893"/>
                </a:lnTo>
                <a:lnTo>
                  <a:pt x="3637" y="4753"/>
                </a:lnTo>
                <a:lnTo>
                  <a:pt x="3504" y="4544"/>
                </a:lnTo>
                <a:lnTo>
                  <a:pt x="3504" y="4753"/>
                </a:lnTo>
                <a:lnTo>
                  <a:pt x="3415" y="4753"/>
                </a:lnTo>
                <a:lnTo>
                  <a:pt x="3415" y="4893"/>
                </a:lnTo>
                <a:lnTo>
                  <a:pt x="3326" y="4753"/>
                </a:lnTo>
                <a:lnTo>
                  <a:pt x="3238" y="4753"/>
                </a:lnTo>
                <a:lnTo>
                  <a:pt x="3238" y="4544"/>
                </a:lnTo>
                <a:lnTo>
                  <a:pt x="3326" y="4544"/>
                </a:lnTo>
                <a:lnTo>
                  <a:pt x="3326" y="4264"/>
                </a:lnTo>
                <a:lnTo>
                  <a:pt x="3504" y="4264"/>
                </a:lnTo>
                <a:lnTo>
                  <a:pt x="3415" y="4194"/>
                </a:lnTo>
                <a:lnTo>
                  <a:pt x="3326" y="4194"/>
                </a:lnTo>
                <a:lnTo>
                  <a:pt x="3326" y="3915"/>
                </a:lnTo>
                <a:lnTo>
                  <a:pt x="3238" y="3775"/>
                </a:lnTo>
                <a:lnTo>
                  <a:pt x="3238" y="3705"/>
                </a:lnTo>
                <a:lnTo>
                  <a:pt x="3193" y="3565"/>
                </a:lnTo>
                <a:lnTo>
                  <a:pt x="3193" y="3285"/>
                </a:lnTo>
                <a:lnTo>
                  <a:pt x="3105" y="3285"/>
                </a:lnTo>
                <a:lnTo>
                  <a:pt x="3105" y="3216"/>
                </a:lnTo>
                <a:lnTo>
                  <a:pt x="3016" y="3076"/>
                </a:lnTo>
                <a:lnTo>
                  <a:pt x="3016" y="2796"/>
                </a:lnTo>
                <a:lnTo>
                  <a:pt x="2927" y="2796"/>
                </a:lnTo>
                <a:lnTo>
                  <a:pt x="2927" y="2586"/>
                </a:lnTo>
                <a:lnTo>
                  <a:pt x="2883" y="2586"/>
                </a:lnTo>
                <a:lnTo>
                  <a:pt x="2883" y="1957"/>
                </a:lnTo>
                <a:lnTo>
                  <a:pt x="2794" y="1887"/>
                </a:lnTo>
                <a:lnTo>
                  <a:pt x="2706" y="1887"/>
                </a:lnTo>
                <a:lnTo>
                  <a:pt x="2572" y="1608"/>
                </a:lnTo>
                <a:lnTo>
                  <a:pt x="2395" y="1608"/>
                </a:lnTo>
                <a:lnTo>
                  <a:pt x="2395" y="1398"/>
                </a:lnTo>
                <a:lnTo>
                  <a:pt x="2262" y="1398"/>
                </a:lnTo>
                <a:lnTo>
                  <a:pt x="2262" y="1468"/>
                </a:lnTo>
                <a:lnTo>
                  <a:pt x="2040" y="1468"/>
                </a:lnTo>
                <a:lnTo>
                  <a:pt x="2040" y="1398"/>
                </a:lnTo>
                <a:lnTo>
                  <a:pt x="1863" y="1398"/>
                </a:lnTo>
                <a:lnTo>
                  <a:pt x="1863" y="1258"/>
                </a:lnTo>
                <a:lnTo>
                  <a:pt x="1730" y="1258"/>
                </a:lnTo>
                <a:lnTo>
                  <a:pt x="1730" y="1118"/>
                </a:lnTo>
                <a:lnTo>
                  <a:pt x="1641" y="979"/>
                </a:lnTo>
                <a:lnTo>
                  <a:pt x="1641" y="1398"/>
                </a:lnTo>
                <a:lnTo>
                  <a:pt x="1730" y="1398"/>
                </a:lnTo>
                <a:lnTo>
                  <a:pt x="1730" y="1468"/>
                </a:lnTo>
                <a:lnTo>
                  <a:pt x="1641" y="1468"/>
                </a:lnTo>
                <a:lnTo>
                  <a:pt x="1641" y="2237"/>
                </a:lnTo>
                <a:lnTo>
                  <a:pt x="1730" y="2237"/>
                </a:lnTo>
                <a:lnTo>
                  <a:pt x="1730" y="2586"/>
                </a:lnTo>
                <a:lnTo>
                  <a:pt x="1774" y="2726"/>
                </a:lnTo>
                <a:lnTo>
                  <a:pt x="1774" y="3216"/>
                </a:lnTo>
                <a:lnTo>
                  <a:pt x="1952" y="3425"/>
                </a:lnTo>
                <a:lnTo>
                  <a:pt x="1952" y="3565"/>
                </a:lnTo>
                <a:lnTo>
                  <a:pt x="2040" y="3565"/>
                </a:lnTo>
                <a:lnTo>
                  <a:pt x="2262" y="3915"/>
                </a:lnTo>
                <a:lnTo>
                  <a:pt x="2262" y="4054"/>
                </a:lnTo>
                <a:lnTo>
                  <a:pt x="2306" y="4054"/>
                </a:lnTo>
                <a:lnTo>
                  <a:pt x="2306" y="4194"/>
                </a:lnTo>
                <a:lnTo>
                  <a:pt x="2484" y="4404"/>
                </a:lnTo>
                <a:lnTo>
                  <a:pt x="2484" y="4544"/>
                </a:lnTo>
                <a:lnTo>
                  <a:pt x="2572" y="4683"/>
                </a:lnTo>
                <a:lnTo>
                  <a:pt x="2617" y="4683"/>
                </a:lnTo>
                <a:lnTo>
                  <a:pt x="2706" y="4753"/>
                </a:lnTo>
                <a:lnTo>
                  <a:pt x="2706" y="4893"/>
                </a:lnTo>
                <a:lnTo>
                  <a:pt x="2883" y="5173"/>
                </a:lnTo>
                <a:lnTo>
                  <a:pt x="2883" y="5243"/>
                </a:lnTo>
                <a:lnTo>
                  <a:pt x="3016" y="5243"/>
                </a:lnTo>
                <a:lnTo>
                  <a:pt x="3016" y="5522"/>
                </a:lnTo>
                <a:lnTo>
                  <a:pt x="3105" y="5732"/>
                </a:lnTo>
                <a:lnTo>
                  <a:pt x="3238" y="6012"/>
                </a:lnTo>
                <a:lnTo>
                  <a:pt x="3238" y="6151"/>
                </a:lnTo>
                <a:lnTo>
                  <a:pt x="3326" y="6361"/>
                </a:lnTo>
                <a:lnTo>
                  <a:pt x="3326" y="6501"/>
                </a:lnTo>
                <a:lnTo>
                  <a:pt x="3415" y="6501"/>
                </a:lnTo>
                <a:lnTo>
                  <a:pt x="3415" y="6641"/>
                </a:lnTo>
                <a:lnTo>
                  <a:pt x="3548" y="6850"/>
                </a:lnTo>
                <a:lnTo>
                  <a:pt x="3637" y="6850"/>
                </a:lnTo>
                <a:lnTo>
                  <a:pt x="3637" y="6990"/>
                </a:lnTo>
                <a:lnTo>
                  <a:pt x="3726" y="6990"/>
                </a:lnTo>
                <a:lnTo>
                  <a:pt x="3726" y="7340"/>
                </a:lnTo>
                <a:lnTo>
                  <a:pt x="3814" y="7340"/>
                </a:lnTo>
                <a:lnTo>
                  <a:pt x="3814" y="7200"/>
                </a:lnTo>
                <a:lnTo>
                  <a:pt x="3947" y="7200"/>
                </a:lnTo>
                <a:lnTo>
                  <a:pt x="3947" y="7480"/>
                </a:lnTo>
                <a:lnTo>
                  <a:pt x="4036" y="7480"/>
                </a:lnTo>
                <a:lnTo>
                  <a:pt x="4036" y="7829"/>
                </a:lnTo>
                <a:lnTo>
                  <a:pt x="4125" y="7829"/>
                </a:lnTo>
                <a:lnTo>
                  <a:pt x="4125" y="8109"/>
                </a:lnTo>
                <a:lnTo>
                  <a:pt x="4169" y="8179"/>
                </a:lnTo>
                <a:lnTo>
                  <a:pt x="4258" y="8179"/>
                </a:lnTo>
                <a:lnTo>
                  <a:pt x="4258" y="8598"/>
                </a:lnTo>
                <a:lnTo>
                  <a:pt x="4347" y="8668"/>
                </a:lnTo>
                <a:lnTo>
                  <a:pt x="4347" y="8808"/>
                </a:lnTo>
                <a:lnTo>
                  <a:pt x="4435" y="8948"/>
                </a:lnTo>
                <a:lnTo>
                  <a:pt x="4435" y="9157"/>
                </a:lnTo>
                <a:lnTo>
                  <a:pt x="4480" y="9157"/>
                </a:lnTo>
                <a:lnTo>
                  <a:pt x="4480" y="9297"/>
                </a:lnTo>
                <a:lnTo>
                  <a:pt x="4568" y="9437"/>
                </a:lnTo>
                <a:lnTo>
                  <a:pt x="4568" y="10136"/>
                </a:lnTo>
                <a:lnTo>
                  <a:pt x="4657" y="10136"/>
                </a:lnTo>
                <a:lnTo>
                  <a:pt x="4657" y="10276"/>
                </a:lnTo>
                <a:lnTo>
                  <a:pt x="4746" y="10276"/>
                </a:lnTo>
                <a:lnTo>
                  <a:pt x="4790" y="10416"/>
                </a:lnTo>
                <a:lnTo>
                  <a:pt x="4790" y="10276"/>
                </a:lnTo>
                <a:lnTo>
                  <a:pt x="4879" y="10276"/>
                </a:lnTo>
                <a:lnTo>
                  <a:pt x="4879" y="10136"/>
                </a:lnTo>
                <a:lnTo>
                  <a:pt x="4968" y="10136"/>
                </a:lnTo>
                <a:lnTo>
                  <a:pt x="4968" y="10416"/>
                </a:lnTo>
                <a:lnTo>
                  <a:pt x="5056" y="10485"/>
                </a:lnTo>
                <a:lnTo>
                  <a:pt x="5278" y="10485"/>
                </a:lnTo>
                <a:lnTo>
                  <a:pt x="5278" y="10905"/>
                </a:lnTo>
                <a:lnTo>
                  <a:pt x="5500" y="11254"/>
                </a:lnTo>
                <a:lnTo>
                  <a:pt x="5500" y="11464"/>
                </a:lnTo>
                <a:lnTo>
                  <a:pt x="5411" y="11604"/>
                </a:lnTo>
                <a:lnTo>
                  <a:pt x="5278" y="11604"/>
                </a:lnTo>
                <a:lnTo>
                  <a:pt x="5278" y="11744"/>
                </a:lnTo>
                <a:lnTo>
                  <a:pt x="5189" y="11744"/>
                </a:lnTo>
                <a:lnTo>
                  <a:pt x="5189" y="11883"/>
                </a:lnTo>
                <a:lnTo>
                  <a:pt x="5101" y="11883"/>
                </a:lnTo>
                <a:lnTo>
                  <a:pt x="5101" y="11744"/>
                </a:lnTo>
                <a:lnTo>
                  <a:pt x="5056" y="11604"/>
                </a:lnTo>
                <a:lnTo>
                  <a:pt x="5056" y="11464"/>
                </a:lnTo>
                <a:lnTo>
                  <a:pt x="4968" y="11464"/>
                </a:lnTo>
                <a:lnTo>
                  <a:pt x="4968" y="11254"/>
                </a:lnTo>
                <a:lnTo>
                  <a:pt x="4879" y="11254"/>
                </a:lnTo>
                <a:lnTo>
                  <a:pt x="4879" y="11115"/>
                </a:lnTo>
                <a:lnTo>
                  <a:pt x="4746" y="10975"/>
                </a:lnTo>
                <a:lnTo>
                  <a:pt x="4568" y="10765"/>
                </a:lnTo>
                <a:lnTo>
                  <a:pt x="4480" y="10765"/>
                </a:lnTo>
                <a:lnTo>
                  <a:pt x="4480" y="10625"/>
                </a:lnTo>
                <a:lnTo>
                  <a:pt x="4435" y="10625"/>
                </a:lnTo>
                <a:lnTo>
                  <a:pt x="4125" y="10136"/>
                </a:lnTo>
                <a:lnTo>
                  <a:pt x="3947" y="9996"/>
                </a:lnTo>
                <a:lnTo>
                  <a:pt x="3859" y="9926"/>
                </a:lnTo>
                <a:lnTo>
                  <a:pt x="3814" y="9926"/>
                </a:lnTo>
                <a:lnTo>
                  <a:pt x="3814" y="9786"/>
                </a:lnTo>
                <a:lnTo>
                  <a:pt x="3637" y="9786"/>
                </a:lnTo>
                <a:lnTo>
                  <a:pt x="3637" y="9647"/>
                </a:lnTo>
                <a:lnTo>
                  <a:pt x="3548" y="9647"/>
                </a:lnTo>
                <a:lnTo>
                  <a:pt x="3548" y="9786"/>
                </a:lnTo>
                <a:lnTo>
                  <a:pt x="3504" y="9786"/>
                </a:lnTo>
                <a:lnTo>
                  <a:pt x="3504" y="9647"/>
                </a:lnTo>
                <a:lnTo>
                  <a:pt x="3415" y="9647"/>
                </a:lnTo>
                <a:lnTo>
                  <a:pt x="3415" y="9507"/>
                </a:lnTo>
                <a:lnTo>
                  <a:pt x="3504" y="9507"/>
                </a:lnTo>
                <a:lnTo>
                  <a:pt x="3504" y="9157"/>
                </a:lnTo>
                <a:lnTo>
                  <a:pt x="3548" y="9087"/>
                </a:lnTo>
                <a:lnTo>
                  <a:pt x="3548" y="8458"/>
                </a:lnTo>
                <a:lnTo>
                  <a:pt x="3504" y="8458"/>
                </a:lnTo>
                <a:lnTo>
                  <a:pt x="3504" y="8179"/>
                </a:lnTo>
                <a:lnTo>
                  <a:pt x="3415" y="8109"/>
                </a:lnTo>
                <a:lnTo>
                  <a:pt x="3415" y="7969"/>
                </a:lnTo>
                <a:lnTo>
                  <a:pt x="3326" y="7969"/>
                </a:lnTo>
                <a:lnTo>
                  <a:pt x="3238" y="7829"/>
                </a:lnTo>
                <a:lnTo>
                  <a:pt x="3105" y="7829"/>
                </a:lnTo>
                <a:lnTo>
                  <a:pt x="3016" y="7689"/>
                </a:lnTo>
                <a:lnTo>
                  <a:pt x="3016" y="7619"/>
                </a:lnTo>
                <a:lnTo>
                  <a:pt x="2927" y="7619"/>
                </a:lnTo>
                <a:lnTo>
                  <a:pt x="2927" y="7480"/>
                </a:lnTo>
                <a:lnTo>
                  <a:pt x="2883" y="7480"/>
                </a:lnTo>
                <a:lnTo>
                  <a:pt x="2794" y="7340"/>
                </a:lnTo>
                <a:lnTo>
                  <a:pt x="2794" y="7200"/>
                </a:lnTo>
                <a:lnTo>
                  <a:pt x="2572" y="7200"/>
                </a:lnTo>
                <a:lnTo>
                  <a:pt x="2572" y="7340"/>
                </a:lnTo>
                <a:lnTo>
                  <a:pt x="2395" y="7340"/>
                </a:lnTo>
                <a:lnTo>
                  <a:pt x="2395" y="7200"/>
                </a:lnTo>
                <a:lnTo>
                  <a:pt x="2262" y="7200"/>
                </a:lnTo>
                <a:lnTo>
                  <a:pt x="2262" y="7130"/>
                </a:lnTo>
                <a:lnTo>
                  <a:pt x="2173" y="6990"/>
                </a:lnTo>
                <a:lnTo>
                  <a:pt x="2085" y="6990"/>
                </a:lnTo>
                <a:lnTo>
                  <a:pt x="2085" y="6850"/>
                </a:lnTo>
                <a:lnTo>
                  <a:pt x="2040" y="6850"/>
                </a:lnTo>
                <a:lnTo>
                  <a:pt x="1774" y="6501"/>
                </a:lnTo>
                <a:lnTo>
                  <a:pt x="1641" y="6361"/>
                </a:lnTo>
                <a:lnTo>
                  <a:pt x="1641" y="6221"/>
                </a:lnTo>
                <a:lnTo>
                  <a:pt x="1552" y="6221"/>
                </a:lnTo>
                <a:lnTo>
                  <a:pt x="1552" y="6151"/>
                </a:lnTo>
                <a:lnTo>
                  <a:pt x="1464" y="6151"/>
                </a:lnTo>
                <a:lnTo>
                  <a:pt x="1464" y="6012"/>
                </a:lnTo>
                <a:lnTo>
                  <a:pt x="1730" y="6012"/>
                </a:lnTo>
                <a:lnTo>
                  <a:pt x="1774" y="6151"/>
                </a:lnTo>
                <a:lnTo>
                  <a:pt x="1863" y="6151"/>
                </a:lnTo>
                <a:lnTo>
                  <a:pt x="1952" y="6012"/>
                </a:lnTo>
                <a:lnTo>
                  <a:pt x="2040" y="6012"/>
                </a:lnTo>
                <a:lnTo>
                  <a:pt x="2085" y="6151"/>
                </a:lnTo>
                <a:lnTo>
                  <a:pt x="2085" y="6221"/>
                </a:lnTo>
                <a:lnTo>
                  <a:pt x="2306" y="6221"/>
                </a:lnTo>
                <a:lnTo>
                  <a:pt x="2262" y="6151"/>
                </a:lnTo>
                <a:lnTo>
                  <a:pt x="2085" y="6151"/>
                </a:lnTo>
                <a:lnTo>
                  <a:pt x="2085" y="5383"/>
                </a:lnTo>
                <a:lnTo>
                  <a:pt x="2173" y="5383"/>
                </a:lnTo>
                <a:lnTo>
                  <a:pt x="2173" y="5173"/>
                </a:lnTo>
                <a:lnTo>
                  <a:pt x="2085" y="5173"/>
                </a:lnTo>
                <a:lnTo>
                  <a:pt x="2085" y="4893"/>
                </a:lnTo>
                <a:lnTo>
                  <a:pt x="2040" y="4893"/>
                </a:lnTo>
                <a:lnTo>
                  <a:pt x="2040" y="4753"/>
                </a:lnTo>
                <a:lnTo>
                  <a:pt x="1952" y="4753"/>
                </a:lnTo>
                <a:lnTo>
                  <a:pt x="1863" y="4683"/>
                </a:lnTo>
                <a:lnTo>
                  <a:pt x="1863" y="4544"/>
                </a:lnTo>
                <a:lnTo>
                  <a:pt x="1774" y="4544"/>
                </a:lnTo>
                <a:lnTo>
                  <a:pt x="1774" y="4404"/>
                </a:lnTo>
                <a:lnTo>
                  <a:pt x="1730" y="4404"/>
                </a:lnTo>
                <a:lnTo>
                  <a:pt x="1730" y="4264"/>
                </a:lnTo>
                <a:lnTo>
                  <a:pt x="1641" y="4264"/>
                </a:lnTo>
                <a:lnTo>
                  <a:pt x="1641" y="4194"/>
                </a:lnTo>
                <a:lnTo>
                  <a:pt x="1552" y="4194"/>
                </a:lnTo>
                <a:lnTo>
                  <a:pt x="1552" y="4054"/>
                </a:lnTo>
                <a:lnTo>
                  <a:pt x="1419" y="4054"/>
                </a:lnTo>
                <a:lnTo>
                  <a:pt x="1331" y="3915"/>
                </a:lnTo>
                <a:lnTo>
                  <a:pt x="1242" y="3915"/>
                </a:lnTo>
                <a:lnTo>
                  <a:pt x="1242" y="3775"/>
                </a:lnTo>
                <a:lnTo>
                  <a:pt x="1153" y="3775"/>
                </a:lnTo>
                <a:lnTo>
                  <a:pt x="1020" y="3565"/>
                </a:lnTo>
                <a:lnTo>
                  <a:pt x="931" y="3565"/>
                </a:lnTo>
                <a:lnTo>
                  <a:pt x="931" y="2936"/>
                </a:lnTo>
                <a:lnTo>
                  <a:pt x="843" y="2936"/>
                </a:lnTo>
                <a:lnTo>
                  <a:pt x="843" y="2796"/>
                </a:lnTo>
                <a:lnTo>
                  <a:pt x="798" y="2796"/>
                </a:lnTo>
                <a:lnTo>
                  <a:pt x="798" y="2377"/>
                </a:lnTo>
                <a:lnTo>
                  <a:pt x="710" y="2377"/>
                </a:lnTo>
                <a:lnTo>
                  <a:pt x="710" y="2237"/>
                </a:lnTo>
                <a:lnTo>
                  <a:pt x="621" y="2237"/>
                </a:lnTo>
                <a:lnTo>
                  <a:pt x="488" y="1957"/>
                </a:lnTo>
                <a:lnTo>
                  <a:pt x="488" y="1887"/>
                </a:lnTo>
                <a:lnTo>
                  <a:pt x="399" y="1608"/>
                </a:lnTo>
                <a:lnTo>
                  <a:pt x="310" y="1468"/>
                </a:lnTo>
                <a:lnTo>
                  <a:pt x="310" y="1118"/>
                </a:lnTo>
                <a:lnTo>
                  <a:pt x="222" y="1118"/>
                </a:lnTo>
                <a:lnTo>
                  <a:pt x="222" y="909"/>
                </a:lnTo>
                <a:lnTo>
                  <a:pt x="177" y="769"/>
                </a:lnTo>
                <a:lnTo>
                  <a:pt x="177" y="629"/>
                </a:lnTo>
                <a:lnTo>
                  <a:pt x="89" y="489"/>
                </a:lnTo>
                <a:lnTo>
                  <a:pt x="89" y="419"/>
                </a:lnTo>
                <a:lnTo>
                  <a:pt x="0" y="419"/>
                </a:lnTo>
                <a:lnTo>
                  <a:pt x="0" y="280"/>
                </a:lnTo>
                <a:lnTo>
                  <a:pt x="1641" y="0"/>
                </a:lnTo>
                <a:close/>
                <a:moveTo>
                  <a:pt x="1641" y="0"/>
                </a:moveTo>
              </a:path>
            </a:pathLst>
          </a:custGeom>
          <a:solidFill>
            <a:srgbClr val="00BACF">
              <a:alpha val="50000"/>
            </a:srgbClr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118" name="AutoShape 39"/>
          <p:cNvSpPr>
            <a:spLocks/>
          </p:cNvSpPr>
          <p:nvPr/>
        </p:nvSpPr>
        <p:spPr bwMode="auto">
          <a:xfrm>
            <a:off x="6539195" y="3031971"/>
            <a:ext cx="286707" cy="77658"/>
          </a:xfrm>
          <a:custGeom>
            <a:avLst/>
            <a:gdLst>
              <a:gd name="T0" fmla="*/ 10800 w 21600"/>
              <a:gd name="T1" fmla="*/ 10800 h 21600"/>
            </a:gdLst>
            <a:ahLst/>
            <a:cxnLst>
              <a:cxn ang="0">
                <a:pos x="T0" y="T1"/>
              </a:cxn>
            </a:cxnLst>
            <a:rect l="0" t="0" r="r" b="b"/>
            <a:pathLst>
              <a:path w="21600" h="21600">
                <a:moveTo>
                  <a:pt x="17962" y="9663"/>
                </a:moveTo>
                <a:lnTo>
                  <a:pt x="17962" y="11937"/>
                </a:lnTo>
                <a:lnTo>
                  <a:pt x="18644" y="11937"/>
                </a:lnTo>
                <a:lnTo>
                  <a:pt x="18644" y="10800"/>
                </a:lnTo>
                <a:lnTo>
                  <a:pt x="18417" y="10800"/>
                </a:lnTo>
                <a:lnTo>
                  <a:pt x="18417" y="9663"/>
                </a:lnTo>
                <a:lnTo>
                  <a:pt x="17962" y="9663"/>
                </a:lnTo>
                <a:close/>
                <a:moveTo>
                  <a:pt x="4547" y="3979"/>
                </a:moveTo>
                <a:lnTo>
                  <a:pt x="4775" y="3979"/>
                </a:lnTo>
                <a:lnTo>
                  <a:pt x="4775" y="4547"/>
                </a:lnTo>
                <a:lnTo>
                  <a:pt x="4547" y="3979"/>
                </a:lnTo>
                <a:close/>
                <a:moveTo>
                  <a:pt x="909" y="0"/>
                </a:moveTo>
                <a:lnTo>
                  <a:pt x="1364" y="0"/>
                </a:lnTo>
                <a:lnTo>
                  <a:pt x="1364" y="568"/>
                </a:lnTo>
                <a:lnTo>
                  <a:pt x="2046" y="568"/>
                </a:lnTo>
                <a:lnTo>
                  <a:pt x="2046" y="1705"/>
                </a:lnTo>
                <a:lnTo>
                  <a:pt x="2501" y="1705"/>
                </a:lnTo>
                <a:lnTo>
                  <a:pt x="2501" y="2842"/>
                </a:lnTo>
                <a:lnTo>
                  <a:pt x="2956" y="2842"/>
                </a:lnTo>
                <a:lnTo>
                  <a:pt x="3183" y="3979"/>
                </a:lnTo>
                <a:lnTo>
                  <a:pt x="3183" y="5684"/>
                </a:lnTo>
                <a:lnTo>
                  <a:pt x="4775" y="5684"/>
                </a:lnTo>
                <a:lnTo>
                  <a:pt x="4775" y="4547"/>
                </a:lnTo>
                <a:lnTo>
                  <a:pt x="5229" y="4547"/>
                </a:lnTo>
                <a:lnTo>
                  <a:pt x="5684" y="5684"/>
                </a:lnTo>
                <a:lnTo>
                  <a:pt x="6139" y="5684"/>
                </a:lnTo>
                <a:lnTo>
                  <a:pt x="6139" y="6821"/>
                </a:lnTo>
                <a:lnTo>
                  <a:pt x="7958" y="6821"/>
                </a:lnTo>
                <a:lnTo>
                  <a:pt x="8867" y="5684"/>
                </a:lnTo>
                <a:lnTo>
                  <a:pt x="8867" y="4547"/>
                </a:lnTo>
                <a:lnTo>
                  <a:pt x="10004" y="4547"/>
                </a:lnTo>
                <a:lnTo>
                  <a:pt x="10914" y="2842"/>
                </a:lnTo>
                <a:lnTo>
                  <a:pt x="11141" y="2842"/>
                </a:lnTo>
                <a:lnTo>
                  <a:pt x="11141" y="1705"/>
                </a:lnTo>
                <a:lnTo>
                  <a:pt x="11596" y="1705"/>
                </a:lnTo>
                <a:lnTo>
                  <a:pt x="12505" y="0"/>
                </a:lnTo>
                <a:lnTo>
                  <a:pt x="14779" y="0"/>
                </a:lnTo>
                <a:lnTo>
                  <a:pt x="14779" y="568"/>
                </a:lnTo>
                <a:lnTo>
                  <a:pt x="17280" y="2842"/>
                </a:lnTo>
                <a:lnTo>
                  <a:pt x="17507" y="2842"/>
                </a:lnTo>
                <a:lnTo>
                  <a:pt x="17962" y="3979"/>
                </a:lnTo>
                <a:lnTo>
                  <a:pt x="18417" y="3979"/>
                </a:lnTo>
                <a:lnTo>
                  <a:pt x="19099" y="4547"/>
                </a:lnTo>
                <a:lnTo>
                  <a:pt x="20236" y="7958"/>
                </a:lnTo>
                <a:lnTo>
                  <a:pt x="20691" y="7958"/>
                </a:lnTo>
                <a:lnTo>
                  <a:pt x="20691" y="8526"/>
                </a:lnTo>
                <a:lnTo>
                  <a:pt x="20236" y="8526"/>
                </a:lnTo>
                <a:lnTo>
                  <a:pt x="20236" y="9663"/>
                </a:lnTo>
                <a:lnTo>
                  <a:pt x="20691" y="9663"/>
                </a:lnTo>
                <a:lnTo>
                  <a:pt x="20691" y="11937"/>
                </a:lnTo>
                <a:lnTo>
                  <a:pt x="21145" y="11937"/>
                </a:lnTo>
                <a:lnTo>
                  <a:pt x="21145" y="13642"/>
                </a:lnTo>
                <a:lnTo>
                  <a:pt x="21600" y="13642"/>
                </a:lnTo>
                <a:lnTo>
                  <a:pt x="21600" y="15347"/>
                </a:lnTo>
                <a:lnTo>
                  <a:pt x="20691" y="15347"/>
                </a:lnTo>
                <a:lnTo>
                  <a:pt x="20691" y="16484"/>
                </a:lnTo>
                <a:lnTo>
                  <a:pt x="20236" y="17621"/>
                </a:lnTo>
                <a:lnTo>
                  <a:pt x="20236" y="18758"/>
                </a:lnTo>
                <a:lnTo>
                  <a:pt x="20008" y="18758"/>
                </a:lnTo>
                <a:lnTo>
                  <a:pt x="20008" y="17621"/>
                </a:lnTo>
                <a:lnTo>
                  <a:pt x="19554" y="17621"/>
                </a:lnTo>
                <a:lnTo>
                  <a:pt x="19554" y="16484"/>
                </a:lnTo>
                <a:lnTo>
                  <a:pt x="19099" y="16484"/>
                </a:lnTo>
                <a:lnTo>
                  <a:pt x="19554" y="17621"/>
                </a:lnTo>
                <a:lnTo>
                  <a:pt x="19554" y="18758"/>
                </a:lnTo>
                <a:lnTo>
                  <a:pt x="19099" y="19326"/>
                </a:lnTo>
                <a:lnTo>
                  <a:pt x="19099" y="20463"/>
                </a:lnTo>
                <a:lnTo>
                  <a:pt x="18417" y="20463"/>
                </a:lnTo>
                <a:lnTo>
                  <a:pt x="18417" y="19326"/>
                </a:lnTo>
                <a:lnTo>
                  <a:pt x="17962" y="19326"/>
                </a:lnTo>
                <a:lnTo>
                  <a:pt x="17962" y="18758"/>
                </a:lnTo>
                <a:lnTo>
                  <a:pt x="17507" y="17621"/>
                </a:lnTo>
                <a:lnTo>
                  <a:pt x="17507" y="16484"/>
                </a:lnTo>
                <a:lnTo>
                  <a:pt x="17280" y="16484"/>
                </a:lnTo>
                <a:lnTo>
                  <a:pt x="17280" y="14779"/>
                </a:lnTo>
                <a:lnTo>
                  <a:pt x="16825" y="14779"/>
                </a:lnTo>
                <a:lnTo>
                  <a:pt x="16825" y="12505"/>
                </a:lnTo>
                <a:lnTo>
                  <a:pt x="17280" y="12505"/>
                </a:lnTo>
                <a:lnTo>
                  <a:pt x="17507" y="11937"/>
                </a:lnTo>
                <a:lnTo>
                  <a:pt x="17507" y="10800"/>
                </a:lnTo>
                <a:lnTo>
                  <a:pt x="17280" y="10800"/>
                </a:lnTo>
                <a:lnTo>
                  <a:pt x="17507" y="9663"/>
                </a:lnTo>
                <a:lnTo>
                  <a:pt x="17507" y="8526"/>
                </a:lnTo>
                <a:lnTo>
                  <a:pt x="17280" y="8526"/>
                </a:lnTo>
                <a:lnTo>
                  <a:pt x="17280" y="10800"/>
                </a:lnTo>
                <a:lnTo>
                  <a:pt x="16825" y="10800"/>
                </a:lnTo>
                <a:lnTo>
                  <a:pt x="16825" y="8526"/>
                </a:lnTo>
                <a:lnTo>
                  <a:pt x="16371" y="8526"/>
                </a:lnTo>
                <a:lnTo>
                  <a:pt x="16371" y="7958"/>
                </a:lnTo>
                <a:lnTo>
                  <a:pt x="15916" y="7958"/>
                </a:lnTo>
                <a:lnTo>
                  <a:pt x="15916" y="6821"/>
                </a:lnTo>
                <a:lnTo>
                  <a:pt x="15234" y="6821"/>
                </a:lnTo>
                <a:lnTo>
                  <a:pt x="15234" y="5684"/>
                </a:lnTo>
                <a:lnTo>
                  <a:pt x="14324" y="5684"/>
                </a:lnTo>
                <a:lnTo>
                  <a:pt x="14324" y="4547"/>
                </a:lnTo>
                <a:lnTo>
                  <a:pt x="13187" y="4547"/>
                </a:lnTo>
                <a:lnTo>
                  <a:pt x="12733" y="5684"/>
                </a:lnTo>
                <a:lnTo>
                  <a:pt x="12505" y="5684"/>
                </a:lnTo>
                <a:lnTo>
                  <a:pt x="12505" y="6821"/>
                </a:lnTo>
                <a:lnTo>
                  <a:pt x="12051" y="6821"/>
                </a:lnTo>
                <a:lnTo>
                  <a:pt x="12051" y="9663"/>
                </a:lnTo>
                <a:lnTo>
                  <a:pt x="11141" y="9663"/>
                </a:lnTo>
                <a:lnTo>
                  <a:pt x="11141" y="10800"/>
                </a:lnTo>
                <a:lnTo>
                  <a:pt x="10914" y="10800"/>
                </a:lnTo>
                <a:lnTo>
                  <a:pt x="10914" y="11937"/>
                </a:lnTo>
                <a:lnTo>
                  <a:pt x="9549" y="11937"/>
                </a:lnTo>
                <a:lnTo>
                  <a:pt x="9549" y="14779"/>
                </a:lnTo>
                <a:lnTo>
                  <a:pt x="10004" y="14779"/>
                </a:lnTo>
                <a:lnTo>
                  <a:pt x="10459" y="15347"/>
                </a:lnTo>
                <a:lnTo>
                  <a:pt x="10459" y="16484"/>
                </a:lnTo>
                <a:lnTo>
                  <a:pt x="10914" y="17621"/>
                </a:lnTo>
                <a:lnTo>
                  <a:pt x="11141" y="17621"/>
                </a:lnTo>
                <a:lnTo>
                  <a:pt x="11141" y="19326"/>
                </a:lnTo>
                <a:lnTo>
                  <a:pt x="10004" y="19326"/>
                </a:lnTo>
                <a:lnTo>
                  <a:pt x="9549" y="20463"/>
                </a:lnTo>
                <a:lnTo>
                  <a:pt x="9322" y="20463"/>
                </a:lnTo>
                <a:lnTo>
                  <a:pt x="8867" y="21600"/>
                </a:lnTo>
                <a:lnTo>
                  <a:pt x="7731" y="21600"/>
                </a:lnTo>
                <a:lnTo>
                  <a:pt x="7731" y="20463"/>
                </a:lnTo>
                <a:lnTo>
                  <a:pt x="7958" y="19326"/>
                </a:lnTo>
                <a:lnTo>
                  <a:pt x="7958" y="18758"/>
                </a:lnTo>
                <a:lnTo>
                  <a:pt x="7731" y="18758"/>
                </a:lnTo>
                <a:lnTo>
                  <a:pt x="7731" y="16484"/>
                </a:lnTo>
                <a:lnTo>
                  <a:pt x="7276" y="16484"/>
                </a:lnTo>
                <a:lnTo>
                  <a:pt x="7276" y="15347"/>
                </a:lnTo>
                <a:lnTo>
                  <a:pt x="6821" y="15347"/>
                </a:lnTo>
                <a:lnTo>
                  <a:pt x="6821" y="17621"/>
                </a:lnTo>
                <a:lnTo>
                  <a:pt x="6139" y="17621"/>
                </a:lnTo>
                <a:lnTo>
                  <a:pt x="6139" y="16484"/>
                </a:lnTo>
                <a:lnTo>
                  <a:pt x="5684" y="16484"/>
                </a:lnTo>
                <a:lnTo>
                  <a:pt x="5684" y="15347"/>
                </a:lnTo>
                <a:lnTo>
                  <a:pt x="5229" y="15347"/>
                </a:lnTo>
                <a:lnTo>
                  <a:pt x="5229" y="13642"/>
                </a:lnTo>
                <a:lnTo>
                  <a:pt x="4775" y="13642"/>
                </a:lnTo>
                <a:lnTo>
                  <a:pt x="4775" y="12505"/>
                </a:lnTo>
                <a:lnTo>
                  <a:pt x="3183" y="12505"/>
                </a:lnTo>
                <a:lnTo>
                  <a:pt x="3183" y="11937"/>
                </a:lnTo>
                <a:lnTo>
                  <a:pt x="2956" y="11937"/>
                </a:lnTo>
                <a:lnTo>
                  <a:pt x="2956" y="10800"/>
                </a:lnTo>
                <a:lnTo>
                  <a:pt x="2501" y="10800"/>
                </a:lnTo>
                <a:lnTo>
                  <a:pt x="2501" y="11937"/>
                </a:lnTo>
                <a:lnTo>
                  <a:pt x="1364" y="11937"/>
                </a:lnTo>
                <a:lnTo>
                  <a:pt x="455" y="13642"/>
                </a:lnTo>
                <a:lnTo>
                  <a:pt x="455" y="11937"/>
                </a:lnTo>
                <a:lnTo>
                  <a:pt x="0" y="11937"/>
                </a:lnTo>
                <a:lnTo>
                  <a:pt x="455" y="10800"/>
                </a:lnTo>
                <a:lnTo>
                  <a:pt x="455" y="9663"/>
                </a:lnTo>
                <a:lnTo>
                  <a:pt x="909" y="9663"/>
                </a:lnTo>
                <a:lnTo>
                  <a:pt x="909" y="7958"/>
                </a:lnTo>
                <a:lnTo>
                  <a:pt x="455" y="7958"/>
                </a:lnTo>
                <a:lnTo>
                  <a:pt x="909" y="6821"/>
                </a:lnTo>
                <a:lnTo>
                  <a:pt x="1364" y="6821"/>
                </a:lnTo>
                <a:lnTo>
                  <a:pt x="1364" y="5684"/>
                </a:lnTo>
                <a:lnTo>
                  <a:pt x="909" y="5684"/>
                </a:lnTo>
                <a:lnTo>
                  <a:pt x="909" y="4547"/>
                </a:lnTo>
                <a:lnTo>
                  <a:pt x="455" y="4547"/>
                </a:lnTo>
                <a:lnTo>
                  <a:pt x="455" y="1705"/>
                </a:lnTo>
                <a:lnTo>
                  <a:pt x="909" y="568"/>
                </a:lnTo>
                <a:lnTo>
                  <a:pt x="909" y="0"/>
                </a:lnTo>
                <a:close/>
                <a:moveTo>
                  <a:pt x="909" y="0"/>
                </a:moveTo>
              </a:path>
            </a:pathLst>
          </a:custGeom>
          <a:solidFill>
            <a:srgbClr val="00BACF">
              <a:alpha val="50000"/>
            </a:srgbClr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119" name="AutoShape 40"/>
          <p:cNvSpPr>
            <a:spLocks/>
          </p:cNvSpPr>
          <p:nvPr/>
        </p:nvSpPr>
        <p:spPr bwMode="auto">
          <a:xfrm>
            <a:off x="6313391" y="2850483"/>
            <a:ext cx="221003" cy="140603"/>
          </a:xfrm>
          <a:custGeom>
            <a:avLst/>
            <a:gdLst>
              <a:gd name="T0" fmla="*/ 10800 w 21600"/>
              <a:gd name="T1" fmla="*/ 10800 h 21600"/>
            </a:gdLst>
            <a:ahLst/>
            <a:cxnLst>
              <a:cxn ang="0">
                <a:pos x="T0" y="T1"/>
              </a:cxn>
            </a:cxnLst>
            <a:rect l="0" t="0" r="r" b="b"/>
            <a:pathLst>
              <a:path w="21600" h="21600">
                <a:moveTo>
                  <a:pt x="11100" y="19376"/>
                </a:moveTo>
                <a:lnTo>
                  <a:pt x="12600" y="19376"/>
                </a:lnTo>
                <a:lnTo>
                  <a:pt x="12600" y="20012"/>
                </a:lnTo>
                <a:lnTo>
                  <a:pt x="11700" y="20012"/>
                </a:lnTo>
                <a:lnTo>
                  <a:pt x="11100" y="19376"/>
                </a:lnTo>
                <a:close/>
                <a:moveTo>
                  <a:pt x="20100" y="0"/>
                </a:moveTo>
                <a:lnTo>
                  <a:pt x="21000" y="0"/>
                </a:lnTo>
                <a:lnTo>
                  <a:pt x="21000" y="635"/>
                </a:lnTo>
                <a:lnTo>
                  <a:pt x="21600" y="1271"/>
                </a:lnTo>
                <a:lnTo>
                  <a:pt x="21600" y="4447"/>
                </a:lnTo>
                <a:lnTo>
                  <a:pt x="21000" y="5082"/>
                </a:lnTo>
                <a:lnTo>
                  <a:pt x="21000" y="7306"/>
                </a:lnTo>
                <a:lnTo>
                  <a:pt x="20400" y="8259"/>
                </a:lnTo>
                <a:lnTo>
                  <a:pt x="20400" y="13341"/>
                </a:lnTo>
                <a:lnTo>
                  <a:pt x="20100" y="13341"/>
                </a:lnTo>
                <a:lnTo>
                  <a:pt x="20100" y="12388"/>
                </a:lnTo>
                <a:lnTo>
                  <a:pt x="19500" y="12388"/>
                </a:lnTo>
                <a:lnTo>
                  <a:pt x="19500" y="14612"/>
                </a:lnTo>
                <a:lnTo>
                  <a:pt x="18900" y="14612"/>
                </a:lnTo>
                <a:lnTo>
                  <a:pt x="18900" y="16835"/>
                </a:lnTo>
                <a:lnTo>
                  <a:pt x="19500" y="16835"/>
                </a:lnTo>
                <a:lnTo>
                  <a:pt x="19500" y="17788"/>
                </a:lnTo>
                <a:lnTo>
                  <a:pt x="18900" y="17788"/>
                </a:lnTo>
                <a:lnTo>
                  <a:pt x="18900" y="18424"/>
                </a:lnTo>
                <a:lnTo>
                  <a:pt x="18300" y="19059"/>
                </a:lnTo>
                <a:lnTo>
                  <a:pt x="18300" y="19376"/>
                </a:lnTo>
                <a:lnTo>
                  <a:pt x="18900" y="19376"/>
                </a:lnTo>
                <a:lnTo>
                  <a:pt x="18900" y="20647"/>
                </a:lnTo>
                <a:lnTo>
                  <a:pt x="19500" y="20647"/>
                </a:lnTo>
                <a:lnTo>
                  <a:pt x="19500" y="21600"/>
                </a:lnTo>
                <a:lnTo>
                  <a:pt x="17400" y="21600"/>
                </a:lnTo>
                <a:lnTo>
                  <a:pt x="17400" y="21282"/>
                </a:lnTo>
                <a:lnTo>
                  <a:pt x="16500" y="21282"/>
                </a:lnTo>
                <a:lnTo>
                  <a:pt x="16500" y="20647"/>
                </a:lnTo>
                <a:lnTo>
                  <a:pt x="15900" y="20647"/>
                </a:lnTo>
                <a:lnTo>
                  <a:pt x="15900" y="20012"/>
                </a:lnTo>
                <a:lnTo>
                  <a:pt x="15300" y="20012"/>
                </a:lnTo>
                <a:lnTo>
                  <a:pt x="15300" y="20647"/>
                </a:lnTo>
                <a:lnTo>
                  <a:pt x="13200" y="20647"/>
                </a:lnTo>
                <a:lnTo>
                  <a:pt x="13200" y="20012"/>
                </a:lnTo>
                <a:lnTo>
                  <a:pt x="14400" y="20012"/>
                </a:lnTo>
                <a:lnTo>
                  <a:pt x="14400" y="19059"/>
                </a:lnTo>
                <a:lnTo>
                  <a:pt x="13800" y="19059"/>
                </a:lnTo>
                <a:lnTo>
                  <a:pt x="13800" y="18424"/>
                </a:lnTo>
                <a:lnTo>
                  <a:pt x="13200" y="18424"/>
                </a:lnTo>
                <a:lnTo>
                  <a:pt x="13200" y="17788"/>
                </a:lnTo>
                <a:lnTo>
                  <a:pt x="11100" y="15565"/>
                </a:lnTo>
                <a:lnTo>
                  <a:pt x="10500" y="15565"/>
                </a:lnTo>
                <a:lnTo>
                  <a:pt x="10500" y="14929"/>
                </a:lnTo>
                <a:lnTo>
                  <a:pt x="9000" y="14929"/>
                </a:lnTo>
                <a:lnTo>
                  <a:pt x="9000" y="17153"/>
                </a:lnTo>
                <a:lnTo>
                  <a:pt x="9600" y="17788"/>
                </a:lnTo>
                <a:lnTo>
                  <a:pt x="9600" y="18424"/>
                </a:lnTo>
                <a:lnTo>
                  <a:pt x="10200" y="18424"/>
                </a:lnTo>
                <a:lnTo>
                  <a:pt x="10200" y="19059"/>
                </a:lnTo>
                <a:lnTo>
                  <a:pt x="11100" y="19059"/>
                </a:lnTo>
                <a:lnTo>
                  <a:pt x="11100" y="19376"/>
                </a:lnTo>
                <a:lnTo>
                  <a:pt x="10200" y="19376"/>
                </a:lnTo>
                <a:lnTo>
                  <a:pt x="10200" y="20012"/>
                </a:lnTo>
                <a:lnTo>
                  <a:pt x="9600" y="20012"/>
                </a:lnTo>
                <a:lnTo>
                  <a:pt x="9600" y="19376"/>
                </a:lnTo>
                <a:lnTo>
                  <a:pt x="9000" y="19376"/>
                </a:lnTo>
                <a:lnTo>
                  <a:pt x="9000" y="19059"/>
                </a:lnTo>
                <a:lnTo>
                  <a:pt x="8400" y="19059"/>
                </a:lnTo>
                <a:lnTo>
                  <a:pt x="8100" y="18424"/>
                </a:lnTo>
                <a:lnTo>
                  <a:pt x="7500" y="18424"/>
                </a:lnTo>
                <a:lnTo>
                  <a:pt x="7500" y="17788"/>
                </a:lnTo>
                <a:lnTo>
                  <a:pt x="6900" y="17153"/>
                </a:lnTo>
                <a:lnTo>
                  <a:pt x="6300" y="17153"/>
                </a:lnTo>
                <a:lnTo>
                  <a:pt x="6300" y="16835"/>
                </a:lnTo>
                <a:lnTo>
                  <a:pt x="4800" y="14929"/>
                </a:lnTo>
                <a:lnTo>
                  <a:pt x="4800" y="14612"/>
                </a:lnTo>
                <a:lnTo>
                  <a:pt x="4200" y="13976"/>
                </a:lnTo>
                <a:lnTo>
                  <a:pt x="3900" y="13976"/>
                </a:lnTo>
                <a:lnTo>
                  <a:pt x="2100" y="12388"/>
                </a:lnTo>
                <a:lnTo>
                  <a:pt x="1800" y="12388"/>
                </a:lnTo>
                <a:lnTo>
                  <a:pt x="1800" y="11753"/>
                </a:lnTo>
                <a:lnTo>
                  <a:pt x="1200" y="11753"/>
                </a:lnTo>
                <a:lnTo>
                  <a:pt x="1200" y="11118"/>
                </a:lnTo>
                <a:lnTo>
                  <a:pt x="600" y="11118"/>
                </a:lnTo>
                <a:lnTo>
                  <a:pt x="600" y="10482"/>
                </a:lnTo>
                <a:lnTo>
                  <a:pt x="0" y="10165"/>
                </a:lnTo>
                <a:lnTo>
                  <a:pt x="600" y="10165"/>
                </a:lnTo>
                <a:lnTo>
                  <a:pt x="600" y="9529"/>
                </a:lnTo>
                <a:lnTo>
                  <a:pt x="1200" y="9529"/>
                </a:lnTo>
                <a:lnTo>
                  <a:pt x="1200" y="10165"/>
                </a:lnTo>
                <a:lnTo>
                  <a:pt x="1800" y="10165"/>
                </a:lnTo>
                <a:lnTo>
                  <a:pt x="1800" y="10482"/>
                </a:lnTo>
                <a:lnTo>
                  <a:pt x="2100" y="10482"/>
                </a:lnTo>
                <a:lnTo>
                  <a:pt x="2100" y="10165"/>
                </a:lnTo>
                <a:lnTo>
                  <a:pt x="3300" y="10165"/>
                </a:lnTo>
                <a:lnTo>
                  <a:pt x="3900" y="9529"/>
                </a:lnTo>
                <a:lnTo>
                  <a:pt x="3900" y="8894"/>
                </a:lnTo>
                <a:lnTo>
                  <a:pt x="5400" y="8894"/>
                </a:lnTo>
                <a:lnTo>
                  <a:pt x="5400" y="8259"/>
                </a:lnTo>
                <a:lnTo>
                  <a:pt x="4800" y="8259"/>
                </a:lnTo>
                <a:lnTo>
                  <a:pt x="4800" y="6035"/>
                </a:lnTo>
                <a:lnTo>
                  <a:pt x="6900" y="6035"/>
                </a:lnTo>
                <a:lnTo>
                  <a:pt x="6900" y="5718"/>
                </a:lnTo>
                <a:lnTo>
                  <a:pt x="7500" y="5718"/>
                </a:lnTo>
                <a:lnTo>
                  <a:pt x="7500" y="5082"/>
                </a:lnTo>
                <a:lnTo>
                  <a:pt x="8100" y="5082"/>
                </a:lnTo>
                <a:lnTo>
                  <a:pt x="8100" y="4447"/>
                </a:lnTo>
                <a:lnTo>
                  <a:pt x="8400" y="5082"/>
                </a:lnTo>
                <a:lnTo>
                  <a:pt x="9000" y="5082"/>
                </a:lnTo>
                <a:lnTo>
                  <a:pt x="9000" y="5718"/>
                </a:lnTo>
                <a:lnTo>
                  <a:pt x="10200" y="5718"/>
                </a:lnTo>
                <a:lnTo>
                  <a:pt x="10200" y="5082"/>
                </a:lnTo>
                <a:lnTo>
                  <a:pt x="10500" y="5082"/>
                </a:lnTo>
                <a:lnTo>
                  <a:pt x="10500" y="4447"/>
                </a:lnTo>
                <a:lnTo>
                  <a:pt x="11100" y="4447"/>
                </a:lnTo>
                <a:lnTo>
                  <a:pt x="12300" y="3494"/>
                </a:lnTo>
                <a:lnTo>
                  <a:pt x="12600" y="3494"/>
                </a:lnTo>
                <a:lnTo>
                  <a:pt x="12600" y="2224"/>
                </a:lnTo>
                <a:lnTo>
                  <a:pt x="13200" y="1906"/>
                </a:lnTo>
                <a:lnTo>
                  <a:pt x="13200" y="1271"/>
                </a:lnTo>
                <a:lnTo>
                  <a:pt x="13800" y="635"/>
                </a:lnTo>
                <a:lnTo>
                  <a:pt x="14400" y="635"/>
                </a:lnTo>
                <a:lnTo>
                  <a:pt x="14400" y="1271"/>
                </a:lnTo>
                <a:lnTo>
                  <a:pt x="15300" y="1271"/>
                </a:lnTo>
                <a:lnTo>
                  <a:pt x="15300" y="1906"/>
                </a:lnTo>
                <a:lnTo>
                  <a:pt x="16800" y="1906"/>
                </a:lnTo>
                <a:lnTo>
                  <a:pt x="17400" y="1271"/>
                </a:lnTo>
                <a:lnTo>
                  <a:pt x="18000" y="1271"/>
                </a:lnTo>
                <a:lnTo>
                  <a:pt x="18000" y="635"/>
                </a:lnTo>
                <a:lnTo>
                  <a:pt x="20100" y="635"/>
                </a:lnTo>
                <a:lnTo>
                  <a:pt x="20100" y="0"/>
                </a:lnTo>
                <a:close/>
                <a:moveTo>
                  <a:pt x="20100" y="0"/>
                </a:moveTo>
              </a:path>
            </a:pathLst>
          </a:custGeom>
          <a:solidFill>
            <a:srgbClr val="00BACF">
              <a:alpha val="50000"/>
            </a:srgbClr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120" name="Freeform 41"/>
          <p:cNvSpPr>
            <a:spLocks/>
          </p:cNvSpPr>
          <p:nvPr/>
        </p:nvSpPr>
        <p:spPr bwMode="auto">
          <a:xfrm>
            <a:off x="6093585" y="2754023"/>
            <a:ext cx="194721" cy="134881"/>
          </a:xfrm>
          <a:custGeom>
            <a:avLst/>
            <a:gdLst/>
            <a:ahLst/>
            <a:cxnLst>
              <a:cxn ang="0">
                <a:pos x="16948" y="0"/>
              </a:cxn>
              <a:cxn ang="0">
                <a:pos x="16283" y="8182"/>
              </a:cxn>
              <a:cxn ang="0">
                <a:pos x="18609" y="10473"/>
              </a:cxn>
              <a:cxn ang="0">
                <a:pos x="20271" y="10800"/>
              </a:cxn>
              <a:cxn ang="0">
                <a:pos x="20935" y="10473"/>
              </a:cxn>
              <a:cxn ang="0">
                <a:pos x="21600" y="11455"/>
              </a:cxn>
              <a:cxn ang="0">
                <a:pos x="20935" y="12109"/>
              </a:cxn>
              <a:cxn ang="0">
                <a:pos x="20271" y="12764"/>
              </a:cxn>
              <a:cxn ang="0">
                <a:pos x="19274" y="13091"/>
              </a:cxn>
              <a:cxn ang="0">
                <a:pos x="17945" y="13745"/>
              </a:cxn>
              <a:cxn ang="0">
                <a:pos x="16948" y="14400"/>
              </a:cxn>
              <a:cxn ang="0">
                <a:pos x="16283" y="16036"/>
              </a:cxn>
              <a:cxn ang="0">
                <a:pos x="16948" y="17345"/>
              </a:cxn>
              <a:cxn ang="0">
                <a:pos x="16283" y="17673"/>
              </a:cxn>
              <a:cxn ang="0">
                <a:pos x="15618" y="18327"/>
              </a:cxn>
              <a:cxn ang="0">
                <a:pos x="14622" y="19636"/>
              </a:cxn>
              <a:cxn ang="0">
                <a:pos x="13957" y="19964"/>
              </a:cxn>
              <a:cxn ang="0">
                <a:pos x="12628" y="20618"/>
              </a:cxn>
              <a:cxn ang="0">
                <a:pos x="12295" y="21273"/>
              </a:cxn>
              <a:cxn ang="0">
                <a:pos x="11631" y="21600"/>
              </a:cxn>
              <a:cxn ang="0">
                <a:pos x="10634" y="21273"/>
              </a:cxn>
              <a:cxn ang="0">
                <a:pos x="5317" y="20618"/>
              </a:cxn>
              <a:cxn ang="0">
                <a:pos x="4652" y="19964"/>
              </a:cxn>
              <a:cxn ang="0">
                <a:pos x="2991" y="19636"/>
              </a:cxn>
              <a:cxn ang="0">
                <a:pos x="1329" y="18327"/>
              </a:cxn>
              <a:cxn ang="0">
                <a:pos x="665" y="17673"/>
              </a:cxn>
              <a:cxn ang="0">
                <a:pos x="1329" y="16691"/>
              </a:cxn>
              <a:cxn ang="0">
                <a:pos x="0" y="14400"/>
              </a:cxn>
              <a:cxn ang="0">
                <a:pos x="9969" y="9164"/>
              </a:cxn>
              <a:cxn ang="0">
                <a:pos x="10634" y="7527"/>
              </a:cxn>
              <a:cxn ang="0">
                <a:pos x="9305" y="6873"/>
              </a:cxn>
              <a:cxn ang="0">
                <a:pos x="8640" y="5891"/>
              </a:cxn>
              <a:cxn ang="0">
                <a:pos x="8308" y="5236"/>
              </a:cxn>
              <a:cxn ang="0">
                <a:pos x="6978" y="4582"/>
              </a:cxn>
              <a:cxn ang="0">
                <a:pos x="5982" y="3927"/>
              </a:cxn>
              <a:cxn ang="0">
                <a:pos x="5317" y="3600"/>
              </a:cxn>
              <a:cxn ang="0">
                <a:pos x="6978" y="2945"/>
              </a:cxn>
              <a:cxn ang="0">
                <a:pos x="6978" y="0"/>
              </a:cxn>
            </a:cxnLst>
            <a:rect l="0" t="0" r="r" b="b"/>
            <a:pathLst>
              <a:path w="21600" h="21600">
                <a:moveTo>
                  <a:pt x="6978" y="0"/>
                </a:moveTo>
                <a:lnTo>
                  <a:pt x="16948" y="0"/>
                </a:lnTo>
                <a:lnTo>
                  <a:pt x="16948" y="6218"/>
                </a:lnTo>
                <a:lnTo>
                  <a:pt x="16283" y="8182"/>
                </a:lnTo>
                <a:lnTo>
                  <a:pt x="16283" y="10473"/>
                </a:lnTo>
                <a:lnTo>
                  <a:pt x="18609" y="10473"/>
                </a:lnTo>
                <a:lnTo>
                  <a:pt x="19274" y="10800"/>
                </a:lnTo>
                <a:lnTo>
                  <a:pt x="20271" y="10800"/>
                </a:lnTo>
                <a:lnTo>
                  <a:pt x="20271" y="10473"/>
                </a:lnTo>
                <a:lnTo>
                  <a:pt x="20935" y="10473"/>
                </a:lnTo>
                <a:lnTo>
                  <a:pt x="21600" y="10800"/>
                </a:lnTo>
                <a:lnTo>
                  <a:pt x="21600" y="11455"/>
                </a:lnTo>
                <a:lnTo>
                  <a:pt x="20935" y="11455"/>
                </a:lnTo>
                <a:lnTo>
                  <a:pt x="20935" y="12109"/>
                </a:lnTo>
                <a:lnTo>
                  <a:pt x="20271" y="12109"/>
                </a:lnTo>
                <a:lnTo>
                  <a:pt x="20271" y="12764"/>
                </a:lnTo>
                <a:lnTo>
                  <a:pt x="19606" y="13091"/>
                </a:lnTo>
                <a:lnTo>
                  <a:pt x="19274" y="13091"/>
                </a:lnTo>
                <a:lnTo>
                  <a:pt x="18609" y="13745"/>
                </a:lnTo>
                <a:lnTo>
                  <a:pt x="17945" y="13745"/>
                </a:lnTo>
                <a:lnTo>
                  <a:pt x="17945" y="14400"/>
                </a:lnTo>
                <a:lnTo>
                  <a:pt x="16948" y="14400"/>
                </a:lnTo>
                <a:lnTo>
                  <a:pt x="16948" y="15382"/>
                </a:lnTo>
                <a:lnTo>
                  <a:pt x="16283" y="16036"/>
                </a:lnTo>
                <a:lnTo>
                  <a:pt x="16948" y="16036"/>
                </a:lnTo>
                <a:lnTo>
                  <a:pt x="16948" y="17345"/>
                </a:lnTo>
                <a:lnTo>
                  <a:pt x="16283" y="17345"/>
                </a:lnTo>
                <a:lnTo>
                  <a:pt x="16283" y="17673"/>
                </a:lnTo>
                <a:lnTo>
                  <a:pt x="15618" y="17673"/>
                </a:lnTo>
                <a:lnTo>
                  <a:pt x="15618" y="18327"/>
                </a:lnTo>
                <a:lnTo>
                  <a:pt x="14622" y="18327"/>
                </a:lnTo>
                <a:lnTo>
                  <a:pt x="14622" y="19636"/>
                </a:lnTo>
                <a:lnTo>
                  <a:pt x="13957" y="19636"/>
                </a:lnTo>
                <a:lnTo>
                  <a:pt x="13957" y="19964"/>
                </a:lnTo>
                <a:lnTo>
                  <a:pt x="12628" y="19964"/>
                </a:lnTo>
                <a:lnTo>
                  <a:pt x="12628" y="20618"/>
                </a:lnTo>
                <a:lnTo>
                  <a:pt x="12295" y="20618"/>
                </a:lnTo>
                <a:lnTo>
                  <a:pt x="12295" y="21273"/>
                </a:lnTo>
                <a:lnTo>
                  <a:pt x="11631" y="21273"/>
                </a:lnTo>
                <a:lnTo>
                  <a:pt x="11631" y="21600"/>
                </a:lnTo>
                <a:lnTo>
                  <a:pt x="10966" y="21600"/>
                </a:lnTo>
                <a:lnTo>
                  <a:pt x="10634" y="21273"/>
                </a:lnTo>
                <a:lnTo>
                  <a:pt x="5982" y="21273"/>
                </a:lnTo>
                <a:lnTo>
                  <a:pt x="5317" y="20618"/>
                </a:lnTo>
                <a:lnTo>
                  <a:pt x="4652" y="20618"/>
                </a:lnTo>
                <a:lnTo>
                  <a:pt x="4652" y="19964"/>
                </a:lnTo>
                <a:lnTo>
                  <a:pt x="3655" y="19964"/>
                </a:lnTo>
                <a:lnTo>
                  <a:pt x="2991" y="19636"/>
                </a:lnTo>
                <a:lnTo>
                  <a:pt x="1662" y="18982"/>
                </a:lnTo>
                <a:lnTo>
                  <a:pt x="1329" y="18327"/>
                </a:lnTo>
                <a:lnTo>
                  <a:pt x="1329" y="17673"/>
                </a:lnTo>
                <a:lnTo>
                  <a:pt x="665" y="17673"/>
                </a:lnTo>
                <a:lnTo>
                  <a:pt x="665" y="17345"/>
                </a:lnTo>
                <a:lnTo>
                  <a:pt x="1329" y="16691"/>
                </a:lnTo>
                <a:lnTo>
                  <a:pt x="1329" y="15382"/>
                </a:lnTo>
                <a:lnTo>
                  <a:pt x="0" y="14400"/>
                </a:lnTo>
                <a:lnTo>
                  <a:pt x="2326" y="9164"/>
                </a:lnTo>
                <a:lnTo>
                  <a:pt x="9969" y="9164"/>
                </a:lnTo>
                <a:lnTo>
                  <a:pt x="10634" y="8509"/>
                </a:lnTo>
                <a:lnTo>
                  <a:pt x="10634" y="7527"/>
                </a:lnTo>
                <a:lnTo>
                  <a:pt x="9305" y="7527"/>
                </a:lnTo>
                <a:lnTo>
                  <a:pt x="9305" y="6873"/>
                </a:lnTo>
                <a:lnTo>
                  <a:pt x="8640" y="6873"/>
                </a:lnTo>
                <a:lnTo>
                  <a:pt x="8640" y="5891"/>
                </a:lnTo>
                <a:lnTo>
                  <a:pt x="8308" y="5891"/>
                </a:lnTo>
                <a:lnTo>
                  <a:pt x="8308" y="5236"/>
                </a:lnTo>
                <a:lnTo>
                  <a:pt x="7643" y="5236"/>
                </a:lnTo>
                <a:lnTo>
                  <a:pt x="6978" y="4582"/>
                </a:lnTo>
                <a:lnTo>
                  <a:pt x="6314" y="4582"/>
                </a:lnTo>
                <a:lnTo>
                  <a:pt x="5982" y="3927"/>
                </a:lnTo>
                <a:lnTo>
                  <a:pt x="5982" y="3600"/>
                </a:lnTo>
                <a:lnTo>
                  <a:pt x="5317" y="3600"/>
                </a:lnTo>
                <a:lnTo>
                  <a:pt x="4652" y="2945"/>
                </a:lnTo>
                <a:lnTo>
                  <a:pt x="6978" y="2945"/>
                </a:lnTo>
                <a:lnTo>
                  <a:pt x="6978" y="0"/>
                </a:lnTo>
                <a:close/>
                <a:moveTo>
                  <a:pt x="6978" y="0"/>
                </a:moveTo>
              </a:path>
            </a:pathLst>
          </a:custGeom>
          <a:solidFill>
            <a:srgbClr val="00BACF">
              <a:alpha val="50000"/>
            </a:srgbClr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121" name="Freeform 42"/>
          <p:cNvSpPr>
            <a:spLocks/>
          </p:cNvSpPr>
          <p:nvPr/>
        </p:nvSpPr>
        <p:spPr bwMode="auto">
          <a:xfrm>
            <a:off x="6201121" y="2869291"/>
            <a:ext cx="114681" cy="44142"/>
          </a:xfrm>
          <a:custGeom>
            <a:avLst/>
            <a:gdLst/>
            <a:ahLst/>
            <a:cxnLst>
              <a:cxn ang="0">
                <a:pos x="5116" y="0"/>
              </a:cxn>
              <a:cxn ang="0">
                <a:pos x="9095" y="0"/>
              </a:cxn>
              <a:cxn ang="0">
                <a:pos x="9095" y="2057"/>
              </a:cxn>
              <a:cxn ang="0">
                <a:pos x="10800" y="2057"/>
              </a:cxn>
              <a:cxn ang="0">
                <a:pos x="10800" y="4114"/>
              </a:cxn>
              <a:cxn ang="0">
                <a:pos x="11937" y="4114"/>
              </a:cxn>
              <a:cxn ang="0">
                <a:pos x="11937" y="5143"/>
              </a:cxn>
              <a:cxn ang="0">
                <a:pos x="13074" y="5143"/>
              </a:cxn>
              <a:cxn ang="0">
                <a:pos x="13074" y="7200"/>
              </a:cxn>
              <a:cxn ang="0">
                <a:pos x="14779" y="7200"/>
              </a:cxn>
              <a:cxn ang="0">
                <a:pos x="14779" y="9257"/>
              </a:cxn>
              <a:cxn ang="0">
                <a:pos x="17053" y="9257"/>
              </a:cxn>
              <a:cxn ang="0">
                <a:pos x="17053" y="7200"/>
              </a:cxn>
              <a:cxn ang="0">
                <a:pos x="18758" y="7200"/>
              </a:cxn>
              <a:cxn ang="0">
                <a:pos x="18758" y="9257"/>
              </a:cxn>
              <a:cxn ang="0">
                <a:pos x="21600" y="9257"/>
              </a:cxn>
              <a:cxn ang="0">
                <a:pos x="21600" y="14400"/>
              </a:cxn>
              <a:cxn ang="0">
                <a:pos x="21032" y="14400"/>
              </a:cxn>
              <a:cxn ang="0">
                <a:pos x="21032" y="17486"/>
              </a:cxn>
              <a:cxn ang="0">
                <a:pos x="18758" y="21600"/>
              </a:cxn>
              <a:cxn ang="0">
                <a:pos x="17621" y="19543"/>
              </a:cxn>
              <a:cxn ang="0">
                <a:pos x="10800" y="19543"/>
              </a:cxn>
              <a:cxn ang="0">
                <a:pos x="9663" y="17486"/>
              </a:cxn>
              <a:cxn ang="0">
                <a:pos x="9095" y="17486"/>
              </a:cxn>
              <a:cxn ang="0">
                <a:pos x="9095" y="16457"/>
              </a:cxn>
              <a:cxn ang="0">
                <a:pos x="5116" y="16457"/>
              </a:cxn>
              <a:cxn ang="0">
                <a:pos x="3979" y="14400"/>
              </a:cxn>
              <a:cxn ang="0">
                <a:pos x="2842" y="14400"/>
              </a:cxn>
              <a:cxn ang="0">
                <a:pos x="1705" y="12343"/>
              </a:cxn>
              <a:cxn ang="0">
                <a:pos x="0" y="12343"/>
              </a:cxn>
              <a:cxn ang="0">
                <a:pos x="0" y="9257"/>
              </a:cxn>
              <a:cxn ang="0">
                <a:pos x="1137" y="9257"/>
              </a:cxn>
              <a:cxn ang="0">
                <a:pos x="1137" y="7200"/>
              </a:cxn>
              <a:cxn ang="0">
                <a:pos x="1705" y="7200"/>
              </a:cxn>
              <a:cxn ang="0">
                <a:pos x="1705" y="5143"/>
              </a:cxn>
              <a:cxn ang="0">
                <a:pos x="3979" y="5143"/>
              </a:cxn>
              <a:cxn ang="0">
                <a:pos x="3979" y="4114"/>
              </a:cxn>
              <a:cxn ang="0">
                <a:pos x="5116" y="4114"/>
              </a:cxn>
              <a:cxn ang="0">
                <a:pos x="5116" y="0"/>
              </a:cxn>
              <a:cxn ang="0">
                <a:pos x="5116" y="0"/>
              </a:cxn>
            </a:cxnLst>
            <a:rect l="0" t="0" r="r" b="b"/>
            <a:pathLst>
              <a:path w="21600" h="21600">
                <a:moveTo>
                  <a:pt x="5116" y="0"/>
                </a:moveTo>
                <a:lnTo>
                  <a:pt x="9095" y="0"/>
                </a:lnTo>
                <a:lnTo>
                  <a:pt x="9095" y="2057"/>
                </a:lnTo>
                <a:lnTo>
                  <a:pt x="10800" y="2057"/>
                </a:lnTo>
                <a:lnTo>
                  <a:pt x="10800" y="4114"/>
                </a:lnTo>
                <a:lnTo>
                  <a:pt x="11937" y="4114"/>
                </a:lnTo>
                <a:lnTo>
                  <a:pt x="11937" y="5143"/>
                </a:lnTo>
                <a:lnTo>
                  <a:pt x="13074" y="5143"/>
                </a:lnTo>
                <a:lnTo>
                  <a:pt x="13074" y="7200"/>
                </a:lnTo>
                <a:lnTo>
                  <a:pt x="14779" y="7200"/>
                </a:lnTo>
                <a:lnTo>
                  <a:pt x="14779" y="9257"/>
                </a:lnTo>
                <a:lnTo>
                  <a:pt x="17053" y="9257"/>
                </a:lnTo>
                <a:lnTo>
                  <a:pt x="17053" y="7200"/>
                </a:lnTo>
                <a:lnTo>
                  <a:pt x="18758" y="7200"/>
                </a:lnTo>
                <a:lnTo>
                  <a:pt x="18758" y="9257"/>
                </a:lnTo>
                <a:lnTo>
                  <a:pt x="21600" y="9257"/>
                </a:lnTo>
                <a:lnTo>
                  <a:pt x="21600" y="14400"/>
                </a:lnTo>
                <a:lnTo>
                  <a:pt x="21032" y="14400"/>
                </a:lnTo>
                <a:lnTo>
                  <a:pt x="21032" y="17486"/>
                </a:lnTo>
                <a:lnTo>
                  <a:pt x="18758" y="21600"/>
                </a:lnTo>
                <a:lnTo>
                  <a:pt x="17621" y="19543"/>
                </a:lnTo>
                <a:lnTo>
                  <a:pt x="10800" y="19543"/>
                </a:lnTo>
                <a:lnTo>
                  <a:pt x="9663" y="17486"/>
                </a:lnTo>
                <a:lnTo>
                  <a:pt x="9095" y="17486"/>
                </a:lnTo>
                <a:lnTo>
                  <a:pt x="9095" y="16457"/>
                </a:lnTo>
                <a:lnTo>
                  <a:pt x="5116" y="16457"/>
                </a:lnTo>
                <a:lnTo>
                  <a:pt x="3979" y="14400"/>
                </a:lnTo>
                <a:lnTo>
                  <a:pt x="2842" y="14400"/>
                </a:lnTo>
                <a:lnTo>
                  <a:pt x="1705" y="12343"/>
                </a:lnTo>
                <a:lnTo>
                  <a:pt x="0" y="12343"/>
                </a:lnTo>
                <a:lnTo>
                  <a:pt x="0" y="9257"/>
                </a:lnTo>
                <a:lnTo>
                  <a:pt x="1137" y="9257"/>
                </a:lnTo>
                <a:lnTo>
                  <a:pt x="1137" y="7200"/>
                </a:lnTo>
                <a:lnTo>
                  <a:pt x="1705" y="7200"/>
                </a:lnTo>
                <a:lnTo>
                  <a:pt x="1705" y="5143"/>
                </a:lnTo>
                <a:lnTo>
                  <a:pt x="3979" y="5143"/>
                </a:lnTo>
                <a:lnTo>
                  <a:pt x="3979" y="4114"/>
                </a:lnTo>
                <a:lnTo>
                  <a:pt x="5116" y="4114"/>
                </a:lnTo>
                <a:lnTo>
                  <a:pt x="5116" y="0"/>
                </a:lnTo>
                <a:close/>
                <a:moveTo>
                  <a:pt x="5116" y="0"/>
                </a:moveTo>
              </a:path>
            </a:pathLst>
          </a:custGeom>
          <a:solidFill>
            <a:srgbClr val="00BACF">
              <a:alpha val="50000"/>
            </a:srgbClr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122" name="AutoShape 43"/>
          <p:cNvSpPr>
            <a:spLocks/>
          </p:cNvSpPr>
          <p:nvPr/>
        </p:nvSpPr>
        <p:spPr bwMode="auto">
          <a:xfrm>
            <a:off x="6397033" y="2976377"/>
            <a:ext cx="169635" cy="105452"/>
          </a:xfrm>
          <a:custGeom>
            <a:avLst/>
            <a:gdLst>
              <a:gd name="T0" fmla="*/ 10800 w 21600"/>
              <a:gd name="T1" fmla="*/ 10800 h 21600"/>
            </a:gdLst>
            <a:ahLst/>
            <a:cxnLst>
              <a:cxn ang="0">
                <a:pos x="T0" y="T1"/>
              </a:cxn>
            </a:cxnLst>
            <a:rect l="0" t="0" r="r" b="b"/>
            <a:pathLst>
              <a:path w="21600" h="21600">
                <a:moveTo>
                  <a:pt x="18129" y="20329"/>
                </a:moveTo>
                <a:lnTo>
                  <a:pt x="18900" y="20329"/>
                </a:lnTo>
                <a:lnTo>
                  <a:pt x="18900" y="21600"/>
                </a:lnTo>
                <a:lnTo>
                  <a:pt x="18129" y="20753"/>
                </a:lnTo>
                <a:lnTo>
                  <a:pt x="18129" y="20329"/>
                </a:lnTo>
                <a:close/>
                <a:moveTo>
                  <a:pt x="2314" y="0"/>
                </a:moveTo>
                <a:lnTo>
                  <a:pt x="3471" y="0"/>
                </a:lnTo>
                <a:lnTo>
                  <a:pt x="4243" y="847"/>
                </a:lnTo>
                <a:lnTo>
                  <a:pt x="5014" y="847"/>
                </a:lnTo>
                <a:lnTo>
                  <a:pt x="5400" y="1694"/>
                </a:lnTo>
                <a:lnTo>
                  <a:pt x="8871" y="1694"/>
                </a:lnTo>
                <a:lnTo>
                  <a:pt x="8871" y="847"/>
                </a:lnTo>
                <a:lnTo>
                  <a:pt x="9643" y="847"/>
                </a:lnTo>
                <a:lnTo>
                  <a:pt x="9643" y="2541"/>
                </a:lnTo>
                <a:lnTo>
                  <a:pt x="10800" y="2541"/>
                </a:lnTo>
                <a:lnTo>
                  <a:pt x="10800" y="2965"/>
                </a:lnTo>
                <a:lnTo>
                  <a:pt x="14271" y="2965"/>
                </a:lnTo>
                <a:lnTo>
                  <a:pt x="14271" y="2541"/>
                </a:lnTo>
                <a:lnTo>
                  <a:pt x="15043" y="2541"/>
                </a:lnTo>
                <a:lnTo>
                  <a:pt x="15043" y="2965"/>
                </a:lnTo>
                <a:lnTo>
                  <a:pt x="15429" y="3812"/>
                </a:lnTo>
                <a:lnTo>
                  <a:pt x="15429" y="5506"/>
                </a:lnTo>
                <a:lnTo>
                  <a:pt x="16200" y="5506"/>
                </a:lnTo>
                <a:lnTo>
                  <a:pt x="16200" y="5929"/>
                </a:lnTo>
                <a:lnTo>
                  <a:pt x="16971" y="6776"/>
                </a:lnTo>
                <a:lnTo>
                  <a:pt x="17743" y="8471"/>
                </a:lnTo>
                <a:lnTo>
                  <a:pt x="18129" y="8894"/>
                </a:lnTo>
                <a:lnTo>
                  <a:pt x="18900" y="8894"/>
                </a:lnTo>
                <a:lnTo>
                  <a:pt x="18900" y="9741"/>
                </a:lnTo>
                <a:lnTo>
                  <a:pt x="19671" y="9741"/>
                </a:lnTo>
                <a:lnTo>
                  <a:pt x="20443" y="10588"/>
                </a:lnTo>
                <a:lnTo>
                  <a:pt x="20829" y="10588"/>
                </a:lnTo>
                <a:lnTo>
                  <a:pt x="20829" y="11435"/>
                </a:lnTo>
                <a:lnTo>
                  <a:pt x="21600" y="11435"/>
                </a:lnTo>
                <a:lnTo>
                  <a:pt x="20829" y="11859"/>
                </a:lnTo>
                <a:lnTo>
                  <a:pt x="20443" y="11859"/>
                </a:lnTo>
                <a:lnTo>
                  <a:pt x="20443" y="11435"/>
                </a:lnTo>
                <a:lnTo>
                  <a:pt x="19671" y="11435"/>
                </a:lnTo>
                <a:lnTo>
                  <a:pt x="19671" y="11859"/>
                </a:lnTo>
                <a:lnTo>
                  <a:pt x="18900" y="11859"/>
                </a:lnTo>
                <a:lnTo>
                  <a:pt x="18900" y="14824"/>
                </a:lnTo>
                <a:lnTo>
                  <a:pt x="19671" y="14824"/>
                </a:lnTo>
                <a:lnTo>
                  <a:pt x="19671" y="15671"/>
                </a:lnTo>
                <a:lnTo>
                  <a:pt x="20443" y="15671"/>
                </a:lnTo>
                <a:lnTo>
                  <a:pt x="20443" y="16518"/>
                </a:lnTo>
                <a:lnTo>
                  <a:pt x="18900" y="16518"/>
                </a:lnTo>
                <a:lnTo>
                  <a:pt x="18900" y="17365"/>
                </a:lnTo>
                <a:lnTo>
                  <a:pt x="19671" y="17365"/>
                </a:lnTo>
                <a:lnTo>
                  <a:pt x="19671" y="18635"/>
                </a:lnTo>
                <a:lnTo>
                  <a:pt x="18900" y="18635"/>
                </a:lnTo>
                <a:lnTo>
                  <a:pt x="18900" y="19482"/>
                </a:lnTo>
                <a:lnTo>
                  <a:pt x="18129" y="19482"/>
                </a:lnTo>
                <a:lnTo>
                  <a:pt x="18129" y="20329"/>
                </a:lnTo>
                <a:lnTo>
                  <a:pt x="17743" y="20329"/>
                </a:lnTo>
                <a:lnTo>
                  <a:pt x="17743" y="17788"/>
                </a:lnTo>
                <a:lnTo>
                  <a:pt x="16971" y="17788"/>
                </a:lnTo>
                <a:lnTo>
                  <a:pt x="16971" y="17365"/>
                </a:lnTo>
                <a:lnTo>
                  <a:pt x="15429" y="17365"/>
                </a:lnTo>
                <a:lnTo>
                  <a:pt x="15429" y="17788"/>
                </a:lnTo>
                <a:lnTo>
                  <a:pt x="16200" y="17788"/>
                </a:lnTo>
                <a:lnTo>
                  <a:pt x="16200" y="18635"/>
                </a:lnTo>
                <a:lnTo>
                  <a:pt x="16971" y="19482"/>
                </a:lnTo>
                <a:lnTo>
                  <a:pt x="15429" y="19482"/>
                </a:lnTo>
                <a:lnTo>
                  <a:pt x="15429" y="18635"/>
                </a:lnTo>
                <a:lnTo>
                  <a:pt x="14271" y="18635"/>
                </a:lnTo>
                <a:lnTo>
                  <a:pt x="14271" y="15671"/>
                </a:lnTo>
                <a:lnTo>
                  <a:pt x="15043" y="15671"/>
                </a:lnTo>
                <a:lnTo>
                  <a:pt x="13500" y="14400"/>
                </a:lnTo>
                <a:lnTo>
                  <a:pt x="13500" y="13553"/>
                </a:lnTo>
                <a:lnTo>
                  <a:pt x="12729" y="13553"/>
                </a:lnTo>
                <a:lnTo>
                  <a:pt x="12343" y="12706"/>
                </a:lnTo>
                <a:lnTo>
                  <a:pt x="11571" y="12706"/>
                </a:lnTo>
                <a:lnTo>
                  <a:pt x="10800" y="11859"/>
                </a:lnTo>
                <a:lnTo>
                  <a:pt x="10414" y="11859"/>
                </a:lnTo>
                <a:lnTo>
                  <a:pt x="9643" y="11435"/>
                </a:lnTo>
                <a:lnTo>
                  <a:pt x="8100" y="11435"/>
                </a:lnTo>
                <a:lnTo>
                  <a:pt x="8100" y="8894"/>
                </a:lnTo>
                <a:lnTo>
                  <a:pt x="7714" y="8471"/>
                </a:lnTo>
                <a:lnTo>
                  <a:pt x="6943" y="8471"/>
                </a:lnTo>
                <a:lnTo>
                  <a:pt x="6171" y="7624"/>
                </a:lnTo>
                <a:lnTo>
                  <a:pt x="5400" y="7624"/>
                </a:lnTo>
                <a:lnTo>
                  <a:pt x="5014" y="6776"/>
                </a:lnTo>
                <a:lnTo>
                  <a:pt x="5014" y="7624"/>
                </a:lnTo>
                <a:lnTo>
                  <a:pt x="5400" y="7624"/>
                </a:lnTo>
                <a:lnTo>
                  <a:pt x="5400" y="8894"/>
                </a:lnTo>
                <a:lnTo>
                  <a:pt x="6943" y="8894"/>
                </a:lnTo>
                <a:lnTo>
                  <a:pt x="6943" y="9741"/>
                </a:lnTo>
                <a:lnTo>
                  <a:pt x="6171" y="9741"/>
                </a:lnTo>
                <a:lnTo>
                  <a:pt x="6171" y="10588"/>
                </a:lnTo>
                <a:lnTo>
                  <a:pt x="5400" y="11435"/>
                </a:lnTo>
                <a:lnTo>
                  <a:pt x="5014" y="11435"/>
                </a:lnTo>
                <a:lnTo>
                  <a:pt x="5014" y="10588"/>
                </a:lnTo>
                <a:lnTo>
                  <a:pt x="4243" y="9741"/>
                </a:lnTo>
                <a:lnTo>
                  <a:pt x="3471" y="9741"/>
                </a:lnTo>
                <a:lnTo>
                  <a:pt x="2700" y="8894"/>
                </a:lnTo>
                <a:lnTo>
                  <a:pt x="2314" y="8894"/>
                </a:lnTo>
                <a:lnTo>
                  <a:pt x="1543" y="8471"/>
                </a:lnTo>
                <a:lnTo>
                  <a:pt x="1543" y="4659"/>
                </a:lnTo>
                <a:lnTo>
                  <a:pt x="2314" y="4659"/>
                </a:lnTo>
                <a:lnTo>
                  <a:pt x="2314" y="2965"/>
                </a:lnTo>
                <a:lnTo>
                  <a:pt x="1543" y="2541"/>
                </a:lnTo>
                <a:lnTo>
                  <a:pt x="0" y="2541"/>
                </a:lnTo>
                <a:lnTo>
                  <a:pt x="0" y="1694"/>
                </a:lnTo>
                <a:lnTo>
                  <a:pt x="1543" y="1694"/>
                </a:lnTo>
                <a:lnTo>
                  <a:pt x="1543" y="847"/>
                </a:lnTo>
                <a:lnTo>
                  <a:pt x="2314" y="847"/>
                </a:lnTo>
                <a:lnTo>
                  <a:pt x="2314" y="0"/>
                </a:lnTo>
                <a:close/>
                <a:moveTo>
                  <a:pt x="2314" y="0"/>
                </a:moveTo>
              </a:path>
            </a:pathLst>
          </a:custGeom>
          <a:solidFill>
            <a:srgbClr val="00BACF">
              <a:alpha val="50000"/>
            </a:srgbClr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sp>
        <p:nvSpPr>
          <p:cNvPr id="123" name="Freeform 44"/>
          <p:cNvSpPr>
            <a:spLocks/>
          </p:cNvSpPr>
          <p:nvPr/>
        </p:nvSpPr>
        <p:spPr bwMode="auto">
          <a:xfrm>
            <a:off x="7306134" y="2734406"/>
            <a:ext cx="65704" cy="1062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9800" y="0"/>
              </a:cxn>
              <a:cxn ang="0">
                <a:pos x="19800" y="2700"/>
              </a:cxn>
              <a:cxn ang="0">
                <a:pos x="21600" y="2700"/>
              </a:cxn>
              <a:cxn ang="0">
                <a:pos x="21600" y="13500"/>
              </a:cxn>
              <a:cxn ang="0">
                <a:pos x="19800" y="13500"/>
              </a:cxn>
              <a:cxn ang="0">
                <a:pos x="19800" y="18900"/>
              </a:cxn>
              <a:cxn ang="0">
                <a:pos x="17100" y="18900"/>
              </a:cxn>
              <a:cxn ang="0">
                <a:pos x="17100" y="21600"/>
              </a:cxn>
              <a:cxn ang="0">
                <a:pos x="0" y="2160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19800" y="0"/>
                </a:lnTo>
                <a:lnTo>
                  <a:pt x="19800" y="2700"/>
                </a:lnTo>
                <a:lnTo>
                  <a:pt x="21600" y="2700"/>
                </a:lnTo>
                <a:lnTo>
                  <a:pt x="21600" y="13500"/>
                </a:lnTo>
                <a:lnTo>
                  <a:pt x="19800" y="13500"/>
                </a:lnTo>
                <a:lnTo>
                  <a:pt x="19800" y="18900"/>
                </a:lnTo>
                <a:lnTo>
                  <a:pt x="17100" y="18900"/>
                </a:lnTo>
                <a:lnTo>
                  <a:pt x="17100" y="21600"/>
                </a:lnTo>
                <a:lnTo>
                  <a:pt x="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rgbClr val="00BACF"/>
          </a:solidFill>
          <a:ln w="12700" cap="flat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662" b="0" kern="0" dirty="0">
              <a:solidFill>
                <a:sysClr val="windowText" lastClr="000000"/>
              </a:solidFill>
              <a:latin typeface="+mn-lt"/>
              <a:ea typeface="ヒラギノ角ゴ ProN W3"/>
            </a:endParaRPr>
          </a:p>
        </p:txBody>
      </p:sp>
      <p:grpSp>
        <p:nvGrpSpPr>
          <p:cNvPr id="124" name="Group 70"/>
          <p:cNvGrpSpPr>
            <a:grpSpLocks/>
          </p:cNvGrpSpPr>
          <p:nvPr/>
        </p:nvGrpSpPr>
        <p:grpSpPr bwMode="auto">
          <a:xfrm>
            <a:off x="6234568" y="2438486"/>
            <a:ext cx="1818196" cy="1842559"/>
            <a:chOff x="0" y="0"/>
            <a:chExt cx="1521" cy="2253"/>
          </a:xfrm>
        </p:grpSpPr>
        <p:sp>
          <p:nvSpPr>
            <p:cNvPr id="128" name="Freeform 45"/>
            <p:cNvSpPr>
              <a:spLocks/>
            </p:cNvSpPr>
            <p:nvPr/>
          </p:nvSpPr>
          <p:spPr bwMode="auto">
            <a:xfrm>
              <a:off x="1264" y="868"/>
              <a:ext cx="165" cy="167"/>
            </a:xfrm>
            <a:custGeom>
              <a:avLst/>
              <a:gdLst/>
              <a:ahLst/>
              <a:cxnLst>
                <a:cxn ang="0">
                  <a:pos x="6218" y="0"/>
                </a:cxn>
                <a:cxn ang="0">
                  <a:pos x="9164" y="655"/>
                </a:cxn>
                <a:cxn ang="0">
                  <a:pos x="10800" y="1309"/>
                </a:cxn>
                <a:cxn ang="0">
                  <a:pos x="11455" y="1636"/>
                </a:cxn>
                <a:cxn ang="0">
                  <a:pos x="12109" y="655"/>
                </a:cxn>
                <a:cxn ang="0">
                  <a:pos x="13091" y="0"/>
                </a:cxn>
                <a:cxn ang="0">
                  <a:pos x="15382" y="655"/>
                </a:cxn>
                <a:cxn ang="0">
                  <a:pos x="17673" y="0"/>
                </a:cxn>
                <a:cxn ang="0">
                  <a:pos x="20618" y="655"/>
                </a:cxn>
                <a:cxn ang="0">
                  <a:pos x="21600" y="1309"/>
                </a:cxn>
                <a:cxn ang="0">
                  <a:pos x="21273" y="1636"/>
                </a:cxn>
                <a:cxn ang="0">
                  <a:pos x="20618" y="3600"/>
                </a:cxn>
                <a:cxn ang="0">
                  <a:pos x="19636" y="5236"/>
                </a:cxn>
                <a:cxn ang="0">
                  <a:pos x="18982" y="6218"/>
                </a:cxn>
                <a:cxn ang="0">
                  <a:pos x="19636" y="8509"/>
                </a:cxn>
                <a:cxn ang="0">
                  <a:pos x="19964" y="10473"/>
                </a:cxn>
                <a:cxn ang="0">
                  <a:pos x="20618" y="11455"/>
                </a:cxn>
                <a:cxn ang="0">
                  <a:pos x="21273" y="12764"/>
                </a:cxn>
                <a:cxn ang="0">
                  <a:pos x="21600" y="13745"/>
                </a:cxn>
                <a:cxn ang="0">
                  <a:pos x="21273" y="16691"/>
                </a:cxn>
                <a:cxn ang="0">
                  <a:pos x="19964" y="17345"/>
                </a:cxn>
                <a:cxn ang="0">
                  <a:pos x="19636" y="17673"/>
                </a:cxn>
                <a:cxn ang="0">
                  <a:pos x="18982" y="18982"/>
                </a:cxn>
                <a:cxn ang="0">
                  <a:pos x="18327" y="18982"/>
                </a:cxn>
                <a:cxn ang="0">
                  <a:pos x="17673" y="18327"/>
                </a:cxn>
                <a:cxn ang="0">
                  <a:pos x="16691" y="17673"/>
                </a:cxn>
                <a:cxn ang="0">
                  <a:pos x="16036" y="18327"/>
                </a:cxn>
                <a:cxn ang="0">
                  <a:pos x="15055" y="18982"/>
                </a:cxn>
                <a:cxn ang="0">
                  <a:pos x="12109" y="18327"/>
                </a:cxn>
                <a:cxn ang="0">
                  <a:pos x="11455" y="18982"/>
                </a:cxn>
                <a:cxn ang="0">
                  <a:pos x="10800" y="20618"/>
                </a:cxn>
                <a:cxn ang="0">
                  <a:pos x="11455" y="21600"/>
                </a:cxn>
                <a:cxn ang="0">
                  <a:pos x="9164" y="21273"/>
                </a:cxn>
                <a:cxn ang="0">
                  <a:pos x="8182" y="20618"/>
                </a:cxn>
                <a:cxn ang="0">
                  <a:pos x="6873" y="19636"/>
                </a:cxn>
                <a:cxn ang="0">
                  <a:pos x="6218" y="18327"/>
                </a:cxn>
                <a:cxn ang="0">
                  <a:pos x="5891" y="17345"/>
                </a:cxn>
                <a:cxn ang="0">
                  <a:pos x="5236" y="16036"/>
                </a:cxn>
                <a:cxn ang="0">
                  <a:pos x="4582" y="13745"/>
                </a:cxn>
                <a:cxn ang="0">
                  <a:pos x="2291" y="12764"/>
                </a:cxn>
                <a:cxn ang="0">
                  <a:pos x="1309" y="11455"/>
                </a:cxn>
                <a:cxn ang="0">
                  <a:pos x="655" y="10473"/>
                </a:cxn>
                <a:cxn ang="0">
                  <a:pos x="1309" y="8509"/>
                </a:cxn>
                <a:cxn ang="0">
                  <a:pos x="1636" y="8182"/>
                </a:cxn>
                <a:cxn ang="0">
                  <a:pos x="1309" y="6873"/>
                </a:cxn>
                <a:cxn ang="0">
                  <a:pos x="1636" y="6218"/>
                </a:cxn>
                <a:cxn ang="0">
                  <a:pos x="4582" y="5236"/>
                </a:cxn>
                <a:cxn ang="0">
                  <a:pos x="5236" y="1636"/>
                </a:cxn>
                <a:cxn ang="0">
                  <a:pos x="5891" y="655"/>
                </a:cxn>
                <a:cxn ang="0">
                  <a:pos x="5891" y="0"/>
                </a:cxn>
              </a:cxnLst>
              <a:rect l="0" t="0" r="r" b="b"/>
              <a:pathLst>
                <a:path w="21600" h="21600">
                  <a:moveTo>
                    <a:pt x="5891" y="0"/>
                  </a:moveTo>
                  <a:lnTo>
                    <a:pt x="6218" y="0"/>
                  </a:lnTo>
                  <a:lnTo>
                    <a:pt x="6873" y="655"/>
                  </a:lnTo>
                  <a:lnTo>
                    <a:pt x="9164" y="655"/>
                  </a:lnTo>
                  <a:lnTo>
                    <a:pt x="9818" y="1309"/>
                  </a:lnTo>
                  <a:lnTo>
                    <a:pt x="10800" y="1309"/>
                  </a:lnTo>
                  <a:lnTo>
                    <a:pt x="10800" y="1636"/>
                  </a:lnTo>
                  <a:lnTo>
                    <a:pt x="11455" y="1636"/>
                  </a:lnTo>
                  <a:lnTo>
                    <a:pt x="11455" y="655"/>
                  </a:lnTo>
                  <a:lnTo>
                    <a:pt x="12109" y="655"/>
                  </a:lnTo>
                  <a:lnTo>
                    <a:pt x="12764" y="0"/>
                  </a:lnTo>
                  <a:lnTo>
                    <a:pt x="13091" y="0"/>
                  </a:lnTo>
                  <a:lnTo>
                    <a:pt x="13745" y="655"/>
                  </a:lnTo>
                  <a:lnTo>
                    <a:pt x="15382" y="655"/>
                  </a:lnTo>
                  <a:lnTo>
                    <a:pt x="15382" y="0"/>
                  </a:lnTo>
                  <a:lnTo>
                    <a:pt x="17673" y="0"/>
                  </a:lnTo>
                  <a:lnTo>
                    <a:pt x="18327" y="655"/>
                  </a:lnTo>
                  <a:lnTo>
                    <a:pt x="20618" y="655"/>
                  </a:lnTo>
                  <a:lnTo>
                    <a:pt x="21273" y="1309"/>
                  </a:lnTo>
                  <a:lnTo>
                    <a:pt x="21600" y="1309"/>
                  </a:lnTo>
                  <a:lnTo>
                    <a:pt x="21600" y="1636"/>
                  </a:lnTo>
                  <a:lnTo>
                    <a:pt x="21273" y="1636"/>
                  </a:lnTo>
                  <a:lnTo>
                    <a:pt x="21273" y="3600"/>
                  </a:lnTo>
                  <a:lnTo>
                    <a:pt x="20618" y="3600"/>
                  </a:lnTo>
                  <a:lnTo>
                    <a:pt x="19636" y="4582"/>
                  </a:lnTo>
                  <a:lnTo>
                    <a:pt x="19636" y="5236"/>
                  </a:lnTo>
                  <a:lnTo>
                    <a:pt x="18982" y="5891"/>
                  </a:lnTo>
                  <a:lnTo>
                    <a:pt x="18982" y="6218"/>
                  </a:lnTo>
                  <a:lnTo>
                    <a:pt x="19636" y="6218"/>
                  </a:lnTo>
                  <a:lnTo>
                    <a:pt x="19636" y="8509"/>
                  </a:lnTo>
                  <a:lnTo>
                    <a:pt x="19964" y="9164"/>
                  </a:lnTo>
                  <a:lnTo>
                    <a:pt x="19964" y="10473"/>
                  </a:lnTo>
                  <a:lnTo>
                    <a:pt x="20618" y="10473"/>
                  </a:lnTo>
                  <a:lnTo>
                    <a:pt x="20618" y="11455"/>
                  </a:lnTo>
                  <a:lnTo>
                    <a:pt x="21273" y="12109"/>
                  </a:lnTo>
                  <a:lnTo>
                    <a:pt x="21273" y="12764"/>
                  </a:lnTo>
                  <a:lnTo>
                    <a:pt x="21600" y="12764"/>
                  </a:lnTo>
                  <a:lnTo>
                    <a:pt x="21600" y="13745"/>
                  </a:lnTo>
                  <a:lnTo>
                    <a:pt x="21273" y="13745"/>
                  </a:lnTo>
                  <a:lnTo>
                    <a:pt x="21273" y="16691"/>
                  </a:lnTo>
                  <a:lnTo>
                    <a:pt x="20618" y="16691"/>
                  </a:lnTo>
                  <a:lnTo>
                    <a:pt x="19964" y="17345"/>
                  </a:lnTo>
                  <a:lnTo>
                    <a:pt x="19964" y="17673"/>
                  </a:lnTo>
                  <a:lnTo>
                    <a:pt x="19636" y="17673"/>
                  </a:lnTo>
                  <a:lnTo>
                    <a:pt x="19636" y="18982"/>
                  </a:lnTo>
                  <a:lnTo>
                    <a:pt x="18982" y="18982"/>
                  </a:lnTo>
                  <a:lnTo>
                    <a:pt x="18327" y="19636"/>
                  </a:lnTo>
                  <a:lnTo>
                    <a:pt x="18327" y="18982"/>
                  </a:lnTo>
                  <a:lnTo>
                    <a:pt x="17673" y="18982"/>
                  </a:lnTo>
                  <a:lnTo>
                    <a:pt x="17673" y="18327"/>
                  </a:lnTo>
                  <a:lnTo>
                    <a:pt x="16691" y="18327"/>
                  </a:lnTo>
                  <a:lnTo>
                    <a:pt x="16691" y="17673"/>
                  </a:lnTo>
                  <a:lnTo>
                    <a:pt x="16036" y="17673"/>
                  </a:lnTo>
                  <a:lnTo>
                    <a:pt x="16036" y="18327"/>
                  </a:lnTo>
                  <a:lnTo>
                    <a:pt x="15055" y="18327"/>
                  </a:lnTo>
                  <a:lnTo>
                    <a:pt x="15055" y="18982"/>
                  </a:lnTo>
                  <a:lnTo>
                    <a:pt x="12109" y="18982"/>
                  </a:lnTo>
                  <a:lnTo>
                    <a:pt x="12109" y="18327"/>
                  </a:lnTo>
                  <a:lnTo>
                    <a:pt x="11455" y="18327"/>
                  </a:lnTo>
                  <a:lnTo>
                    <a:pt x="11455" y="18982"/>
                  </a:lnTo>
                  <a:lnTo>
                    <a:pt x="10800" y="18982"/>
                  </a:lnTo>
                  <a:lnTo>
                    <a:pt x="10800" y="20618"/>
                  </a:lnTo>
                  <a:lnTo>
                    <a:pt x="11455" y="20618"/>
                  </a:lnTo>
                  <a:lnTo>
                    <a:pt x="11455" y="21600"/>
                  </a:lnTo>
                  <a:lnTo>
                    <a:pt x="9164" y="21600"/>
                  </a:lnTo>
                  <a:lnTo>
                    <a:pt x="9164" y="21273"/>
                  </a:lnTo>
                  <a:lnTo>
                    <a:pt x="8182" y="21273"/>
                  </a:lnTo>
                  <a:lnTo>
                    <a:pt x="8182" y="20618"/>
                  </a:lnTo>
                  <a:lnTo>
                    <a:pt x="6873" y="20618"/>
                  </a:lnTo>
                  <a:lnTo>
                    <a:pt x="6873" y="19636"/>
                  </a:lnTo>
                  <a:lnTo>
                    <a:pt x="6218" y="19636"/>
                  </a:lnTo>
                  <a:lnTo>
                    <a:pt x="6218" y="18327"/>
                  </a:lnTo>
                  <a:lnTo>
                    <a:pt x="5891" y="18327"/>
                  </a:lnTo>
                  <a:lnTo>
                    <a:pt x="5891" y="17345"/>
                  </a:lnTo>
                  <a:lnTo>
                    <a:pt x="5236" y="17345"/>
                  </a:lnTo>
                  <a:lnTo>
                    <a:pt x="5236" y="16036"/>
                  </a:lnTo>
                  <a:lnTo>
                    <a:pt x="4582" y="16036"/>
                  </a:lnTo>
                  <a:lnTo>
                    <a:pt x="4582" y="13745"/>
                  </a:lnTo>
                  <a:lnTo>
                    <a:pt x="2291" y="13745"/>
                  </a:lnTo>
                  <a:lnTo>
                    <a:pt x="2291" y="12764"/>
                  </a:lnTo>
                  <a:lnTo>
                    <a:pt x="1309" y="12764"/>
                  </a:lnTo>
                  <a:lnTo>
                    <a:pt x="1309" y="11455"/>
                  </a:lnTo>
                  <a:lnTo>
                    <a:pt x="655" y="11455"/>
                  </a:lnTo>
                  <a:lnTo>
                    <a:pt x="655" y="10473"/>
                  </a:lnTo>
                  <a:lnTo>
                    <a:pt x="0" y="9818"/>
                  </a:lnTo>
                  <a:lnTo>
                    <a:pt x="1309" y="8509"/>
                  </a:lnTo>
                  <a:lnTo>
                    <a:pt x="1309" y="8182"/>
                  </a:lnTo>
                  <a:lnTo>
                    <a:pt x="1636" y="8182"/>
                  </a:lnTo>
                  <a:lnTo>
                    <a:pt x="1636" y="6873"/>
                  </a:lnTo>
                  <a:lnTo>
                    <a:pt x="1309" y="6873"/>
                  </a:lnTo>
                  <a:lnTo>
                    <a:pt x="1309" y="6218"/>
                  </a:lnTo>
                  <a:lnTo>
                    <a:pt x="1636" y="6218"/>
                  </a:lnTo>
                  <a:lnTo>
                    <a:pt x="1636" y="5236"/>
                  </a:lnTo>
                  <a:lnTo>
                    <a:pt x="4582" y="5236"/>
                  </a:lnTo>
                  <a:lnTo>
                    <a:pt x="4582" y="2291"/>
                  </a:lnTo>
                  <a:lnTo>
                    <a:pt x="5236" y="1636"/>
                  </a:lnTo>
                  <a:lnTo>
                    <a:pt x="5236" y="655"/>
                  </a:lnTo>
                  <a:lnTo>
                    <a:pt x="5891" y="655"/>
                  </a:lnTo>
                  <a:lnTo>
                    <a:pt x="5891" y="0"/>
                  </a:lnTo>
                  <a:close/>
                  <a:moveTo>
                    <a:pt x="5891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29" name="Freeform 46"/>
            <p:cNvSpPr>
              <a:spLocks/>
            </p:cNvSpPr>
            <p:nvPr/>
          </p:nvSpPr>
          <p:spPr bwMode="auto">
            <a:xfrm>
              <a:off x="1085" y="1898"/>
              <a:ext cx="338" cy="355"/>
            </a:xfrm>
            <a:custGeom>
              <a:avLst/>
              <a:gdLst/>
              <a:ahLst/>
              <a:cxnLst>
                <a:cxn ang="0">
                  <a:pos x="8704" y="153"/>
                </a:cxn>
                <a:cxn ang="0">
                  <a:pos x="9188" y="153"/>
                </a:cxn>
                <a:cxn ang="0">
                  <a:pos x="10316" y="766"/>
                </a:cxn>
                <a:cxn ang="0">
                  <a:pos x="11122" y="1226"/>
                </a:cxn>
                <a:cxn ang="0">
                  <a:pos x="11445" y="2604"/>
                </a:cxn>
                <a:cxn ang="0">
                  <a:pos x="12090" y="3370"/>
                </a:cxn>
                <a:cxn ang="0">
                  <a:pos x="12090" y="6894"/>
                </a:cxn>
                <a:cxn ang="0">
                  <a:pos x="13379" y="7660"/>
                </a:cxn>
                <a:cxn ang="0">
                  <a:pos x="14830" y="7660"/>
                </a:cxn>
                <a:cxn ang="0">
                  <a:pos x="15636" y="7200"/>
                </a:cxn>
                <a:cxn ang="0">
                  <a:pos x="16281" y="7660"/>
                </a:cxn>
                <a:cxn ang="0">
                  <a:pos x="17731" y="8426"/>
                </a:cxn>
                <a:cxn ang="0">
                  <a:pos x="18215" y="11643"/>
                </a:cxn>
                <a:cxn ang="0">
                  <a:pos x="19343" y="11949"/>
                </a:cxn>
                <a:cxn ang="0">
                  <a:pos x="21278" y="12562"/>
                </a:cxn>
                <a:cxn ang="0">
                  <a:pos x="21278" y="14094"/>
                </a:cxn>
                <a:cxn ang="0">
                  <a:pos x="20794" y="15472"/>
                </a:cxn>
                <a:cxn ang="0">
                  <a:pos x="20149" y="17617"/>
                </a:cxn>
                <a:cxn ang="0">
                  <a:pos x="20149" y="18383"/>
                </a:cxn>
                <a:cxn ang="0">
                  <a:pos x="19343" y="19149"/>
                </a:cxn>
                <a:cxn ang="0">
                  <a:pos x="18537" y="19915"/>
                </a:cxn>
                <a:cxn ang="0">
                  <a:pos x="17731" y="20834"/>
                </a:cxn>
                <a:cxn ang="0">
                  <a:pos x="16281" y="21294"/>
                </a:cxn>
                <a:cxn ang="0">
                  <a:pos x="15475" y="21294"/>
                </a:cxn>
                <a:cxn ang="0">
                  <a:pos x="13379" y="21294"/>
                </a:cxn>
                <a:cxn ang="0">
                  <a:pos x="9994" y="20834"/>
                </a:cxn>
                <a:cxn ang="0">
                  <a:pos x="11122" y="18689"/>
                </a:cxn>
                <a:cxn ang="0">
                  <a:pos x="11767" y="17617"/>
                </a:cxn>
                <a:cxn ang="0">
                  <a:pos x="12251" y="16851"/>
                </a:cxn>
                <a:cxn ang="0">
                  <a:pos x="12896" y="15779"/>
                </a:cxn>
                <a:cxn ang="0">
                  <a:pos x="11122" y="14860"/>
                </a:cxn>
                <a:cxn ang="0">
                  <a:pos x="9994" y="14400"/>
                </a:cxn>
                <a:cxn ang="0">
                  <a:pos x="8382" y="13328"/>
                </a:cxn>
                <a:cxn ang="0">
                  <a:pos x="7737" y="12715"/>
                </a:cxn>
                <a:cxn ang="0">
                  <a:pos x="6609" y="12255"/>
                </a:cxn>
                <a:cxn ang="0">
                  <a:pos x="4191" y="11643"/>
                </a:cxn>
                <a:cxn ang="0">
                  <a:pos x="3385" y="11183"/>
                </a:cxn>
                <a:cxn ang="0">
                  <a:pos x="2740" y="10417"/>
                </a:cxn>
                <a:cxn ang="0">
                  <a:pos x="1934" y="9804"/>
                </a:cxn>
                <a:cxn ang="0">
                  <a:pos x="1290" y="9038"/>
                </a:cxn>
                <a:cxn ang="0">
                  <a:pos x="484" y="7966"/>
                </a:cxn>
                <a:cxn ang="0">
                  <a:pos x="0" y="6894"/>
                </a:cxn>
                <a:cxn ang="0">
                  <a:pos x="484" y="5055"/>
                </a:cxn>
                <a:cxn ang="0">
                  <a:pos x="1128" y="2911"/>
                </a:cxn>
                <a:cxn ang="0">
                  <a:pos x="1612" y="2145"/>
                </a:cxn>
                <a:cxn ang="0">
                  <a:pos x="2257" y="1072"/>
                </a:cxn>
                <a:cxn ang="0">
                  <a:pos x="4513" y="460"/>
                </a:cxn>
                <a:cxn ang="0">
                  <a:pos x="7737" y="0"/>
                </a:cxn>
              </a:cxnLst>
              <a:rect l="0" t="0" r="r" b="b"/>
              <a:pathLst>
                <a:path w="21600" h="21600">
                  <a:moveTo>
                    <a:pt x="7737" y="0"/>
                  </a:moveTo>
                  <a:lnTo>
                    <a:pt x="8382" y="0"/>
                  </a:lnTo>
                  <a:lnTo>
                    <a:pt x="8382" y="153"/>
                  </a:lnTo>
                  <a:lnTo>
                    <a:pt x="8704" y="153"/>
                  </a:lnTo>
                  <a:lnTo>
                    <a:pt x="8704" y="0"/>
                  </a:lnTo>
                  <a:lnTo>
                    <a:pt x="8866" y="0"/>
                  </a:lnTo>
                  <a:lnTo>
                    <a:pt x="8866" y="153"/>
                  </a:lnTo>
                  <a:lnTo>
                    <a:pt x="9188" y="153"/>
                  </a:lnTo>
                  <a:lnTo>
                    <a:pt x="9510" y="460"/>
                  </a:lnTo>
                  <a:lnTo>
                    <a:pt x="9833" y="460"/>
                  </a:lnTo>
                  <a:lnTo>
                    <a:pt x="9994" y="766"/>
                  </a:lnTo>
                  <a:lnTo>
                    <a:pt x="10316" y="766"/>
                  </a:lnTo>
                  <a:lnTo>
                    <a:pt x="10316" y="1072"/>
                  </a:lnTo>
                  <a:lnTo>
                    <a:pt x="10639" y="1072"/>
                  </a:lnTo>
                  <a:lnTo>
                    <a:pt x="10639" y="1226"/>
                  </a:lnTo>
                  <a:lnTo>
                    <a:pt x="11122" y="1226"/>
                  </a:lnTo>
                  <a:lnTo>
                    <a:pt x="11445" y="1532"/>
                  </a:lnTo>
                  <a:lnTo>
                    <a:pt x="11445" y="2298"/>
                  </a:lnTo>
                  <a:lnTo>
                    <a:pt x="11122" y="2298"/>
                  </a:lnTo>
                  <a:lnTo>
                    <a:pt x="11445" y="2604"/>
                  </a:lnTo>
                  <a:lnTo>
                    <a:pt x="11445" y="3217"/>
                  </a:lnTo>
                  <a:lnTo>
                    <a:pt x="11767" y="3217"/>
                  </a:lnTo>
                  <a:lnTo>
                    <a:pt x="11767" y="3370"/>
                  </a:lnTo>
                  <a:lnTo>
                    <a:pt x="12090" y="3370"/>
                  </a:lnTo>
                  <a:lnTo>
                    <a:pt x="12090" y="4289"/>
                  </a:lnTo>
                  <a:lnTo>
                    <a:pt x="12251" y="4443"/>
                  </a:lnTo>
                  <a:lnTo>
                    <a:pt x="12090" y="4749"/>
                  </a:lnTo>
                  <a:lnTo>
                    <a:pt x="12090" y="6894"/>
                  </a:lnTo>
                  <a:lnTo>
                    <a:pt x="11767" y="6894"/>
                  </a:lnTo>
                  <a:lnTo>
                    <a:pt x="11767" y="7353"/>
                  </a:lnTo>
                  <a:lnTo>
                    <a:pt x="13218" y="7353"/>
                  </a:lnTo>
                  <a:lnTo>
                    <a:pt x="13379" y="7660"/>
                  </a:lnTo>
                  <a:lnTo>
                    <a:pt x="14346" y="7660"/>
                  </a:lnTo>
                  <a:lnTo>
                    <a:pt x="14507" y="7966"/>
                  </a:lnTo>
                  <a:lnTo>
                    <a:pt x="14830" y="7966"/>
                  </a:lnTo>
                  <a:lnTo>
                    <a:pt x="14830" y="7660"/>
                  </a:lnTo>
                  <a:lnTo>
                    <a:pt x="15152" y="7660"/>
                  </a:lnTo>
                  <a:lnTo>
                    <a:pt x="15152" y="7353"/>
                  </a:lnTo>
                  <a:lnTo>
                    <a:pt x="15636" y="7353"/>
                  </a:lnTo>
                  <a:lnTo>
                    <a:pt x="15636" y="7200"/>
                  </a:lnTo>
                  <a:lnTo>
                    <a:pt x="15958" y="7200"/>
                  </a:lnTo>
                  <a:lnTo>
                    <a:pt x="15958" y="7353"/>
                  </a:lnTo>
                  <a:lnTo>
                    <a:pt x="16281" y="7353"/>
                  </a:lnTo>
                  <a:lnTo>
                    <a:pt x="16281" y="7660"/>
                  </a:lnTo>
                  <a:lnTo>
                    <a:pt x="16603" y="7660"/>
                  </a:lnTo>
                  <a:lnTo>
                    <a:pt x="16764" y="7966"/>
                  </a:lnTo>
                  <a:lnTo>
                    <a:pt x="17731" y="7966"/>
                  </a:lnTo>
                  <a:lnTo>
                    <a:pt x="17731" y="8426"/>
                  </a:lnTo>
                  <a:lnTo>
                    <a:pt x="17893" y="8732"/>
                  </a:lnTo>
                  <a:lnTo>
                    <a:pt x="17893" y="10111"/>
                  </a:lnTo>
                  <a:lnTo>
                    <a:pt x="18215" y="10417"/>
                  </a:lnTo>
                  <a:lnTo>
                    <a:pt x="18215" y="11643"/>
                  </a:lnTo>
                  <a:lnTo>
                    <a:pt x="18537" y="11643"/>
                  </a:lnTo>
                  <a:lnTo>
                    <a:pt x="18537" y="12255"/>
                  </a:lnTo>
                  <a:lnTo>
                    <a:pt x="19343" y="12255"/>
                  </a:lnTo>
                  <a:lnTo>
                    <a:pt x="19343" y="11949"/>
                  </a:lnTo>
                  <a:lnTo>
                    <a:pt x="20472" y="11949"/>
                  </a:lnTo>
                  <a:lnTo>
                    <a:pt x="20472" y="12255"/>
                  </a:lnTo>
                  <a:lnTo>
                    <a:pt x="21600" y="12255"/>
                  </a:lnTo>
                  <a:lnTo>
                    <a:pt x="21278" y="12562"/>
                  </a:lnTo>
                  <a:lnTo>
                    <a:pt x="21278" y="13634"/>
                  </a:lnTo>
                  <a:lnTo>
                    <a:pt x="21116" y="13634"/>
                  </a:lnTo>
                  <a:lnTo>
                    <a:pt x="21116" y="13787"/>
                  </a:lnTo>
                  <a:lnTo>
                    <a:pt x="21278" y="14094"/>
                  </a:lnTo>
                  <a:lnTo>
                    <a:pt x="21278" y="14400"/>
                  </a:lnTo>
                  <a:lnTo>
                    <a:pt x="21116" y="14706"/>
                  </a:lnTo>
                  <a:lnTo>
                    <a:pt x="21116" y="15472"/>
                  </a:lnTo>
                  <a:lnTo>
                    <a:pt x="20794" y="15472"/>
                  </a:lnTo>
                  <a:lnTo>
                    <a:pt x="20794" y="16238"/>
                  </a:lnTo>
                  <a:lnTo>
                    <a:pt x="20472" y="16238"/>
                  </a:lnTo>
                  <a:lnTo>
                    <a:pt x="20472" y="17617"/>
                  </a:lnTo>
                  <a:lnTo>
                    <a:pt x="20149" y="17617"/>
                  </a:lnTo>
                  <a:lnTo>
                    <a:pt x="20149" y="17923"/>
                  </a:lnTo>
                  <a:lnTo>
                    <a:pt x="20472" y="18077"/>
                  </a:lnTo>
                  <a:lnTo>
                    <a:pt x="20472" y="18383"/>
                  </a:lnTo>
                  <a:lnTo>
                    <a:pt x="20149" y="18383"/>
                  </a:lnTo>
                  <a:lnTo>
                    <a:pt x="20149" y="18996"/>
                  </a:lnTo>
                  <a:lnTo>
                    <a:pt x="19988" y="18996"/>
                  </a:lnTo>
                  <a:lnTo>
                    <a:pt x="19988" y="19149"/>
                  </a:lnTo>
                  <a:lnTo>
                    <a:pt x="19343" y="19149"/>
                  </a:lnTo>
                  <a:lnTo>
                    <a:pt x="19343" y="19455"/>
                  </a:lnTo>
                  <a:lnTo>
                    <a:pt x="19021" y="19762"/>
                  </a:lnTo>
                  <a:lnTo>
                    <a:pt x="19021" y="19915"/>
                  </a:lnTo>
                  <a:lnTo>
                    <a:pt x="18537" y="19915"/>
                  </a:lnTo>
                  <a:lnTo>
                    <a:pt x="18537" y="20221"/>
                  </a:lnTo>
                  <a:lnTo>
                    <a:pt x="17893" y="20221"/>
                  </a:lnTo>
                  <a:lnTo>
                    <a:pt x="17893" y="20834"/>
                  </a:lnTo>
                  <a:lnTo>
                    <a:pt x="17731" y="20834"/>
                  </a:lnTo>
                  <a:lnTo>
                    <a:pt x="17731" y="20987"/>
                  </a:lnTo>
                  <a:lnTo>
                    <a:pt x="16603" y="20987"/>
                  </a:lnTo>
                  <a:lnTo>
                    <a:pt x="16603" y="21294"/>
                  </a:lnTo>
                  <a:lnTo>
                    <a:pt x="16281" y="21294"/>
                  </a:lnTo>
                  <a:lnTo>
                    <a:pt x="16281" y="21600"/>
                  </a:lnTo>
                  <a:lnTo>
                    <a:pt x="15636" y="21600"/>
                  </a:lnTo>
                  <a:lnTo>
                    <a:pt x="15636" y="21294"/>
                  </a:lnTo>
                  <a:lnTo>
                    <a:pt x="15475" y="21294"/>
                  </a:lnTo>
                  <a:lnTo>
                    <a:pt x="15152" y="20987"/>
                  </a:lnTo>
                  <a:lnTo>
                    <a:pt x="14830" y="20987"/>
                  </a:lnTo>
                  <a:lnTo>
                    <a:pt x="14830" y="21294"/>
                  </a:lnTo>
                  <a:lnTo>
                    <a:pt x="13379" y="21294"/>
                  </a:lnTo>
                  <a:lnTo>
                    <a:pt x="13218" y="20987"/>
                  </a:lnTo>
                  <a:lnTo>
                    <a:pt x="12896" y="20987"/>
                  </a:lnTo>
                  <a:lnTo>
                    <a:pt x="12573" y="20834"/>
                  </a:lnTo>
                  <a:lnTo>
                    <a:pt x="9994" y="20834"/>
                  </a:lnTo>
                  <a:lnTo>
                    <a:pt x="9994" y="20221"/>
                  </a:lnTo>
                  <a:lnTo>
                    <a:pt x="10316" y="20221"/>
                  </a:lnTo>
                  <a:lnTo>
                    <a:pt x="11122" y="19455"/>
                  </a:lnTo>
                  <a:lnTo>
                    <a:pt x="11122" y="18689"/>
                  </a:lnTo>
                  <a:lnTo>
                    <a:pt x="11445" y="18383"/>
                  </a:lnTo>
                  <a:lnTo>
                    <a:pt x="11445" y="18077"/>
                  </a:lnTo>
                  <a:lnTo>
                    <a:pt x="11767" y="17923"/>
                  </a:lnTo>
                  <a:lnTo>
                    <a:pt x="11767" y="17617"/>
                  </a:lnTo>
                  <a:lnTo>
                    <a:pt x="12090" y="17617"/>
                  </a:lnTo>
                  <a:lnTo>
                    <a:pt x="12090" y="17311"/>
                  </a:lnTo>
                  <a:lnTo>
                    <a:pt x="12251" y="17311"/>
                  </a:lnTo>
                  <a:lnTo>
                    <a:pt x="12251" y="16851"/>
                  </a:lnTo>
                  <a:lnTo>
                    <a:pt x="12573" y="16851"/>
                  </a:lnTo>
                  <a:lnTo>
                    <a:pt x="12573" y="16545"/>
                  </a:lnTo>
                  <a:lnTo>
                    <a:pt x="12896" y="16545"/>
                  </a:lnTo>
                  <a:lnTo>
                    <a:pt x="12896" y="15779"/>
                  </a:lnTo>
                  <a:lnTo>
                    <a:pt x="12573" y="15472"/>
                  </a:lnTo>
                  <a:lnTo>
                    <a:pt x="12090" y="15472"/>
                  </a:lnTo>
                  <a:lnTo>
                    <a:pt x="11445" y="14860"/>
                  </a:lnTo>
                  <a:lnTo>
                    <a:pt x="11122" y="14860"/>
                  </a:lnTo>
                  <a:lnTo>
                    <a:pt x="11122" y="14706"/>
                  </a:lnTo>
                  <a:lnTo>
                    <a:pt x="10639" y="14706"/>
                  </a:lnTo>
                  <a:lnTo>
                    <a:pt x="10639" y="14400"/>
                  </a:lnTo>
                  <a:lnTo>
                    <a:pt x="9994" y="14400"/>
                  </a:lnTo>
                  <a:lnTo>
                    <a:pt x="9510" y="14094"/>
                  </a:lnTo>
                  <a:lnTo>
                    <a:pt x="8866" y="13634"/>
                  </a:lnTo>
                  <a:lnTo>
                    <a:pt x="8704" y="13634"/>
                  </a:lnTo>
                  <a:lnTo>
                    <a:pt x="8382" y="13328"/>
                  </a:lnTo>
                  <a:lnTo>
                    <a:pt x="8060" y="13328"/>
                  </a:lnTo>
                  <a:lnTo>
                    <a:pt x="8060" y="13021"/>
                  </a:lnTo>
                  <a:lnTo>
                    <a:pt x="7737" y="13021"/>
                  </a:lnTo>
                  <a:lnTo>
                    <a:pt x="7737" y="12715"/>
                  </a:lnTo>
                  <a:lnTo>
                    <a:pt x="7254" y="12715"/>
                  </a:lnTo>
                  <a:lnTo>
                    <a:pt x="7254" y="12562"/>
                  </a:lnTo>
                  <a:lnTo>
                    <a:pt x="6931" y="12562"/>
                  </a:lnTo>
                  <a:lnTo>
                    <a:pt x="6609" y="12255"/>
                  </a:lnTo>
                  <a:lnTo>
                    <a:pt x="6125" y="12255"/>
                  </a:lnTo>
                  <a:lnTo>
                    <a:pt x="5803" y="11949"/>
                  </a:lnTo>
                  <a:lnTo>
                    <a:pt x="4513" y="11949"/>
                  </a:lnTo>
                  <a:lnTo>
                    <a:pt x="4191" y="11643"/>
                  </a:lnTo>
                  <a:lnTo>
                    <a:pt x="3869" y="11643"/>
                  </a:lnTo>
                  <a:lnTo>
                    <a:pt x="3546" y="11489"/>
                  </a:lnTo>
                  <a:lnTo>
                    <a:pt x="3546" y="11183"/>
                  </a:lnTo>
                  <a:lnTo>
                    <a:pt x="3385" y="11183"/>
                  </a:lnTo>
                  <a:lnTo>
                    <a:pt x="3385" y="10877"/>
                  </a:lnTo>
                  <a:lnTo>
                    <a:pt x="3063" y="10877"/>
                  </a:lnTo>
                  <a:lnTo>
                    <a:pt x="2740" y="10570"/>
                  </a:lnTo>
                  <a:lnTo>
                    <a:pt x="2740" y="10417"/>
                  </a:lnTo>
                  <a:lnTo>
                    <a:pt x="2418" y="10417"/>
                  </a:lnTo>
                  <a:lnTo>
                    <a:pt x="2257" y="10111"/>
                  </a:lnTo>
                  <a:lnTo>
                    <a:pt x="1934" y="10111"/>
                  </a:lnTo>
                  <a:lnTo>
                    <a:pt x="1934" y="9804"/>
                  </a:lnTo>
                  <a:lnTo>
                    <a:pt x="1612" y="9804"/>
                  </a:lnTo>
                  <a:lnTo>
                    <a:pt x="1612" y="9498"/>
                  </a:lnTo>
                  <a:lnTo>
                    <a:pt x="1290" y="9345"/>
                  </a:lnTo>
                  <a:lnTo>
                    <a:pt x="1290" y="9038"/>
                  </a:lnTo>
                  <a:lnTo>
                    <a:pt x="806" y="8426"/>
                  </a:lnTo>
                  <a:lnTo>
                    <a:pt x="806" y="8272"/>
                  </a:lnTo>
                  <a:lnTo>
                    <a:pt x="484" y="8272"/>
                  </a:lnTo>
                  <a:lnTo>
                    <a:pt x="484" y="7966"/>
                  </a:lnTo>
                  <a:lnTo>
                    <a:pt x="161" y="7966"/>
                  </a:lnTo>
                  <a:lnTo>
                    <a:pt x="161" y="7660"/>
                  </a:lnTo>
                  <a:lnTo>
                    <a:pt x="0" y="7660"/>
                  </a:lnTo>
                  <a:lnTo>
                    <a:pt x="0" y="6894"/>
                  </a:lnTo>
                  <a:lnTo>
                    <a:pt x="161" y="6587"/>
                  </a:lnTo>
                  <a:lnTo>
                    <a:pt x="161" y="5821"/>
                  </a:lnTo>
                  <a:lnTo>
                    <a:pt x="484" y="5821"/>
                  </a:lnTo>
                  <a:lnTo>
                    <a:pt x="484" y="5055"/>
                  </a:lnTo>
                  <a:lnTo>
                    <a:pt x="806" y="4749"/>
                  </a:lnTo>
                  <a:lnTo>
                    <a:pt x="806" y="3370"/>
                  </a:lnTo>
                  <a:lnTo>
                    <a:pt x="1128" y="3217"/>
                  </a:lnTo>
                  <a:lnTo>
                    <a:pt x="1128" y="2911"/>
                  </a:lnTo>
                  <a:lnTo>
                    <a:pt x="1290" y="2604"/>
                  </a:lnTo>
                  <a:lnTo>
                    <a:pt x="1290" y="2298"/>
                  </a:lnTo>
                  <a:lnTo>
                    <a:pt x="1612" y="2298"/>
                  </a:lnTo>
                  <a:lnTo>
                    <a:pt x="1612" y="2145"/>
                  </a:lnTo>
                  <a:lnTo>
                    <a:pt x="1934" y="2145"/>
                  </a:lnTo>
                  <a:lnTo>
                    <a:pt x="1934" y="1226"/>
                  </a:lnTo>
                  <a:lnTo>
                    <a:pt x="2257" y="1226"/>
                  </a:lnTo>
                  <a:lnTo>
                    <a:pt x="2257" y="1072"/>
                  </a:lnTo>
                  <a:lnTo>
                    <a:pt x="3063" y="1072"/>
                  </a:lnTo>
                  <a:lnTo>
                    <a:pt x="3385" y="766"/>
                  </a:lnTo>
                  <a:lnTo>
                    <a:pt x="4191" y="766"/>
                  </a:lnTo>
                  <a:lnTo>
                    <a:pt x="4513" y="460"/>
                  </a:lnTo>
                  <a:lnTo>
                    <a:pt x="5642" y="460"/>
                  </a:lnTo>
                  <a:lnTo>
                    <a:pt x="5803" y="153"/>
                  </a:lnTo>
                  <a:lnTo>
                    <a:pt x="7737" y="153"/>
                  </a:lnTo>
                  <a:lnTo>
                    <a:pt x="7737" y="0"/>
                  </a:lnTo>
                  <a:close/>
                  <a:moveTo>
                    <a:pt x="7737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30" name="AutoShape 47"/>
            <p:cNvSpPr>
              <a:spLocks/>
            </p:cNvSpPr>
            <p:nvPr/>
          </p:nvSpPr>
          <p:spPr bwMode="auto">
            <a:xfrm>
              <a:off x="1130" y="768"/>
              <a:ext cx="196" cy="293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2462" y="5538"/>
                  </a:moveTo>
                  <a:lnTo>
                    <a:pt x="11908" y="5723"/>
                  </a:lnTo>
                  <a:lnTo>
                    <a:pt x="11908" y="6092"/>
                  </a:lnTo>
                  <a:lnTo>
                    <a:pt x="12462" y="6092"/>
                  </a:lnTo>
                  <a:lnTo>
                    <a:pt x="12462" y="5538"/>
                  </a:lnTo>
                  <a:close/>
                  <a:moveTo>
                    <a:pt x="6092" y="0"/>
                  </a:moveTo>
                  <a:lnTo>
                    <a:pt x="6646" y="0"/>
                  </a:lnTo>
                  <a:lnTo>
                    <a:pt x="7754" y="738"/>
                  </a:lnTo>
                  <a:lnTo>
                    <a:pt x="8031" y="738"/>
                  </a:lnTo>
                  <a:lnTo>
                    <a:pt x="9138" y="1292"/>
                  </a:lnTo>
                  <a:lnTo>
                    <a:pt x="9969" y="1662"/>
                  </a:lnTo>
                  <a:lnTo>
                    <a:pt x="10523" y="1662"/>
                  </a:lnTo>
                  <a:lnTo>
                    <a:pt x="10523" y="1846"/>
                  </a:lnTo>
                  <a:lnTo>
                    <a:pt x="11631" y="2585"/>
                  </a:lnTo>
                  <a:lnTo>
                    <a:pt x="11908" y="2585"/>
                  </a:lnTo>
                  <a:lnTo>
                    <a:pt x="11908" y="2954"/>
                  </a:lnTo>
                  <a:lnTo>
                    <a:pt x="12462" y="3508"/>
                  </a:lnTo>
                  <a:lnTo>
                    <a:pt x="13015" y="3877"/>
                  </a:lnTo>
                  <a:lnTo>
                    <a:pt x="13015" y="4431"/>
                  </a:lnTo>
                  <a:lnTo>
                    <a:pt x="12462" y="4431"/>
                  </a:lnTo>
                  <a:lnTo>
                    <a:pt x="12462" y="5169"/>
                  </a:lnTo>
                  <a:lnTo>
                    <a:pt x="13015" y="4800"/>
                  </a:lnTo>
                  <a:lnTo>
                    <a:pt x="13846" y="4800"/>
                  </a:lnTo>
                  <a:lnTo>
                    <a:pt x="14400" y="5169"/>
                  </a:lnTo>
                  <a:lnTo>
                    <a:pt x="15508" y="5169"/>
                  </a:lnTo>
                  <a:lnTo>
                    <a:pt x="15508" y="5538"/>
                  </a:lnTo>
                  <a:lnTo>
                    <a:pt x="16338" y="6092"/>
                  </a:lnTo>
                  <a:lnTo>
                    <a:pt x="16338" y="6462"/>
                  </a:lnTo>
                  <a:lnTo>
                    <a:pt x="17723" y="6462"/>
                  </a:lnTo>
                  <a:lnTo>
                    <a:pt x="17723" y="6831"/>
                  </a:lnTo>
                  <a:lnTo>
                    <a:pt x="18277" y="6831"/>
                  </a:lnTo>
                  <a:lnTo>
                    <a:pt x="18277" y="7015"/>
                  </a:lnTo>
                  <a:lnTo>
                    <a:pt x="18831" y="7385"/>
                  </a:lnTo>
                  <a:lnTo>
                    <a:pt x="18831" y="8308"/>
                  </a:lnTo>
                  <a:lnTo>
                    <a:pt x="18277" y="8308"/>
                  </a:lnTo>
                  <a:lnTo>
                    <a:pt x="18277" y="10338"/>
                  </a:lnTo>
                  <a:lnTo>
                    <a:pt x="15785" y="10338"/>
                  </a:lnTo>
                  <a:lnTo>
                    <a:pt x="15785" y="10892"/>
                  </a:lnTo>
                  <a:lnTo>
                    <a:pt x="15508" y="10892"/>
                  </a:lnTo>
                  <a:lnTo>
                    <a:pt x="15508" y="11262"/>
                  </a:lnTo>
                  <a:lnTo>
                    <a:pt x="15785" y="11262"/>
                  </a:lnTo>
                  <a:lnTo>
                    <a:pt x="15785" y="11631"/>
                  </a:lnTo>
                  <a:lnTo>
                    <a:pt x="15508" y="11631"/>
                  </a:lnTo>
                  <a:lnTo>
                    <a:pt x="15508" y="12185"/>
                  </a:lnTo>
                  <a:lnTo>
                    <a:pt x="14954" y="12554"/>
                  </a:lnTo>
                  <a:lnTo>
                    <a:pt x="14400" y="12554"/>
                  </a:lnTo>
                  <a:lnTo>
                    <a:pt x="14400" y="12923"/>
                  </a:lnTo>
                  <a:lnTo>
                    <a:pt x="14954" y="13292"/>
                  </a:lnTo>
                  <a:lnTo>
                    <a:pt x="14954" y="13846"/>
                  </a:lnTo>
                  <a:lnTo>
                    <a:pt x="15508" y="13846"/>
                  </a:lnTo>
                  <a:lnTo>
                    <a:pt x="15508" y="14585"/>
                  </a:lnTo>
                  <a:lnTo>
                    <a:pt x="15785" y="14585"/>
                  </a:lnTo>
                  <a:lnTo>
                    <a:pt x="15785" y="14769"/>
                  </a:lnTo>
                  <a:lnTo>
                    <a:pt x="16338" y="14769"/>
                  </a:lnTo>
                  <a:lnTo>
                    <a:pt x="16338" y="15138"/>
                  </a:lnTo>
                  <a:lnTo>
                    <a:pt x="18277" y="15138"/>
                  </a:lnTo>
                  <a:lnTo>
                    <a:pt x="18277" y="16431"/>
                  </a:lnTo>
                  <a:lnTo>
                    <a:pt x="18831" y="16431"/>
                  </a:lnTo>
                  <a:lnTo>
                    <a:pt x="18831" y="17354"/>
                  </a:lnTo>
                  <a:lnTo>
                    <a:pt x="19662" y="18092"/>
                  </a:lnTo>
                  <a:lnTo>
                    <a:pt x="19662" y="18462"/>
                  </a:lnTo>
                  <a:lnTo>
                    <a:pt x="20215" y="18462"/>
                  </a:lnTo>
                  <a:lnTo>
                    <a:pt x="20215" y="19015"/>
                  </a:lnTo>
                  <a:lnTo>
                    <a:pt x="21323" y="19015"/>
                  </a:lnTo>
                  <a:lnTo>
                    <a:pt x="21323" y="19385"/>
                  </a:lnTo>
                  <a:lnTo>
                    <a:pt x="21600" y="19385"/>
                  </a:lnTo>
                  <a:lnTo>
                    <a:pt x="21600" y="19569"/>
                  </a:lnTo>
                  <a:lnTo>
                    <a:pt x="20215" y="19569"/>
                  </a:lnTo>
                  <a:lnTo>
                    <a:pt x="20215" y="19385"/>
                  </a:lnTo>
                  <a:lnTo>
                    <a:pt x="18831" y="19385"/>
                  </a:lnTo>
                  <a:lnTo>
                    <a:pt x="18831" y="19015"/>
                  </a:lnTo>
                  <a:lnTo>
                    <a:pt x="17723" y="19569"/>
                  </a:lnTo>
                  <a:lnTo>
                    <a:pt x="17446" y="19569"/>
                  </a:lnTo>
                  <a:lnTo>
                    <a:pt x="17446" y="19938"/>
                  </a:lnTo>
                  <a:lnTo>
                    <a:pt x="16892" y="19938"/>
                  </a:lnTo>
                  <a:lnTo>
                    <a:pt x="16892" y="20308"/>
                  </a:lnTo>
                  <a:lnTo>
                    <a:pt x="14954" y="20308"/>
                  </a:lnTo>
                  <a:lnTo>
                    <a:pt x="14400" y="20677"/>
                  </a:lnTo>
                  <a:lnTo>
                    <a:pt x="13015" y="20677"/>
                  </a:lnTo>
                  <a:lnTo>
                    <a:pt x="13015" y="21231"/>
                  </a:lnTo>
                  <a:lnTo>
                    <a:pt x="12462" y="21231"/>
                  </a:lnTo>
                  <a:lnTo>
                    <a:pt x="12462" y="21600"/>
                  </a:lnTo>
                  <a:lnTo>
                    <a:pt x="11077" y="21600"/>
                  </a:lnTo>
                  <a:lnTo>
                    <a:pt x="10523" y="21231"/>
                  </a:lnTo>
                  <a:lnTo>
                    <a:pt x="9969" y="21231"/>
                  </a:lnTo>
                  <a:lnTo>
                    <a:pt x="9692" y="20862"/>
                  </a:lnTo>
                  <a:lnTo>
                    <a:pt x="9138" y="20862"/>
                  </a:lnTo>
                  <a:lnTo>
                    <a:pt x="8585" y="20677"/>
                  </a:lnTo>
                  <a:lnTo>
                    <a:pt x="8585" y="20308"/>
                  </a:lnTo>
                  <a:lnTo>
                    <a:pt x="8031" y="20308"/>
                  </a:lnTo>
                  <a:lnTo>
                    <a:pt x="8031" y="19938"/>
                  </a:lnTo>
                  <a:lnTo>
                    <a:pt x="7754" y="19569"/>
                  </a:lnTo>
                  <a:lnTo>
                    <a:pt x="7754" y="19385"/>
                  </a:lnTo>
                  <a:lnTo>
                    <a:pt x="7200" y="19385"/>
                  </a:lnTo>
                  <a:lnTo>
                    <a:pt x="7200" y="18462"/>
                  </a:lnTo>
                  <a:lnTo>
                    <a:pt x="6646" y="18462"/>
                  </a:lnTo>
                  <a:lnTo>
                    <a:pt x="6646" y="15508"/>
                  </a:lnTo>
                  <a:lnTo>
                    <a:pt x="7200" y="15138"/>
                  </a:lnTo>
                  <a:lnTo>
                    <a:pt x="7200" y="14585"/>
                  </a:lnTo>
                  <a:lnTo>
                    <a:pt x="7754" y="14585"/>
                  </a:lnTo>
                  <a:lnTo>
                    <a:pt x="7754" y="13846"/>
                  </a:lnTo>
                  <a:lnTo>
                    <a:pt x="8031" y="13846"/>
                  </a:lnTo>
                  <a:lnTo>
                    <a:pt x="8031" y="13292"/>
                  </a:lnTo>
                  <a:lnTo>
                    <a:pt x="7754" y="13292"/>
                  </a:lnTo>
                  <a:lnTo>
                    <a:pt x="7200" y="12923"/>
                  </a:lnTo>
                  <a:lnTo>
                    <a:pt x="7200" y="12554"/>
                  </a:lnTo>
                  <a:lnTo>
                    <a:pt x="7754" y="12554"/>
                  </a:lnTo>
                  <a:lnTo>
                    <a:pt x="7754" y="12185"/>
                  </a:lnTo>
                  <a:lnTo>
                    <a:pt x="7200" y="12185"/>
                  </a:lnTo>
                  <a:lnTo>
                    <a:pt x="6646" y="12000"/>
                  </a:lnTo>
                  <a:lnTo>
                    <a:pt x="5815" y="12000"/>
                  </a:lnTo>
                  <a:lnTo>
                    <a:pt x="5262" y="11631"/>
                  </a:lnTo>
                  <a:lnTo>
                    <a:pt x="5815" y="11631"/>
                  </a:lnTo>
                  <a:lnTo>
                    <a:pt x="5815" y="10892"/>
                  </a:lnTo>
                  <a:lnTo>
                    <a:pt x="6092" y="10892"/>
                  </a:lnTo>
                  <a:lnTo>
                    <a:pt x="6092" y="10338"/>
                  </a:lnTo>
                  <a:lnTo>
                    <a:pt x="5815" y="10338"/>
                  </a:lnTo>
                  <a:lnTo>
                    <a:pt x="5815" y="9969"/>
                  </a:lnTo>
                  <a:lnTo>
                    <a:pt x="5262" y="9600"/>
                  </a:lnTo>
                  <a:lnTo>
                    <a:pt x="2769" y="9600"/>
                  </a:lnTo>
                  <a:lnTo>
                    <a:pt x="0" y="7754"/>
                  </a:lnTo>
                  <a:lnTo>
                    <a:pt x="0" y="7385"/>
                  </a:lnTo>
                  <a:lnTo>
                    <a:pt x="554" y="7385"/>
                  </a:lnTo>
                  <a:lnTo>
                    <a:pt x="831" y="7015"/>
                  </a:lnTo>
                  <a:lnTo>
                    <a:pt x="1385" y="7015"/>
                  </a:lnTo>
                  <a:lnTo>
                    <a:pt x="1385" y="6462"/>
                  </a:lnTo>
                  <a:lnTo>
                    <a:pt x="831" y="6462"/>
                  </a:lnTo>
                  <a:lnTo>
                    <a:pt x="831" y="5169"/>
                  </a:lnTo>
                  <a:lnTo>
                    <a:pt x="3323" y="5169"/>
                  </a:lnTo>
                  <a:lnTo>
                    <a:pt x="3323" y="4800"/>
                  </a:lnTo>
                  <a:lnTo>
                    <a:pt x="4431" y="4800"/>
                  </a:lnTo>
                  <a:lnTo>
                    <a:pt x="4431" y="4431"/>
                  </a:lnTo>
                  <a:lnTo>
                    <a:pt x="4708" y="4431"/>
                  </a:lnTo>
                  <a:lnTo>
                    <a:pt x="4708" y="3877"/>
                  </a:lnTo>
                  <a:lnTo>
                    <a:pt x="3877" y="3877"/>
                  </a:lnTo>
                  <a:lnTo>
                    <a:pt x="3323" y="3508"/>
                  </a:lnTo>
                  <a:lnTo>
                    <a:pt x="3323" y="3138"/>
                  </a:lnTo>
                  <a:lnTo>
                    <a:pt x="2769" y="3138"/>
                  </a:lnTo>
                  <a:lnTo>
                    <a:pt x="2769" y="2954"/>
                  </a:lnTo>
                  <a:lnTo>
                    <a:pt x="3323" y="2585"/>
                  </a:lnTo>
                  <a:lnTo>
                    <a:pt x="3323" y="2215"/>
                  </a:lnTo>
                  <a:lnTo>
                    <a:pt x="3877" y="2215"/>
                  </a:lnTo>
                  <a:lnTo>
                    <a:pt x="4431" y="1846"/>
                  </a:lnTo>
                  <a:lnTo>
                    <a:pt x="4708" y="1846"/>
                  </a:lnTo>
                  <a:lnTo>
                    <a:pt x="4708" y="1662"/>
                  </a:lnTo>
                  <a:lnTo>
                    <a:pt x="5262" y="1662"/>
                  </a:lnTo>
                  <a:lnTo>
                    <a:pt x="5262" y="1292"/>
                  </a:lnTo>
                  <a:lnTo>
                    <a:pt x="6092" y="1292"/>
                  </a:lnTo>
                  <a:lnTo>
                    <a:pt x="6092" y="923"/>
                  </a:lnTo>
                  <a:lnTo>
                    <a:pt x="6646" y="923"/>
                  </a:lnTo>
                  <a:lnTo>
                    <a:pt x="7200" y="738"/>
                  </a:lnTo>
                  <a:lnTo>
                    <a:pt x="6092" y="0"/>
                  </a:lnTo>
                  <a:close/>
                  <a:moveTo>
                    <a:pt x="6092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31" name="Freeform 48"/>
            <p:cNvSpPr>
              <a:spLocks/>
            </p:cNvSpPr>
            <p:nvPr/>
          </p:nvSpPr>
          <p:spPr bwMode="auto">
            <a:xfrm>
              <a:off x="1407" y="880"/>
              <a:ext cx="114" cy="149"/>
            </a:xfrm>
            <a:custGeom>
              <a:avLst/>
              <a:gdLst/>
              <a:ahLst/>
              <a:cxnLst>
                <a:cxn ang="0">
                  <a:pos x="5760" y="0"/>
                </a:cxn>
                <a:cxn ang="0">
                  <a:pos x="10080" y="1098"/>
                </a:cxn>
                <a:cxn ang="0">
                  <a:pos x="11520" y="1831"/>
                </a:cxn>
                <a:cxn ang="0">
                  <a:pos x="13920" y="2929"/>
                </a:cxn>
                <a:cxn ang="0">
                  <a:pos x="16800" y="5492"/>
                </a:cxn>
                <a:cxn ang="0">
                  <a:pos x="18240" y="6224"/>
                </a:cxn>
                <a:cxn ang="0">
                  <a:pos x="19200" y="6956"/>
                </a:cxn>
                <a:cxn ang="0">
                  <a:pos x="20640" y="7688"/>
                </a:cxn>
                <a:cxn ang="0">
                  <a:pos x="21600" y="10617"/>
                </a:cxn>
                <a:cxn ang="0">
                  <a:pos x="20640" y="11349"/>
                </a:cxn>
                <a:cxn ang="0">
                  <a:pos x="20160" y="12814"/>
                </a:cxn>
                <a:cxn ang="0">
                  <a:pos x="18240" y="13180"/>
                </a:cxn>
                <a:cxn ang="0">
                  <a:pos x="17280" y="13912"/>
                </a:cxn>
                <a:cxn ang="0">
                  <a:pos x="16800" y="15742"/>
                </a:cxn>
                <a:cxn ang="0">
                  <a:pos x="15840" y="17207"/>
                </a:cxn>
                <a:cxn ang="0">
                  <a:pos x="14880" y="19037"/>
                </a:cxn>
                <a:cxn ang="0">
                  <a:pos x="10080" y="20868"/>
                </a:cxn>
                <a:cxn ang="0">
                  <a:pos x="5760" y="20502"/>
                </a:cxn>
                <a:cxn ang="0">
                  <a:pos x="3360" y="20868"/>
                </a:cxn>
                <a:cxn ang="0">
                  <a:pos x="2400" y="21600"/>
                </a:cxn>
                <a:cxn ang="0">
                  <a:pos x="960" y="20868"/>
                </a:cxn>
                <a:cxn ang="0">
                  <a:pos x="0" y="20502"/>
                </a:cxn>
                <a:cxn ang="0">
                  <a:pos x="960" y="19769"/>
                </a:cxn>
                <a:cxn ang="0">
                  <a:pos x="1440" y="18305"/>
                </a:cxn>
                <a:cxn ang="0">
                  <a:pos x="2400" y="17939"/>
                </a:cxn>
                <a:cxn ang="0">
                  <a:pos x="3360" y="17207"/>
                </a:cxn>
                <a:cxn ang="0">
                  <a:pos x="3840" y="13912"/>
                </a:cxn>
                <a:cxn ang="0">
                  <a:pos x="3360" y="12814"/>
                </a:cxn>
                <a:cxn ang="0">
                  <a:pos x="2400" y="11349"/>
                </a:cxn>
                <a:cxn ang="0">
                  <a:pos x="1440" y="10251"/>
                </a:cxn>
                <a:cxn ang="0">
                  <a:pos x="960" y="8054"/>
                </a:cxn>
                <a:cxn ang="0">
                  <a:pos x="2400" y="2563"/>
                </a:cxn>
                <a:cxn ang="0">
                  <a:pos x="3360" y="366"/>
                </a:cxn>
                <a:cxn ang="0">
                  <a:pos x="3840" y="0"/>
                </a:cxn>
              </a:cxnLst>
              <a:rect l="0" t="0" r="r" b="b"/>
              <a:pathLst>
                <a:path w="21600" h="21600">
                  <a:moveTo>
                    <a:pt x="3840" y="0"/>
                  </a:moveTo>
                  <a:lnTo>
                    <a:pt x="5760" y="0"/>
                  </a:lnTo>
                  <a:lnTo>
                    <a:pt x="7200" y="1098"/>
                  </a:lnTo>
                  <a:lnTo>
                    <a:pt x="10080" y="1098"/>
                  </a:lnTo>
                  <a:lnTo>
                    <a:pt x="10080" y="1831"/>
                  </a:lnTo>
                  <a:lnTo>
                    <a:pt x="11520" y="1831"/>
                  </a:lnTo>
                  <a:lnTo>
                    <a:pt x="12480" y="2563"/>
                  </a:lnTo>
                  <a:lnTo>
                    <a:pt x="13920" y="2929"/>
                  </a:lnTo>
                  <a:lnTo>
                    <a:pt x="16800" y="5125"/>
                  </a:lnTo>
                  <a:lnTo>
                    <a:pt x="16800" y="5492"/>
                  </a:lnTo>
                  <a:lnTo>
                    <a:pt x="17280" y="5492"/>
                  </a:lnTo>
                  <a:lnTo>
                    <a:pt x="18240" y="6224"/>
                  </a:lnTo>
                  <a:lnTo>
                    <a:pt x="19200" y="6224"/>
                  </a:lnTo>
                  <a:lnTo>
                    <a:pt x="19200" y="6956"/>
                  </a:lnTo>
                  <a:lnTo>
                    <a:pt x="20640" y="6956"/>
                  </a:lnTo>
                  <a:lnTo>
                    <a:pt x="20640" y="7688"/>
                  </a:lnTo>
                  <a:lnTo>
                    <a:pt x="21600" y="7688"/>
                  </a:lnTo>
                  <a:lnTo>
                    <a:pt x="21600" y="10617"/>
                  </a:lnTo>
                  <a:lnTo>
                    <a:pt x="20640" y="10617"/>
                  </a:lnTo>
                  <a:lnTo>
                    <a:pt x="20640" y="11349"/>
                  </a:lnTo>
                  <a:lnTo>
                    <a:pt x="20160" y="11349"/>
                  </a:lnTo>
                  <a:lnTo>
                    <a:pt x="20160" y="12814"/>
                  </a:lnTo>
                  <a:lnTo>
                    <a:pt x="19200" y="12814"/>
                  </a:lnTo>
                  <a:lnTo>
                    <a:pt x="18240" y="13180"/>
                  </a:lnTo>
                  <a:lnTo>
                    <a:pt x="18240" y="13912"/>
                  </a:lnTo>
                  <a:lnTo>
                    <a:pt x="17280" y="13912"/>
                  </a:lnTo>
                  <a:lnTo>
                    <a:pt x="17280" y="15376"/>
                  </a:lnTo>
                  <a:lnTo>
                    <a:pt x="16800" y="15742"/>
                  </a:lnTo>
                  <a:lnTo>
                    <a:pt x="16800" y="16475"/>
                  </a:lnTo>
                  <a:lnTo>
                    <a:pt x="15840" y="17207"/>
                  </a:lnTo>
                  <a:lnTo>
                    <a:pt x="14880" y="18305"/>
                  </a:lnTo>
                  <a:lnTo>
                    <a:pt x="14880" y="19037"/>
                  </a:lnTo>
                  <a:lnTo>
                    <a:pt x="12480" y="20868"/>
                  </a:lnTo>
                  <a:lnTo>
                    <a:pt x="10080" y="20868"/>
                  </a:lnTo>
                  <a:lnTo>
                    <a:pt x="9120" y="20502"/>
                  </a:lnTo>
                  <a:lnTo>
                    <a:pt x="5760" y="20502"/>
                  </a:lnTo>
                  <a:lnTo>
                    <a:pt x="4800" y="20868"/>
                  </a:lnTo>
                  <a:lnTo>
                    <a:pt x="3360" y="20868"/>
                  </a:lnTo>
                  <a:lnTo>
                    <a:pt x="3360" y="21600"/>
                  </a:lnTo>
                  <a:lnTo>
                    <a:pt x="2400" y="21600"/>
                  </a:lnTo>
                  <a:lnTo>
                    <a:pt x="1440" y="20868"/>
                  </a:lnTo>
                  <a:lnTo>
                    <a:pt x="960" y="20868"/>
                  </a:lnTo>
                  <a:lnTo>
                    <a:pt x="960" y="20502"/>
                  </a:lnTo>
                  <a:lnTo>
                    <a:pt x="0" y="20502"/>
                  </a:lnTo>
                  <a:lnTo>
                    <a:pt x="0" y="19769"/>
                  </a:lnTo>
                  <a:lnTo>
                    <a:pt x="960" y="19769"/>
                  </a:lnTo>
                  <a:lnTo>
                    <a:pt x="960" y="19037"/>
                  </a:lnTo>
                  <a:lnTo>
                    <a:pt x="1440" y="18305"/>
                  </a:lnTo>
                  <a:lnTo>
                    <a:pt x="1440" y="17939"/>
                  </a:lnTo>
                  <a:lnTo>
                    <a:pt x="2400" y="17939"/>
                  </a:lnTo>
                  <a:lnTo>
                    <a:pt x="2400" y="17207"/>
                  </a:lnTo>
                  <a:lnTo>
                    <a:pt x="3360" y="17207"/>
                  </a:lnTo>
                  <a:lnTo>
                    <a:pt x="3360" y="13912"/>
                  </a:lnTo>
                  <a:lnTo>
                    <a:pt x="3840" y="13912"/>
                  </a:lnTo>
                  <a:lnTo>
                    <a:pt x="3840" y="12814"/>
                  </a:lnTo>
                  <a:lnTo>
                    <a:pt x="3360" y="12814"/>
                  </a:lnTo>
                  <a:lnTo>
                    <a:pt x="3360" y="11349"/>
                  </a:lnTo>
                  <a:lnTo>
                    <a:pt x="2400" y="11349"/>
                  </a:lnTo>
                  <a:lnTo>
                    <a:pt x="2400" y="10251"/>
                  </a:lnTo>
                  <a:lnTo>
                    <a:pt x="1440" y="10251"/>
                  </a:lnTo>
                  <a:lnTo>
                    <a:pt x="1440" y="8786"/>
                  </a:lnTo>
                  <a:lnTo>
                    <a:pt x="960" y="8054"/>
                  </a:lnTo>
                  <a:lnTo>
                    <a:pt x="960" y="3661"/>
                  </a:lnTo>
                  <a:lnTo>
                    <a:pt x="2400" y="2563"/>
                  </a:lnTo>
                  <a:lnTo>
                    <a:pt x="3360" y="2563"/>
                  </a:lnTo>
                  <a:lnTo>
                    <a:pt x="3360" y="366"/>
                  </a:lnTo>
                  <a:lnTo>
                    <a:pt x="3840" y="366"/>
                  </a:lnTo>
                  <a:lnTo>
                    <a:pt x="3840" y="0"/>
                  </a:lnTo>
                  <a:close/>
                  <a:moveTo>
                    <a:pt x="3840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32" name="AutoShape 49"/>
            <p:cNvSpPr>
              <a:spLocks/>
            </p:cNvSpPr>
            <p:nvPr/>
          </p:nvSpPr>
          <p:spPr bwMode="auto">
            <a:xfrm>
              <a:off x="794" y="1506"/>
              <a:ext cx="494" cy="546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220" y="1891"/>
                  </a:moveTo>
                  <a:lnTo>
                    <a:pt x="441" y="1891"/>
                  </a:lnTo>
                  <a:lnTo>
                    <a:pt x="441" y="2090"/>
                  </a:lnTo>
                  <a:lnTo>
                    <a:pt x="220" y="2090"/>
                  </a:lnTo>
                  <a:lnTo>
                    <a:pt x="220" y="1891"/>
                  </a:lnTo>
                  <a:close/>
                  <a:moveTo>
                    <a:pt x="6392" y="0"/>
                  </a:moveTo>
                  <a:lnTo>
                    <a:pt x="6943" y="0"/>
                  </a:lnTo>
                  <a:lnTo>
                    <a:pt x="7163" y="199"/>
                  </a:lnTo>
                  <a:lnTo>
                    <a:pt x="7273" y="199"/>
                  </a:lnTo>
                  <a:lnTo>
                    <a:pt x="7273" y="0"/>
                  </a:lnTo>
                  <a:lnTo>
                    <a:pt x="7494" y="0"/>
                  </a:lnTo>
                  <a:lnTo>
                    <a:pt x="7494" y="199"/>
                  </a:lnTo>
                  <a:lnTo>
                    <a:pt x="7714" y="199"/>
                  </a:lnTo>
                  <a:lnTo>
                    <a:pt x="7714" y="498"/>
                  </a:lnTo>
                  <a:lnTo>
                    <a:pt x="7494" y="896"/>
                  </a:lnTo>
                  <a:lnTo>
                    <a:pt x="7494" y="1891"/>
                  </a:lnTo>
                  <a:lnTo>
                    <a:pt x="7714" y="2090"/>
                  </a:lnTo>
                  <a:lnTo>
                    <a:pt x="7494" y="2289"/>
                  </a:lnTo>
                  <a:lnTo>
                    <a:pt x="7494" y="2588"/>
                  </a:lnTo>
                  <a:lnTo>
                    <a:pt x="7714" y="2588"/>
                  </a:lnTo>
                  <a:lnTo>
                    <a:pt x="7714" y="2986"/>
                  </a:lnTo>
                  <a:lnTo>
                    <a:pt x="8045" y="3285"/>
                  </a:lnTo>
                  <a:lnTo>
                    <a:pt x="8045" y="3484"/>
                  </a:lnTo>
                  <a:lnTo>
                    <a:pt x="8265" y="3484"/>
                  </a:lnTo>
                  <a:lnTo>
                    <a:pt x="8265" y="3683"/>
                  </a:lnTo>
                  <a:lnTo>
                    <a:pt x="8486" y="3683"/>
                  </a:lnTo>
                  <a:lnTo>
                    <a:pt x="8486" y="3882"/>
                  </a:lnTo>
                  <a:lnTo>
                    <a:pt x="8706" y="3882"/>
                  </a:lnTo>
                  <a:lnTo>
                    <a:pt x="8816" y="3982"/>
                  </a:lnTo>
                  <a:lnTo>
                    <a:pt x="9037" y="3982"/>
                  </a:lnTo>
                  <a:lnTo>
                    <a:pt x="9037" y="4181"/>
                  </a:lnTo>
                  <a:lnTo>
                    <a:pt x="9257" y="4181"/>
                  </a:lnTo>
                  <a:lnTo>
                    <a:pt x="9257" y="4380"/>
                  </a:lnTo>
                  <a:lnTo>
                    <a:pt x="9478" y="4380"/>
                  </a:lnTo>
                  <a:lnTo>
                    <a:pt x="9478" y="4579"/>
                  </a:lnTo>
                  <a:lnTo>
                    <a:pt x="10249" y="4579"/>
                  </a:lnTo>
                  <a:lnTo>
                    <a:pt x="10359" y="4380"/>
                  </a:lnTo>
                  <a:lnTo>
                    <a:pt x="10580" y="4380"/>
                  </a:lnTo>
                  <a:lnTo>
                    <a:pt x="10580" y="4579"/>
                  </a:lnTo>
                  <a:lnTo>
                    <a:pt x="11131" y="4579"/>
                  </a:lnTo>
                  <a:lnTo>
                    <a:pt x="11131" y="4678"/>
                  </a:lnTo>
                  <a:lnTo>
                    <a:pt x="11571" y="4678"/>
                  </a:lnTo>
                  <a:lnTo>
                    <a:pt x="11792" y="4877"/>
                  </a:lnTo>
                  <a:lnTo>
                    <a:pt x="11792" y="5076"/>
                  </a:lnTo>
                  <a:lnTo>
                    <a:pt x="11902" y="5076"/>
                  </a:lnTo>
                  <a:lnTo>
                    <a:pt x="11902" y="5276"/>
                  </a:lnTo>
                  <a:lnTo>
                    <a:pt x="12122" y="5276"/>
                  </a:lnTo>
                  <a:lnTo>
                    <a:pt x="12343" y="5375"/>
                  </a:lnTo>
                  <a:lnTo>
                    <a:pt x="13114" y="5375"/>
                  </a:lnTo>
                  <a:lnTo>
                    <a:pt x="13335" y="5574"/>
                  </a:lnTo>
                  <a:lnTo>
                    <a:pt x="13335" y="5773"/>
                  </a:lnTo>
                  <a:lnTo>
                    <a:pt x="13445" y="5773"/>
                  </a:lnTo>
                  <a:lnTo>
                    <a:pt x="13445" y="5972"/>
                  </a:lnTo>
                  <a:lnTo>
                    <a:pt x="13665" y="5972"/>
                  </a:lnTo>
                  <a:lnTo>
                    <a:pt x="13665" y="6072"/>
                  </a:lnTo>
                  <a:lnTo>
                    <a:pt x="14657" y="6072"/>
                  </a:lnTo>
                  <a:lnTo>
                    <a:pt x="14657" y="5972"/>
                  </a:lnTo>
                  <a:lnTo>
                    <a:pt x="14878" y="5972"/>
                  </a:lnTo>
                  <a:lnTo>
                    <a:pt x="14878" y="6072"/>
                  </a:lnTo>
                  <a:lnTo>
                    <a:pt x="15429" y="6072"/>
                  </a:lnTo>
                  <a:lnTo>
                    <a:pt x="15429" y="6271"/>
                  </a:lnTo>
                  <a:lnTo>
                    <a:pt x="15649" y="6271"/>
                  </a:lnTo>
                  <a:lnTo>
                    <a:pt x="15759" y="6470"/>
                  </a:lnTo>
                  <a:lnTo>
                    <a:pt x="15980" y="6470"/>
                  </a:lnTo>
                  <a:lnTo>
                    <a:pt x="15980" y="6669"/>
                  </a:lnTo>
                  <a:lnTo>
                    <a:pt x="16200" y="6669"/>
                  </a:lnTo>
                  <a:lnTo>
                    <a:pt x="16200" y="6769"/>
                  </a:lnTo>
                  <a:lnTo>
                    <a:pt x="16420" y="6769"/>
                  </a:lnTo>
                  <a:lnTo>
                    <a:pt x="16420" y="7665"/>
                  </a:lnTo>
                  <a:lnTo>
                    <a:pt x="16531" y="7665"/>
                  </a:lnTo>
                  <a:lnTo>
                    <a:pt x="16531" y="8162"/>
                  </a:lnTo>
                  <a:lnTo>
                    <a:pt x="16751" y="8361"/>
                  </a:lnTo>
                  <a:lnTo>
                    <a:pt x="16751" y="8560"/>
                  </a:lnTo>
                  <a:lnTo>
                    <a:pt x="16531" y="8759"/>
                  </a:lnTo>
                  <a:lnTo>
                    <a:pt x="16200" y="8759"/>
                  </a:lnTo>
                  <a:lnTo>
                    <a:pt x="16200" y="8859"/>
                  </a:lnTo>
                  <a:lnTo>
                    <a:pt x="16420" y="8859"/>
                  </a:lnTo>
                  <a:lnTo>
                    <a:pt x="16420" y="9058"/>
                  </a:lnTo>
                  <a:lnTo>
                    <a:pt x="16531" y="9257"/>
                  </a:lnTo>
                  <a:lnTo>
                    <a:pt x="16751" y="9556"/>
                  </a:lnTo>
                  <a:lnTo>
                    <a:pt x="16751" y="10651"/>
                  </a:lnTo>
                  <a:lnTo>
                    <a:pt x="20057" y="10651"/>
                  </a:lnTo>
                  <a:lnTo>
                    <a:pt x="20057" y="10949"/>
                  </a:lnTo>
                  <a:lnTo>
                    <a:pt x="19837" y="10949"/>
                  </a:lnTo>
                  <a:lnTo>
                    <a:pt x="19837" y="11347"/>
                  </a:lnTo>
                  <a:lnTo>
                    <a:pt x="19616" y="11347"/>
                  </a:lnTo>
                  <a:lnTo>
                    <a:pt x="19616" y="11447"/>
                  </a:lnTo>
                  <a:lnTo>
                    <a:pt x="19837" y="11646"/>
                  </a:lnTo>
                  <a:lnTo>
                    <a:pt x="19837" y="12044"/>
                  </a:lnTo>
                  <a:lnTo>
                    <a:pt x="20057" y="12144"/>
                  </a:lnTo>
                  <a:lnTo>
                    <a:pt x="20057" y="12343"/>
                  </a:lnTo>
                  <a:lnTo>
                    <a:pt x="20167" y="12343"/>
                  </a:lnTo>
                  <a:lnTo>
                    <a:pt x="20167" y="12542"/>
                  </a:lnTo>
                  <a:lnTo>
                    <a:pt x="20829" y="12542"/>
                  </a:lnTo>
                  <a:lnTo>
                    <a:pt x="20939" y="12741"/>
                  </a:lnTo>
                  <a:lnTo>
                    <a:pt x="20939" y="13040"/>
                  </a:lnTo>
                  <a:lnTo>
                    <a:pt x="21159" y="13040"/>
                  </a:lnTo>
                  <a:lnTo>
                    <a:pt x="21159" y="13438"/>
                  </a:lnTo>
                  <a:lnTo>
                    <a:pt x="21380" y="13438"/>
                  </a:lnTo>
                  <a:lnTo>
                    <a:pt x="21380" y="13736"/>
                  </a:lnTo>
                  <a:lnTo>
                    <a:pt x="21600" y="13736"/>
                  </a:lnTo>
                  <a:lnTo>
                    <a:pt x="21600" y="13935"/>
                  </a:lnTo>
                  <a:lnTo>
                    <a:pt x="21380" y="13935"/>
                  </a:lnTo>
                  <a:lnTo>
                    <a:pt x="21380" y="14234"/>
                  </a:lnTo>
                  <a:lnTo>
                    <a:pt x="21159" y="14433"/>
                  </a:lnTo>
                  <a:lnTo>
                    <a:pt x="21159" y="14931"/>
                  </a:lnTo>
                  <a:lnTo>
                    <a:pt x="20939" y="15130"/>
                  </a:lnTo>
                  <a:lnTo>
                    <a:pt x="20939" y="15329"/>
                  </a:lnTo>
                  <a:lnTo>
                    <a:pt x="20829" y="15329"/>
                  </a:lnTo>
                  <a:lnTo>
                    <a:pt x="20829" y="15628"/>
                  </a:lnTo>
                  <a:lnTo>
                    <a:pt x="20608" y="15827"/>
                  </a:lnTo>
                  <a:lnTo>
                    <a:pt x="20608" y="16225"/>
                  </a:lnTo>
                  <a:lnTo>
                    <a:pt x="20388" y="16225"/>
                  </a:lnTo>
                  <a:lnTo>
                    <a:pt x="20388" y="16324"/>
                  </a:lnTo>
                  <a:lnTo>
                    <a:pt x="20829" y="16723"/>
                  </a:lnTo>
                  <a:lnTo>
                    <a:pt x="20829" y="16922"/>
                  </a:lnTo>
                  <a:lnTo>
                    <a:pt x="20388" y="16922"/>
                  </a:lnTo>
                  <a:lnTo>
                    <a:pt x="20388" y="16523"/>
                  </a:lnTo>
                  <a:lnTo>
                    <a:pt x="20167" y="16324"/>
                  </a:lnTo>
                  <a:lnTo>
                    <a:pt x="20057" y="16324"/>
                  </a:lnTo>
                  <a:lnTo>
                    <a:pt x="19837" y="16225"/>
                  </a:lnTo>
                  <a:lnTo>
                    <a:pt x="19616" y="16225"/>
                  </a:lnTo>
                  <a:lnTo>
                    <a:pt x="19616" y="16026"/>
                  </a:lnTo>
                  <a:lnTo>
                    <a:pt x="19396" y="16026"/>
                  </a:lnTo>
                  <a:lnTo>
                    <a:pt x="19396" y="15827"/>
                  </a:lnTo>
                  <a:lnTo>
                    <a:pt x="19065" y="15827"/>
                  </a:lnTo>
                  <a:lnTo>
                    <a:pt x="18624" y="15528"/>
                  </a:lnTo>
                  <a:lnTo>
                    <a:pt x="17853" y="15528"/>
                  </a:lnTo>
                  <a:lnTo>
                    <a:pt x="17743" y="15628"/>
                  </a:lnTo>
                  <a:lnTo>
                    <a:pt x="16420" y="15628"/>
                  </a:lnTo>
                  <a:lnTo>
                    <a:pt x="16420" y="15827"/>
                  </a:lnTo>
                  <a:lnTo>
                    <a:pt x="15649" y="15827"/>
                  </a:lnTo>
                  <a:lnTo>
                    <a:pt x="15429" y="16026"/>
                  </a:lnTo>
                  <a:lnTo>
                    <a:pt x="14437" y="16026"/>
                  </a:lnTo>
                  <a:lnTo>
                    <a:pt x="14216" y="16225"/>
                  </a:lnTo>
                  <a:lnTo>
                    <a:pt x="14106" y="16225"/>
                  </a:lnTo>
                  <a:lnTo>
                    <a:pt x="14106" y="16324"/>
                  </a:lnTo>
                  <a:lnTo>
                    <a:pt x="13886" y="16324"/>
                  </a:lnTo>
                  <a:lnTo>
                    <a:pt x="13886" y="16723"/>
                  </a:lnTo>
                  <a:lnTo>
                    <a:pt x="13665" y="16922"/>
                  </a:lnTo>
                  <a:lnTo>
                    <a:pt x="13665" y="17021"/>
                  </a:lnTo>
                  <a:lnTo>
                    <a:pt x="13445" y="17021"/>
                  </a:lnTo>
                  <a:lnTo>
                    <a:pt x="13445" y="17220"/>
                  </a:lnTo>
                  <a:lnTo>
                    <a:pt x="13335" y="17220"/>
                  </a:lnTo>
                  <a:lnTo>
                    <a:pt x="13335" y="17419"/>
                  </a:lnTo>
                  <a:lnTo>
                    <a:pt x="13114" y="17618"/>
                  </a:lnTo>
                  <a:lnTo>
                    <a:pt x="13114" y="18614"/>
                  </a:lnTo>
                  <a:lnTo>
                    <a:pt x="12894" y="18614"/>
                  </a:lnTo>
                  <a:lnTo>
                    <a:pt x="12894" y="19311"/>
                  </a:lnTo>
                  <a:lnTo>
                    <a:pt x="12673" y="19311"/>
                  </a:lnTo>
                  <a:lnTo>
                    <a:pt x="12673" y="19808"/>
                  </a:lnTo>
                  <a:lnTo>
                    <a:pt x="12563" y="19808"/>
                  </a:lnTo>
                  <a:lnTo>
                    <a:pt x="12563" y="20306"/>
                  </a:lnTo>
                  <a:lnTo>
                    <a:pt x="12343" y="20306"/>
                  </a:lnTo>
                  <a:lnTo>
                    <a:pt x="12122" y="20206"/>
                  </a:lnTo>
                  <a:lnTo>
                    <a:pt x="12122" y="20007"/>
                  </a:lnTo>
                  <a:lnTo>
                    <a:pt x="11131" y="20007"/>
                  </a:lnTo>
                  <a:lnTo>
                    <a:pt x="11131" y="20206"/>
                  </a:lnTo>
                  <a:lnTo>
                    <a:pt x="10359" y="20206"/>
                  </a:lnTo>
                  <a:lnTo>
                    <a:pt x="10359" y="20007"/>
                  </a:lnTo>
                  <a:lnTo>
                    <a:pt x="10249" y="20007"/>
                  </a:lnTo>
                  <a:lnTo>
                    <a:pt x="10249" y="20206"/>
                  </a:lnTo>
                  <a:lnTo>
                    <a:pt x="10029" y="20206"/>
                  </a:lnTo>
                  <a:lnTo>
                    <a:pt x="10029" y="20306"/>
                  </a:lnTo>
                  <a:lnTo>
                    <a:pt x="9588" y="20704"/>
                  </a:lnTo>
                  <a:lnTo>
                    <a:pt x="9588" y="21600"/>
                  </a:lnTo>
                  <a:lnTo>
                    <a:pt x="9478" y="21600"/>
                  </a:lnTo>
                  <a:lnTo>
                    <a:pt x="9478" y="21401"/>
                  </a:lnTo>
                  <a:lnTo>
                    <a:pt x="9257" y="21202"/>
                  </a:lnTo>
                  <a:lnTo>
                    <a:pt x="9257" y="20903"/>
                  </a:lnTo>
                  <a:lnTo>
                    <a:pt x="9037" y="20903"/>
                  </a:lnTo>
                  <a:lnTo>
                    <a:pt x="9037" y="20306"/>
                  </a:lnTo>
                  <a:lnTo>
                    <a:pt x="8045" y="20306"/>
                  </a:lnTo>
                  <a:lnTo>
                    <a:pt x="8045" y="20206"/>
                  </a:lnTo>
                  <a:lnTo>
                    <a:pt x="7714" y="20206"/>
                  </a:lnTo>
                  <a:lnTo>
                    <a:pt x="7714" y="20306"/>
                  </a:lnTo>
                  <a:lnTo>
                    <a:pt x="7273" y="20306"/>
                  </a:lnTo>
                  <a:lnTo>
                    <a:pt x="7273" y="20206"/>
                  </a:lnTo>
                  <a:lnTo>
                    <a:pt x="6722" y="20206"/>
                  </a:lnTo>
                  <a:lnTo>
                    <a:pt x="6722" y="20007"/>
                  </a:lnTo>
                  <a:lnTo>
                    <a:pt x="6502" y="20007"/>
                  </a:lnTo>
                  <a:lnTo>
                    <a:pt x="6502" y="19808"/>
                  </a:lnTo>
                  <a:lnTo>
                    <a:pt x="6392" y="19808"/>
                  </a:lnTo>
                  <a:lnTo>
                    <a:pt x="6392" y="19609"/>
                  </a:lnTo>
                  <a:lnTo>
                    <a:pt x="6171" y="19609"/>
                  </a:lnTo>
                  <a:lnTo>
                    <a:pt x="6171" y="19808"/>
                  </a:lnTo>
                  <a:lnTo>
                    <a:pt x="5951" y="20007"/>
                  </a:lnTo>
                  <a:lnTo>
                    <a:pt x="5951" y="20206"/>
                  </a:lnTo>
                  <a:lnTo>
                    <a:pt x="5841" y="20206"/>
                  </a:lnTo>
                  <a:lnTo>
                    <a:pt x="5620" y="20306"/>
                  </a:lnTo>
                  <a:lnTo>
                    <a:pt x="5400" y="20306"/>
                  </a:lnTo>
                  <a:lnTo>
                    <a:pt x="5400" y="20505"/>
                  </a:lnTo>
                  <a:lnTo>
                    <a:pt x="5180" y="20505"/>
                  </a:lnTo>
                  <a:lnTo>
                    <a:pt x="5180" y="20704"/>
                  </a:lnTo>
                  <a:lnTo>
                    <a:pt x="5069" y="20903"/>
                  </a:lnTo>
                  <a:lnTo>
                    <a:pt x="4849" y="20903"/>
                  </a:lnTo>
                  <a:lnTo>
                    <a:pt x="4849" y="21003"/>
                  </a:lnTo>
                  <a:lnTo>
                    <a:pt x="4629" y="21003"/>
                  </a:lnTo>
                  <a:lnTo>
                    <a:pt x="4629" y="21202"/>
                  </a:lnTo>
                  <a:lnTo>
                    <a:pt x="4408" y="21401"/>
                  </a:lnTo>
                  <a:lnTo>
                    <a:pt x="4078" y="21401"/>
                  </a:lnTo>
                  <a:lnTo>
                    <a:pt x="4078" y="21600"/>
                  </a:lnTo>
                  <a:lnTo>
                    <a:pt x="3637" y="21600"/>
                  </a:lnTo>
                  <a:lnTo>
                    <a:pt x="3637" y="21401"/>
                  </a:lnTo>
                  <a:lnTo>
                    <a:pt x="3306" y="21401"/>
                  </a:lnTo>
                  <a:lnTo>
                    <a:pt x="3306" y="21202"/>
                  </a:lnTo>
                  <a:lnTo>
                    <a:pt x="3086" y="21003"/>
                  </a:lnTo>
                  <a:lnTo>
                    <a:pt x="3086" y="20306"/>
                  </a:lnTo>
                  <a:lnTo>
                    <a:pt x="2865" y="20206"/>
                  </a:lnTo>
                  <a:lnTo>
                    <a:pt x="2865" y="20007"/>
                  </a:lnTo>
                  <a:lnTo>
                    <a:pt x="2755" y="19808"/>
                  </a:lnTo>
                  <a:lnTo>
                    <a:pt x="2755" y="18912"/>
                  </a:lnTo>
                  <a:lnTo>
                    <a:pt x="2535" y="18912"/>
                  </a:lnTo>
                  <a:lnTo>
                    <a:pt x="2535" y="18614"/>
                  </a:lnTo>
                  <a:lnTo>
                    <a:pt x="2314" y="18415"/>
                  </a:lnTo>
                  <a:lnTo>
                    <a:pt x="2094" y="18415"/>
                  </a:lnTo>
                  <a:lnTo>
                    <a:pt x="2094" y="17718"/>
                  </a:lnTo>
                  <a:lnTo>
                    <a:pt x="1984" y="17718"/>
                  </a:lnTo>
                  <a:lnTo>
                    <a:pt x="1984" y="17618"/>
                  </a:lnTo>
                  <a:lnTo>
                    <a:pt x="1763" y="17618"/>
                  </a:lnTo>
                  <a:lnTo>
                    <a:pt x="1763" y="17220"/>
                  </a:lnTo>
                  <a:lnTo>
                    <a:pt x="1543" y="17220"/>
                  </a:lnTo>
                  <a:lnTo>
                    <a:pt x="1543" y="17021"/>
                  </a:lnTo>
                  <a:lnTo>
                    <a:pt x="1763" y="16922"/>
                  </a:lnTo>
                  <a:lnTo>
                    <a:pt x="1763" y="16723"/>
                  </a:lnTo>
                  <a:lnTo>
                    <a:pt x="1984" y="16723"/>
                  </a:lnTo>
                  <a:lnTo>
                    <a:pt x="1984" y="16324"/>
                  </a:lnTo>
                  <a:lnTo>
                    <a:pt x="1763" y="16324"/>
                  </a:lnTo>
                  <a:lnTo>
                    <a:pt x="1763" y="16225"/>
                  </a:lnTo>
                  <a:lnTo>
                    <a:pt x="1984" y="16225"/>
                  </a:lnTo>
                  <a:lnTo>
                    <a:pt x="1984" y="16026"/>
                  </a:lnTo>
                  <a:lnTo>
                    <a:pt x="2094" y="15827"/>
                  </a:lnTo>
                  <a:lnTo>
                    <a:pt x="2094" y="15628"/>
                  </a:lnTo>
                  <a:lnTo>
                    <a:pt x="1984" y="15628"/>
                  </a:lnTo>
                  <a:lnTo>
                    <a:pt x="1984" y="15528"/>
                  </a:lnTo>
                  <a:lnTo>
                    <a:pt x="1763" y="15528"/>
                  </a:lnTo>
                  <a:lnTo>
                    <a:pt x="1322" y="15130"/>
                  </a:lnTo>
                  <a:lnTo>
                    <a:pt x="1212" y="15130"/>
                  </a:lnTo>
                  <a:lnTo>
                    <a:pt x="1212" y="13537"/>
                  </a:lnTo>
                  <a:lnTo>
                    <a:pt x="992" y="13438"/>
                  </a:lnTo>
                  <a:lnTo>
                    <a:pt x="551" y="13438"/>
                  </a:lnTo>
                  <a:lnTo>
                    <a:pt x="551" y="13040"/>
                  </a:lnTo>
                  <a:lnTo>
                    <a:pt x="441" y="13040"/>
                  </a:lnTo>
                  <a:lnTo>
                    <a:pt x="441" y="12741"/>
                  </a:lnTo>
                  <a:lnTo>
                    <a:pt x="220" y="12741"/>
                  </a:lnTo>
                  <a:lnTo>
                    <a:pt x="220" y="12343"/>
                  </a:lnTo>
                  <a:lnTo>
                    <a:pt x="0" y="12343"/>
                  </a:lnTo>
                  <a:lnTo>
                    <a:pt x="0" y="12144"/>
                  </a:lnTo>
                  <a:lnTo>
                    <a:pt x="441" y="11845"/>
                  </a:lnTo>
                  <a:lnTo>
                    <a:pt x="771" y="11646"/>
                  </a:lnTo>
                  <a:lnTo>
                    <a:pt x="771" y="11347"/>
                  </a:lnTo>
                  <a:lnTo>
                    <a:pt x="992" y="11347"/>
                  </a:lnTo>
                  <a:lnTo>
                    <a:pt x="1212" y="11148"/>
                  </a:lnTo>
                  <a:lnTo>
                    <a:pt x="1212" y="10949"/>
                  </a:lnTo>
                  <a:lnTo>
                    <a:pt x="1322" y="10949"/>
                  </a:lnTo>
                  <a:lnTo>
                    <a:pt x="1543" y="10750"/>
                  </a:lnTo>
                  <a:lnTo>
                    <a:pt x="1543" y="10651"/>
                  </a:lnTo>
                  <a:lnTo>
                    <a:pt x="1322" y="10651"/>
                  </a:lnTo>
                  <a:lnTo>
                    <a:pt x="1322" y="10452"/>
                  </a:lnTo>
                  <a:lnTo>
                    <a:pt x="992" y="10452"/>
                  </a:lnTo>
                  <a:lnTo>
                    <a:pt x="992" y="10053"/>
                  </a:lnTo>
                  <a:lnTo>
                    <a:pt x="771" y="9954"/>
                  </a:lnTo>
                  <a:lnTo>
                    <a:pt x="771" y="9556"/>
                  </a:lnTo>
                  <a:lnTo>
                    <a:pt x="551" y="9556"/>
                  </a:lnTo>
                  <a:lnTo>
                    <a:pt x="551" y="9257"/>
                  </a:lnTo>
                  <a:lnTo>
                    <a:pt x="771" y="9257"/>
                  </a:lnTo>
                  <a:lnTo>
                    <a:pt x="771" y="9058"/>
                  </a:lnTo>
                  <a:lnTo>
                    <a:pt x="992" y="9058"/>
                  </a:lnTo>
                  <a:lnTo>
                    <a:pt x="992" y="8759"/>
                  </a:lnTo>
                  <a:lnTo>
                    <a:pt x="771" y="8759"/>
                  </a:lnTo>
                  <a:lnTo>
                    <a:pt x="771" y="8560"/>
                  </a:lnTo>
                  <a:lnTo>
                    <a:pt x="551" y="8560"/>
                  </a:lnTo>
                  <a:lnTo>
                    <a:pt x="551" y="8063"/>
                  </a:lnTo>
                  <a:lnTo>
                    <a:pt x="771" y="8063"/>
                  </a:lnTo>
                  <a:lnTo>
                    <a:pt x="771" y="7864"/>
                  </a:lnTo>
                  <a:lnTo>
                    <a:pt x="992" y="7864"/>
                  </a:lnTo>
                  <a:lnTo>
                    <a:pt x="992" y="7665"/>
                  </a:lnTo>
                  <a:lnTo>
                    <a:pt x="1212" y="7665"/>
                  </a:lnTo>
                  <a:lnTo>
                    <a:pt x="1212" y="7465"/>
                  </a:lnTo>
                  <a:lnTo>
                    <a:pt x="1322" y="7366"/>
                  </a:lnTo>
                  <a:lnTo>
                    <a:pt x="1322" y="6769"/>
                  </a:lnTo>
                  <a:lnTo>
                    <a:pt x="1212" y="6769"/>
                  </a:lnTo>
                  <a:lnTo>
                    <a:pt x="1212" y="5276"/>
                  </a:lnTo>
                  <a:lnTo>
                    <a:pt x="1543" y="4877"/>
                  </a:lnTo>
                  <a:lnTo>
                    <a:pt x="1543" y="4678"/>
                  </a:lnTo>
                  <a:lnTo>
                    <a:pt x="1763" y="4579"/>
                  </a:lnTo>
                  <a:lnTo>
                    <a:pt x="1763" y="4380"/>
                  </a:lnTo>
                  <a:lnTo>
                    <a:pt x="1543" y="4181"/>
                  </a:lnTo>
                  <a:lnTo>
                    <a:pt x="1543" y="3882"/>
                  </a:lnTo>
                  <a:lnTo>
                    <a:pt x="1322" y="3882"/>
                  </a:lnTo>
                  <a:lnTo>
                    <a:pt x="1322" y="3683"/>
                  </a:lnTo>
                  <a:lnTo>
                    <a:pt x="1212" y="3484"/>
                  </a:lnTo>
                  <a:lnTo>
                    <a:pt x="1212" y="3285"/>
                  </a:lnTo>
                  <a:lnTo>
                    <a:pt x="992" y="3185"/>
                  </a:lnTo>
                  <a:lnTo>
                    <a:pt x="992" y="2986"/>
                  </a:lnTo>
                  <a:lnTo>
                    <a:pt x="771" y="2986"/>
                  </a:lnTo>
                  <a:lnTo>
                    <a:pt x="771" y="2787"/>
                  </a:lnTo>
                  <a:lnTo>
                    <a:pt x="551" y="2787"/>
                  </a:lnTo>
                  <a:lnTo>
                    <a:pt x="551" y="2488"/>
                  </a:lnTo>
                  <a:lnTo>
                    <a:pt x="441" y="2488"/>
                  </a:lnTo>
                  <a:lnTo>
                    <a:pt x="441" y="2090"/>
                  </a:lnTo>
                  <a:lnTo>
                    <a:pt x="1212" y="2090"/>
                  </a:lnTo>
                  <a:lnTo>
                    <a:pt x="1212" y="2289"/>
                  </a:lnTo>
                  <a:lnTo>
                    <a:pt x="2094" y="2289"/>
                  </a:lnTo>
                  <a:lnTo>
                    <a:pt x="2094" y="2090"/>
                  </a:lnTo>
                  <a:lnTo>
                    <a:pt x="2314" y="2090"/>
                  </a:lnTo>
                  <a:lnTo>
                    <a:pt x="2314" y="1891"/>
                  </a:lnTo>
                  <a:lnTo>
                    <a:pt x="2755" y="1891"/>
                  </a:lnTo>
                  <a:lnTo>
                    <a:pt x="2755" y="1792"/>
                  </a:lnTo>
                  <a:lnTo>
                    <a:pt x="3086" y="1792"/>
                  </a:lnTo>
                  <a:lnTo>
                    <a:pt x="3086" y="1593"/>
                  </a:lnTo>
                  <a:lnTo>
                    <a:pt x="3527" y="1593"/>
                  </a:lnTo>
                  <a:lnTo>
                    <a:pt x="3527" y="1394"/>
                  </a:lnTo>
                  <a:lnTo>
                    <a:pt x="3637" y="1394"/>
                  </a:lnTo>
                  <a:lnTo>
                    <a:pt x="3637" y="1194"/>
                  </a:lnTo>
                  <a:lnTo>
                    <a:pt x="3857" y="1194"/>
                  </a:lnTo>
                  <a:lnTo>
                    <a:pt x="4078" y="1095"/>
                  </a:lnTo>
                  <a:lnTo>
                    <a:pt x="4298" y="1095"/>
                  </a:lnTo>
                  <a:lnTo>
                    <a:pt x="4408" y="896"/>
                  </a:lnTo>
                  <a:lnTo>
                    <a:pt x="4629" y="896"/>
                  </a:lnTo>
                  <a:lnTo>
                    <a:pt x="4849" y="697"/>
                  </a:lnTo>
                  <a:lnTo>
                    <a:pt x="4849" y="498"/>
                  </a:lnTo>
                  <a:lnTo>
                    <a:pt x="5180" y="498"/>
                  </a:lnTo>
                  <a:lnTo>
                    <a:pt x="5180" y="398"/>
                  </a:lnTo>
                  <a:lnTo>
                    <a:pt x="5400" y="398"/>
                  </a:lnTo>
                  <a:lnTo>
                    <a:pt x="5620" y="199"/>
                  </a:lnTo>
                  <a:lnTo>
                    <a:pt x="6171" y="199"/>
                  </a:lnTo>
                  <a:lnTo>
                    <a:pt x="6392" y="0"/>
                  </a:lnTo>
                  <a:close/>
                  <a:moveTo>
                    <a:pt x="6392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33" name="AutoShape 50"/>
            <p:cNvSpPr>
              <a:spLocks/>
            </p:cNvSpPr>
            <p:nvPr/>
          </p:nvSpPr>
          <p:spPr bwMode="auto">
            <a:xfrm>
              <a:off x="0" y="459"/>
              <a:ext cx="246" cy="124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9616" y="3967"/>
                  </a:moveTo>
                  <a:lnTo>
                    <a:pt x="20057" y="3967"/>
                  </a:lnTo>
                  <a:lnTo>
                    <a:pt x="20057" y="4408"/>
                  </a:lnTo>
                  <a:lnTo>
                    <a:pt x="19616" y="4408"/>
                  </a:lnTo>
                  <a:lnTo>
                    <a:pt x="19616" y="3967"/>
                  </a:lnTo>
                  <a:close/>
                  <a:moveTo>
                    <a:pt x="11902" y="0"/>
                  </a:moveTo>
                  <a:lnTo>
                    <a:pt x="12343" y="0"/>
                  </a:lnTo>
                  <a:lnTo>
                    <a:pt x="12784" y="882"/>
                  </a:lnTo>
                  <a:lnTo>
                    <a:pt x="14767" y="882"/>
                  </a:lnTo>
                  <a:lnTo>
                    <a:pt x="14767" y="0"/>
                  </a:lnTo>
                  <a:lnTo>
                    <a:pt x="15429" y="0"/>
                  </a:lnTo>
                  <a:lnTo>
                    <a:pt x="16310" y="1322"/>
                  </a:lnTo>
                  <a:lnTo>
                    <a:pt x="18514" y="1322"/>
                  </a:lnTo>
                  <a:lnTo>
                    <a:pt x="18514" y="2204"/>
                  </a:lnTo>
                  <a:lnTo>
                    <a:pt x="18955" y="2204"/>
                  </a:lnTo>
                  <a:lnTo>
                    <a:pt x="19616" y="3967"/>
                  </a:lnTo>
                  <a:lnTo>
                    <a:pt x="18955" y="3967"/>
                  </a:lnTo>
                  <a:lnTo>
                    <a:pt x="18955" y="4408"/>
                  </a:lnTo>
                  <a:lnTo>
                    <a:pt x="19176" y="5290"/>
                  </a:lnTo>
                  <a:lnTo>
                    <a:pt x="19616" y="5290"/>
                  </a:lnTo>
                  <a:lnTo>
                    <a:pt x="20057" y="6171"/>
                  </a:lnTo>
                  <a:lnTo>
                    <a:pt x="20057" y="4408"/>
                  </a:lnTo>
                  <a:lnTo>
                    <a:pt x="20498" y="4408"/>
                  </a:lnTo>
                  <a:lnTo>
                    <a:pt x="20498" y="5290"/>
                  </a:lnTo>
                  <a:lnTo>
                    <a:pt x="20718" y="6171"/>
                  </a:lnTo>
                  <a:lnTo>
                    <a:pt x="21159" y="6171"/>
                  </a:lnTo>
                  <a:lnTo>
                    <a:pt x="21159" y="7053"/>
                  </a:lnTo>
                  <a:lnTo>
                    <a:pt x="21600" y="7053"/>
                  </a:lnTo>
                  <a:lnTo>
                    <a:pt x="21600" y="7494"/>
                  </a:lnTo>
                  <a:lnTo>
                    <a:pt x="20498" y="7494"/>
                  </a:lnTo>
                  <a:lnTo>
                    <a:pt x="20057" y="8376"/>
                  </a:lnTo>
                  <a:lnTo>
                    <a:pt x="18955" y="8376"/>
                  </a:lnTo>
                  <a:lnTo>
                    <a:pt x="18955" y="9257"/>
                  </a:lnTo>
                  <a:lnTo>
                    <a:pt x="18073" y="9257"/>
                  </a:lnTo>
                  <a:lnTo>
                    <a:pt x="18073" y="10139"/>
                  </a:lnTo>
                  <a:lnTo>
                    <a:pt x="17412" y="10139"/>
                  </a:lnTo>
                  <a:lnTo>
                    <a:pt x="17412" y="9257"/>
                  </a:lnTo>
                  <a:lnTo>
                    <a:pt x="16310" y="9257"/>
                  </a:lnTo>
                  <a:lnTo>
                    <a:pt x="16310" y="8376"/>
                  </a:lnTo>
                  <a:lnTo>
                    <a:pt x="15869" y="8376"/>
                  </a:lnTo>
                  <a:lnTo>
                    <a:pt x="15429" y="9257"/>
                  </a:lnTo>
                  <a:lnTo>
                    <a:pt x="15429" y="10139"/>
                  </a:lnTo>
                  <a:lnTo>
                    <a:pt x="14988" y="10139"/>
                  </a:lnTo>
                  <a:lnTo>
                    <a:pt x="14988" y="12343"/>
                  </a:lnTo>
                  <a:lnTo>
                    <a:pt x="14327" y="12343"/>
                  </a:lnTo>
                  <a:lnTo>
                    <a:pt x="14327" y="13224"/>
                  </a:lnTo>
                  <a:lnTo>
                    <a:pt x="13886" y="13224"/>
                  </a:lnTo>
                  <a:lnTo>
                    <a:pt x="13886" y="13665"/>
                  </a:lnTo>
                  <a:lnTo>
                    <a:pt x="13445" y="13665"/>
                  </a:lnTo>
                  <a:lnTo>
                    <a:pt x="13445" y="14547"/>
                  </a:lnTo>
                  <a:lnTo>
                    <a:pt x="13224" y="14547"/>
                  </a:lnTo>
                  <a:lnTo>
                    <a:pt x="13224" y="15429"/>
                  </a:lnTo>
                  <a:lnTo>
                    <a:pt x="12343" y="15429"/>
                  </a:lnTo>
                  <a:lnTo>
                    <a:pt x="12343" y="14547"/>
                  </a:lnTo>
                  <a:lnTo>
                    <a:pt x="11902" y="14547"/>
                  </a:lnTo>
                  <a:lnTo>
                    <a:pt x="11902" y="13665"/>
                  </a:lnTo>
                  <a:lnTo>
                    <a:pt x="11682" y="13665"/>
                  </a:lnTo>
                  <a:lnTo>
                    <a:pt x="11682" y="14547"/>
                  </a:lnTo>
                  <a:lnTo>
                    <a:pt x="11241" y="14547"/>
                  </a:lnTo>
                  <a:lnTo>
                    <a:pt x="10800" y="15429"/>
                  </a:lnTo>
                  <a:lnTo>
                    <a:pt x="10800" y="15869"/>
                  </a:lnTo>
                  <a:lnTo>
                    <a:pt x="9257" y="15869"/>
                  </a:lnTo>
                  <a:lnTo>
                    <a:pt x="9257" y="19837"/>
                  </a:lnTo>
                  <a:lnTo>
                    <a:pt x="8596" y="19837"/>
                  </a:lnTo>
                  <a:lnTo>
                    <a:pt x="8596" y="20718"/>
                  </a:lnTo>
                  <a:lnTo>
                    <a:pt x="8155" y="20718"/>
                  </a:lnTo>
                  <a:lnTo>
                    <a:pt x="8155" y="21600"/>
                  </a:lnTo>
                  <a:lnTo>
                    <a:pt x="7273" y="21600"/>
                  </a:lnTo>
                  <a:lnTo>
                    <a:pt x="7273" y="20718"/>
                  </a:lnTo>
                  <a:lnTo>
                    <a:pt x="7053" y="20718"/>
                  </a:lnTo>
                  <a:lnTo>
                    <a:pt x="7053" y="19837"/>
                  </a:lnTo>
                  <a:lnTo>
                    <a:pt x="6612" y="19837"/>
                  </a:lnTo>
                  <a:lnTo>
                    <a:pt x="6612" y="18955"/>
                  </a:lnTo>
                  <a:lnTo>
                    <a:pt x="7053" y="18955"/>
                  </a:lnTo>
                  <a:lnTo>
                    <a:pt x="7053" y="18514"/>
                  </a:lnTo>
                  <a:lnTo>
                    <a:pt x="5731" y="18514"/>
                  </a:lnTo>
                  <a:lnTo>
                    <a:pt x="5731" y="15429"/>
                  </a:lnTo>
                  <a:lnTo>
                    <a:pt x="4629" y="15429"/>
                  </a:lnTo>
                  <a:lnTo>
                    <a:pt x="4629" y="14547"/>
                  </a:lnTo>
                  <a:lnTo>
                    <a:pt x="3967" y="14547"/>
                  </a:lnTo>
                  <a:lnTo>
                    <a:pt x="3967" y="15429"/>
                  </a:lnTo>
                  <a:lnTo>
                    <a:pt x="3086" y="15429"/>
                  </a:lnTo>
                  <a:lnTo>
                    <a:pt x="3086" y="14547"/>
                  </a:lnTo>
                  <a:lnTo>
                    <a:pt x="2424" y="14547"/>
                  </a:lnTo>
                  <a:lnTo>
                    <a:pt x="2424" y="13665"/>
                  </a:lnTo>
                  <a:lnTo>
                    <a:pt x="1984" y="13665"/>
                  </a:lnTo>
                  <a:lnTo>
                    <a:pt x="1984" y="13224"/>
                  </a:lnTo>
                  <a:lnTo>
                    <a:pt x="1543" y="13224"/>
                  </a:lnTo>
                  <a:lnTo>
                    <a:pt x="1543" y="12343"/>
                  </a:lnTo>
                  <a:lnTo>
                    <a:pt x="1102" y="12343"/>
                  </a:lnTo>
                  <a:lnTo>
                    <a:pt x="1102" y="11461"/>
                  </a:lnTo>
                  <a:lnTo>
                    <a:pt x="0" y="11461"/>
                  </a:lnTo>
                  <a:lnTo>
                    <a:pt x="0" y="10580"/>
                  </a:lnTo>
                  <a:lnTo>
                    <a:pt x="441" y="10580"/>
                  </a:lnTo>
                  <a:lnTo>
                    <a:pt x="441" y="10139"/>
                  </a:lnTo>
                  <a:lnTo>
                    <a:pt x="882" y="10139"/>
                  </a:lnTo>
                  <a:lnTo>
                    <a:pt x="882" y="8376"/>
                  </a:lnTo>
                  <a:lnTo>
                    <a:pt x="441" y="8376"/>
                  </a:lnTo>
                  <a:lnTo>
                    <a:pt x="882" y="7494"/>
                  </a:lnTo>
                  <a:lnTo>
                    <a:pt x="882" y="6171"/>
                  </a:lnTo>
                  <a:lnTo>
                    <a:pt x="1543" y="6171"/>
                  </a:lnTo>
                  <a:lnTo>
                    <a:pt x="2424" y="4408"/>
                  </a:lnTo>
                  <a:lnTo>
                    <a:pt x="2645" y="4408"/>
                  </a:lnTo>
                  <a:lnTo>
                    <a:pt x="3086" y="3967"/>
                  </a:lnTo>
                  <a:lnTo>
                    <a:pt x="3086" y="3086"/>
                  </a:lnTo>
                  <a:lnTo>
                    <a:pt x="3527" y="3086"/>
                  </a:lnTo>
                  <a:lnTo>
                    <a:pt x="3527" y="2204"/>
                  </a:lnTo>
                  <a:lnTo>
                    <a:pt x="3967" y="2204"/>
                  </a:lnTo>
                  <a:lnTo>
                    <a:pt x="3967" y="1322"/>
                  </a:lnTo>
                  <a:lnTo>
                    <a:pt x="5069" y="1322"/>
                  </a:lnTo>
                  <a:lnTo>
                    <a:pt x="5510" y="882"/>
                  </a:lnTo>
                  <a:lnTo>
                    <a:pt x="7273" y="882"/>
                  </a:lnTo>
                  <a:lnTo>
                    <a:pt x="7714" y="1322"/>
                  </a:lnTo>
                  <a:lnTo>
                    <a:pt x="11241" y="1322"/>
                  </a:lnTo>
                  <a:lnTo>
                    <a:pt x="11682" y="882"/>
                  </a:lnTo>
                  <a:lnTo>
                    <a:pt x="11902" y="882"/>
                  </a:lnTo>
                  <a:lnTo>
                    <a:pt x="11902" y="0"/>
                  </a:lnTo>
                  <a:close/>
                  <a:moveTo>
                    <a:pt x="11902" y="0"/>
                  </a:moveTo>
                </a:path>
              </a:pathLst>
            </a:custGeom>
            <a:solidFill>
              <a:srgbClr val="00BACF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34" name="Freeform 51"/>
            <p:cNvSpPr>
              <a:spLocks/>
            </p:cNvSpPr>
            <p:nvPr/>
          </p:nvSpPr>
          <p:spPr bwMode="auto">
            <a:xfrm>
              <a:off x="4" y="353"/>
              <a:ext cx="43" cy="113"/>
            </a:xfrm>
            <a:custGeom>
              <a:avLst/>
              <a:gdLst/>
              <a:ahLst/>
              <a:cxnLst>
                <a:cxn ang="0">
                  <a:pos x="17788" y="0"/>
                </a:cxn>
                <a:cxn ang="0">
                  <a:pos x="17788" y="1473"/>
                </a:cxn>
                <a:cxn ang="0">
                  <a:pos x="21600" y="1473"/>
                </a:cxn>
                <a:cxn ang="0">
                  <a:pos x="21600" y="5891"/>
                </a:cxn>
                <a:cxn ang="0">
                  <a:pos x="20329" y="6873"/>
                </a:cxn>
                <a:cxn ang="0">
                  <a:pos x="20329" y="14727"/>
                </a:cxn>
                <a:cxn ang="0">
                  <a:pos x="17788" y="15218"/>
                </a:cxn>
                <a:cxn ang="0">
                  <a:pos x="17788" y="17182"/>
                </a:cxn>
                <a:cxn ang="0">
                  <a:pos x="15247" y="17182"/>
                </a:cxn>
                <a:cxn ang="0">
                  <a:pos x="15247" y="18164"/>
                </a:cxn>
                <a:cxn ang="0">
                  <a:pos x="12706" y="18164"/>
                </a:cxn>
                <a:cxn ang="0">
                  <a:pos x="12706" y="18655"/>
                </a:cxn>
                <a:cxn ang="0">
                  <a:pos x="11435" y="18655"/>
                </a:cxn>
                <a:cxn ang="0">
                  <a:pos x="11435" y="19636"/>
                </a:cxn>
                <a:cxn ang="0">
                  <a:pos x="8894" y="19636"/>
                </a:cxn>
                <a:cxn ang="0">
                  <a:pos x="8894" y="20618"/>
                </a:cxn>
                <a:cxn ang="0">
                  <a:pos x="6353" y="21600"/>
                </a:cxn>
                <a:cxn ang="0">
                  <a:pos x="0" y="21600"/>
                </a:cxn>
                <a:cxn ang="0">
                  <a:pos x="0" y="17182"/>
                </a:cxn>
                <a:cxn ang="0">
                  <a:pos x="2541" y="15218"/>
                </a:cxn>
                <a:cxn ang="0">
                  <a:pos x="2541" y="4418"/>
                </a:cxn>
                <a:cxn ang="0">
                  <a:pos x="3812" y="4418"/>
                </a:cxn>
                <a:cxn ang="0">
                  <a:pos x="6353" y="4909"/>
                </a:cxn>
                <a:cxn ang="0">
                  <a:pos x="8894" y="4909"/>
                </a:cxn>
                <a:cxn ang="0">
                  <a:pos x="8894" y="4418"/>
                </a:cxn>
                <a:cxn ang="0">
                  <a:pos x="11435" y="4418"/>
                </a:cxn>
                <a:cxn ang="0">
                  <a:pos x="11435" y="3436"/>
                </a:cxn>
                <a:cxn ang="0">
                  <a:pos x="12706" y="3436"/>
                </a:cxn>
                <a:cxn ang="0">
                  <a:pos x="12706" y="1473"/>
                </a:cxn>
                <a:cxn ang="0">
                  <a:pos x="15247" y="1473"/>
                </a:cxn>
                <a:cxn ang="0">
                  <a:pos x="15247" y="982"/>
                </a:cxn>
                <a:cxn ang="0">
                  <a:pos x="17788" y="0"/>
                </a:cxn>
                <a:cxn ang="0">
                  <a:pos x="17788" y="0"/>
                </a:cxn>
              </a:cxnLst>
              <a:rect l="0" t="0" r="r" b="b"/>
              <a:pathLst>
                <a:path w="21600" h="21600">
                  <a:moveTo>
                    <a:pt x="17788" y="0"/>
                  </a:moveTo>
                  <a:lnTo>
                    <a:pt x="17788" y="1473"/>
                  </a:lnTo>
                  <a:lnTo>
                    <a:pt x="21600" y="1473"/>
                  </a:lnTo>
                  <a:lnTo>
                    <a:pt x="21600" y="5891"/>
                  </a:lnTo>
                  <a:lnTo>
                    <a:pt x="20329" y="6873"/>
                  </a:lnTo>
                  <a:lnTo>
                    <a:pt x="20329" y="14727"/>
                  </a:lnTo>
                  <a:lnTo>
                    <a:pt x="17788" y="15218"/>
                  </a:lnTo>
                  <a:lnTo>
                    <a:pt x="17788" y="17182"/>
                  </a:lnTo>
                  <a:lnTo>
                    <a:pt x="15247" y="17182"/>
                  </a:lnTo>
                  <a:lnTo>
                    <a:pt x="15247" y="18164"/>
                  </a:lnTo>
                  <a:lnTo>
                    <a:pt x="12706" y="18164"/>
                  </a:lnTo>
                  <a:lnTo>
                    <a:pt x="12706" y="18655"/>
                  </a:lnTo>
                  <a:lnTo>
                    <a:pt x="11435" y="18655"/>
                  </a:lnTo>
                  <a:lnTo>
                    <a:pt x="11435" y="19636"/>
                  </a:lnTo>
                  <a:lnTo>
                    <a:pt x="8894" y="19636"/>
                  </a:lnTo>
                  <a:lnTo>
                    <a:pt x="8894" y="20618"/>
                  </a:lnTo>
                  <a:lnTo>
                    <a:pt x="6353" y="21600"/>
                  </a:lnTo>
                  <a:lnTo>
                    <a:pt x="0" y="21600"/>
                  </a:lnTo>
                  <a:lnTo>
                    <a:pt x="0" y="17182"/>
                  </a:lnTo>
                  <a:lnTo>
                    <a:pt x="2541" y="15218"/>
                  </a:lnTo>
                  <a:lnTo>
                    <a:pt x="2541" y="4418"/>
                  </a:lnTo>
                  <a:lnTo>
                    <a:pt x="3812" y="4418"/>
                  </a:lnTo>
                  <a:lnTo>
                    <a:pt x="6353" y="4909"/>
                  </a:lnTo>
                  <a:lnTo>
                    <a:pt x="8894" y="4909"/>
                  </a:lnTo>
                  <a:lnTo>
                    <a:pt x="8894" y="4418"/>
                  </a:lnTo>
                  <a:lnTo>
                    <a:pt x="11435" y="4418"/>
                  </a:lnTo>
                  <a:lnTo>
                    <a:pt x="11435" y="3436"/>
                  </a:lnTo>
                  <a:lnTo>
                    <a:pt x="12706" y="3436"/>
                  </a:lnTo>
                  <a:lnTo>
                    <a:pt x="12706" y="1473"/>
                  </a:lnTo>
                  <a:lnTo>
                    <a:pt x="15247" y="1473"/>
                  </a:lnTo>
                  <a:lnTo>
                    <a:pt x="15247" y="982"/>
                  </a:lnTo>
                  <a:lnTo>
                    <a:pt x="17788" y="0"/>
                  </a:lnTo>
                  <a:close/>
                  <a:moveTo>
                    <a:pt x="17788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35" name="AutoShape 52"/>
            <p:cNvSpPr>
              <a:spLocks/>
            </p:cNvSpPr>
            <p:nvPr/>
          </p:nvSpPr>
          <p:spPr bwMode="auto">
            <a:xfrm>
              <a:off x="679" y="208"/>
              <a:ext cx="43" cy="15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7788" y="14400"/>
                  </a:moveTo>
                  <a:lnTo>
                    <a:pt x="21600" y="14400"/>
                  </a:lnTo>
                  <a:lnTo>
                    <a:pt x="21600" y="21600"/>
                  </a:lnTo>
                  <a:lnTo>
                    <a:pt x="17788" y="21600"/>
                  </a:lnTo>
                  <a:lnTo>
                    <a:pt x="17788" y="14400"/>
                  </a:lnTo>
                  <a:close/>
                  <a:moveTo>
                    <a:pt x="2541" y="14400"/>
                  </a:moveTo>
                  <a:lnTo>
                    <a:pt x="2541" y="21600"/>
                  </a:lnTo>
                  <a:lnTo>
                    <a:pt x="0" y="21600"/>
                  </a:lnTo>
                  <a:lnTo>
                    <a:pt x="2541" y="14400"/>
                  </a:lnTo>
                  <a:close/>
                  <a:moveTo>
                    <a:pt x="8894" y="0"/>
                  </a:moveTo>
                  <a:lnTo>
                    <a:pt x="8894" y="14400"/>
                  </a:lnTo>
                  <a:lnTo>
                    <a:pt x="2541" y="14400"/>
                  </a:lnTo>
                  <a:lnTo>
                    <a:pt x="2541" y="7200"/>
                  </a:lnTo>
                  <a:lnTo>
                    <a:pt x="6353" y="7200"/>
                  </a:lnTo>
                  <a:lnTo>
                    <a:pt x="12706" y="0"/>
                  </a:lnTo>
                  <a:lnTo>
                    <a:pt x="12706" y="7200"/>
                  </a:lnTo>
                  <a:lnTo>
                    <a:pt x="17788" y="7200"/>
                  </a:lnTo>
                  <a:lnTo>
                    <a:pt x="17788" y="14400"/>
                  </a:lnTo>
                  <a:lnTo>
                    <a:pt x="12706" y="14400"/>
                  </a:lnTo>
                  <a:lnTo>
                    <a:pt x="8894" y="0"/>
                  </a:lnTo>
                  <a:close/>
                  <a:moveTo>
                    <a:pt x="8894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36" name="Freeform 53"/>
            <p:cNvSpPr>
              <a:spLocks/>
            </p:cNvSpPr>
            <p:nvPr/>
          </p:nvSpPr>
          <p:spPr bwMode="auto">
            <a:xfrm>
              <a:off x="446" y="353"/>
              <a:ext cx="86" cy="36"/>
            </a:xfrm>
            <a:custGeom>
              <a:avLst/>
              <a:gdLst/>
              <a:ahLst/>
              <a:cxnLst>
                <a:cxn ang="0">
                  <a:pos x="3176" y="0"/>
                </a:cxn>
                <a:cxn ang="0">
                  <a:pos x="8259" y="0"/>
                </a:cxn>
                <a:cxn ang="0">
                  <a:pos x="9529" y="3086"/>
                </a:cxn>
                <a:cxn ang="0">
                  <a:pos x="9529" y="0"/>
                </a:cxn>
                <a:cxn ang="0">
                  <a:pos x="10800" y="0"/>
                </a:cxn>
                <a:cxn ang="0">
                  <a:pos x="10800" y="3086"/>
                </a:cxn>
                <a:cxn ang="0">
                  <a:pos x="15247" y="3086"/>
                </a:cxn>
                <a:cxn ang="0">
                  <a:pos x="15247" y="4629"/>
                </a:cxn>
                <a:cxn ang="0">
                  <a:pos x="16518" y="7714"/>
                </a:cxn>
                <a:cxn ang="0">
                  <a:pos x="19694" y="7714"/>
                </a:cxn>
                <a:cxn ang="0">
                  <a:pos x="19694" y="10800"/>
                </a:cxn>
                <a:cxn ang="0">
                  <a:pos x="20965" y="10800"/>
                </a:cxn>
                <a:cxn ang="0">
                  <a:pos x="20965" y="13886"/>
                </a:cxn>
                <a:cxn ang="0">
                  <a:pos x="21600" y="15429"/>
                </a:cxn>
                <a:cxn ang="0">
                  <a:pos x="13976" y="15429"/>
                </a:cxn>
                <a:cxn ang="0">
                  <a:pos x="13976" y="18514"/>
                </a:cxn>
                <a:cxn ang="0">
                  <a:pos x="12706" y="18514"/>
                </a:cxn>
                <a:cxn ang="0">
                  <a:pos x="12706" y="15429"/>
                </a:cxn>
                <a:cxn ang="0">
                  <a:pos x="12071" y="15429"/>
                </a:cxn>
                <a:cxn ang="0">
                  <a:pos x="12071" y="21600"/>
                </a:cxn>
                <a:cxn ang="0">
                  <a:pos x="10800" y="21600"/>
                </a:cxn>
                <a:cxn ang="0">
                  <a:pos x="10800" y="18514"/>
                </a:cxn>
                <a:cxn ang="0">
                  <a:pos x="9529" y="18514"/>
                </a:cxn>
                <a:cxn ang="0">
                  <a:pos x="9529" y="15429"/>
                </a:cxn>
                <a:cxn ang="0">
                  <a:pos x="5082" y="15429"/>
                </a:cxn>
                <a:cxn ang="0">
                  <a:pos x="5082" y="13886"/>
                </a:cxn>
                <a:cxn ang="0">
                  <a:pos x="3812" y="13886"/>
                </a:cxn>
                <a:cxn ang="0">
                  <a:pos x="3812" y="10800"/>
                </a:cxn>
                <a:cxn ang="0">
                  <a:pos x="3176" y="10800"/>
                </a:cxn>
                <a:cxn ang="0">
                  <a:pos x="3176" y="7714"/>
                </a:cxn>
                <a:cxn ang="0">
                  <a:pos x="0" y="7714"/>
                </a:cxn>
                <a:cxn ang="0">
                  <a:pos x="0" y="3086"/>
                </a:cxn>
                <a:cxn ang="0">
                  <a:pos x="1906" y="3086"/>
                </a:cxn>
                <a:cxn ang="0">
                  <a:pos x="3176" y="0"/>
                </a:cxn>
                <a:cxn ang="0">
                  <a:pos x="3176" y="0"/>
                </a:cxn>
              </a:cxnLst>
              <a:rect l="0" t="0" r="r" b="b"/>
              <a:pathLst>
                <a:path w="21600" h="21600">
                  <a:moveTo>
                    <a:pt x="3176" y="0"/>
                  </a:moveTo>
                  <a:lnTo>
                    <a:pt x="8259" y="0"/>
                  </a:lnTo>
                  <a:lnTo>
                    <a:pt x="9529" y="3086"/>
                  </a:lnTo>
                  <a:lnTo>
                    <a:pt x="9529" y="0"/>
                  </a:lnTo>
                  <a:lnTo>
                    <a:pt x="10800" y="0"/>
                  </a:lnTo>
                  <a:lnTo>
                    <a:pt x="10800" y="3086"/>
                  </a:lnTo>
                  <a:lnTo>
                    <a:pt x="15247" y="3086"/>
                  </a:lnTo>
                  <a:lnTo>
                    <a:pt x="15247" y="4629"/>
                  </a:lnTo>
                  <a:lnTo>
                    <a:pt x="16518" y="7714"/>
                  </a:lnTo>
                  <a:lnTo>
                    <a:pt x="19694" y="7714"/>
                  </a:lnTo>
                  <a:lnTo>
                    <a:pt x="19694" y="10800"/>
                  </a:lnTo>
                  <a:lnTo>
                    <a:pt x="20965" y="10800"/>
                  </a:lnTo>
                  <a:lnTo>
                    <a:pt x="20965" y="13886"/>
                  </a:lnTo>
                  <a:lnTo>
                    <a:pt x="21600" y="15429"/>
                  </a:lnTo>
                  <a:lnTo>
                    <a:pt x="13976" y="15429"/>
                  </a:lnTo>
                  <a:lnTo>
                    <a:pt x="13976" y="18514"/>
                  </a:lnTo>
                  <a:lnTo>
                    <a:pt x="12706" y="18514"/>
                  </a:lnTo>
                  <a:lnTo>
                    <a:pt x="12706" y="15429"/>
                  </a:lnTo>
                  <a:lnTo>
                    <a:pt x="12071" y="15429"/>
                  </a:lnTo>
                  <a:lnTo>
                    <a:pt x="12071" y="21600"/>
                  </a:lnTo>
                  <a:lnTo>
                    <a:pt x="10800" y="21600"/>
                  </a:lnTo>
                  <a:lnTo>
                    <a:pt x="10800" y="18514"/>
                  </a:lnTo>
                  <a:lnTo>
                    <a:pt x="9529" y="18514"/>
                  </a:lnTo>
                  <a:lnTo>
                    <a:pt x="9529" y="15429"/>
                  </a:lnTo>
                  <a:lnTo>
                    <a:pt x="5082" y="15429"/>
                  </a:lnTo>
                  <a:lnTo>
                    <a:pt x="5082" y="13886"/>
                  </a:lnTo>
                  <a:lnTo>
                    <a:pt x="3812" y="13886"/>
                  </a:lnTo>
                  <a:lnTo>
                    <a:pt x="3812" y="10800"/>
                  </a:lnTo>
                  <a:lnTo>
                    <a:pt x="3176" y="10800"/>
                  </a:lnTo>
                  <a:lnTo>
                    <a:pt x="3176" y="7714"/>
                  </a:lnTo>
                  <a:lnTo>
                    <a:pt x="0" y="7714"/>
                  </a:lnTo>
                  <a:lnTo>
                    <a:pt x="0" y="3086"/>
                  </a:lnTo>
                  <a:lnTo>
                    <a:pt x="1906" y="3086"/>
                  </a:lnTo>
                  <a:lnTo>
                    <a:pt x="3176" y="0"/>
                  </a:lnTo>
                  <a:close/>
                  <a:moveTo>
                    <a:pt x="3176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37" name="Freeform 54"/>
            <p:cNvSpPr>
              <a:spLocks/>
            </p:cNvSpPr>
            <p:nvPr/>
          </p:nvSpPr>
          <p:spPr bwMode="auto">
            <a:xfrm>
              <a:off x="653" y="337"/>
              <a:ext cx="11" cy="1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500" y="0"/>
                </a:cxn>
                <a:cxn ang="0">
                  <a:pos x="13500" y="8640"/>
                </a:cxn>
                <a:cxn ang="0">
                  <a:pos x="21600" y="8640"/>
                </a:cxn>
                <a:cxn ang="0">
                  <a:pos x="21600" y="21600"/>
                </a:cxn>
                <a:cxn ang="0">
                  <a:pos x="18900" y="12960"/>
                </a:cxn>
                <a:cxn ang="0">
                  <a:pos x="8100" y="12960"/>
                </a:cxn>
                <a:cxn ang="0">
                  <a:pos x="8100" y="8640"/>
                </a:cxn>
                <a:cxn ang="0">
                  <a:pos x="0" y="864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13500" y="0"/>
                  </a:lnTo>
                  <a:lnTo>
                    <a:pt x="13500" y="8640"/>
                  </a:lnTo>
                  <a:lnTo>
                    <a:pt x="21600" y="8640"/>
                  </a:lnTo>
                  <a:lnTo>
                    <a:pt x="21600" y="21600"/>
                  </a:lnTo>
                  <a:lnTo>
                    <a:pt x="18900" y="12960"/>
                  </a:lnTo>
                  <a:lnTo>
                    <a:pt x="8100" y="12960"/>
                  </a:lnTo>
                  <a:lnTo>
                    <a:pt x="8100" y="8640"/>
                  </a:lnTo>
                  <a:lnTo>
                    <a:pt x="0" y="8640"/>
                  </a:lnTo>
                  <a:lnTo>
                    <a:pt x="0" y="0"/>
                  </a:lnTo>
                  <a:close/>
                  <a:moveTo>
                    <a:pt x="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38" name="Freeform 55"/>
            <p:cNvSpPr>
              <a:spLocks/>
            </p:cNvSpPr>
            <p:nvPr/>
          </p:nvSpPr>
          <p:spPr bwMode="auto">
            <a:xfrm>
              <a:off x="602" y="294"/>
              <a:ext cx="116" cy="83"/>
            </a:xfrm>
            <a:custGeom>
              <a:avLst/>
              <a:gdLst/>
              <a:ahLst/>
              <a:cxnLst>
                <a:cxn ang="0">
                  <a:pos x="13148" y="0"/>
                </a:cxn>
                <a:cxn ang="0">
                  <a:pos x="15965" y="655"/>
                </a:cxn>
                <a:cxn ang="0">
                  <a:pos x="18313" y="1964"/>
                </a:cxn>
                <a:cxn ang="0">
                  <a:pos x="18783" y="3273"/>
                </a:cxn>
                <a:cxn ang="0">
                  <a:pos x="19722" y="1964"/>
                </a:cxn>
                <a:cxn ang="0">
                  <a:pos x="20661" y="3273"/>
                </a:cxn>
                <a:cxn ang="0">
                  <a:pos x="21600" y="5236"/>
                </a:cxn>
                <a:cxn ang="0">
                  <a:pos x="20661" y="6545"/>
                </a:cxn>
                <a:cxn ang="0">
                  <a:pos x="21600" y="7855"/>
                </a:cxn>
                <a:cxn ang="0">
                  <a:pos x="20661" y="9818"/>
                </a:cxn>
                <a:cxn ang="0">
                  <a:pos x="18783" y="14400"/>
                </a:cxn>
                <a:cxn ang="0">
                  <a:pos x="19722" y="15709"/>
                </a:cxn>
                <a:cxn ang="0">
                  <a:pos x="20661" y="17018"/>
                </a:cxn>
                <a:cxn ang="0">
                  <a:pos x="21600" y="17673"/>
                </a:cxn>
                <a:cxn ang="0">
                  <a:pos x="20661" y="20291"/>
                </a:cxn>
                <a:cxn ang="0">
                  <a:pos x="19722" y="18982"/>
                </a:cxn>
                <a:cxn ang="0">
                  <a:pos x="14087" y="20291"/>
                </a:cxn>
                <a:cxn ang="0">
                  <a:pos x="10800" y="18982"/>
                </a:cxn>
                <a:cxn ang="0">
                  <a:pos x="6104" y="21600"/>
                </a:cxn>
                <a:cxn ang="0">
                  <a:pos x="4226" y="20291"/>
                </a:cxn>
                <a:cxn ang="0">
                  <a:pos x="2817" y="18982"/>
                </a:cxn>
                <a:cxn ang="0">
                  <a:pos x="0" y="17673"/>
                </a:cxn>
                <a:cxn ang="0">
                  <a:pos x="939" y="15709"/>
                </a:cxn>
                <a:cxn ang="0">
                  <a:pos x="5165" y="14400"/>
                </a:cxn>
                <a:cxn ang="0">
                  <a:pos x="9391" y="15709"/>
                </a:cxn>
                <a:cxn ang="0">
                  <a:pos x="14087" y="17018"/>
                </a:cxn>
                <a:cxn ang="0">
                  <a:pos x="16435" y="15709"/>
                </a:cxn>
                <a:cxn ang="0">
                  <a:pos x="15965" y="13091"/>
                </a:cxn>
                <a:cxn ang="0">
                  <a:pos x="15026" y="12436"/>
                </a:cxn>
                <a:cxn ang="0">
                  <a:pos x="14087" y="11127"/>
                </a:cxn>
                <a:cxn ang="0">
                  <a:pos x="13148" y="9818"/>
                </a:cxn>
                <a:cxn ang="0">
                  <a:pos x="12678" y="8509"/>
                </a:cxn>
                <a:cxn ang="0">
                  <a:pos x="13148" y="5236"/>
                </a:cxn>
                <a:cxn ang="0">
                  <a:pos x="11739" y="4582"/>
                </a:cxn>
                <a:cxn ang="0">
                  <a:pos x="10800" y="3273"/>
                </a:cxn>
                <a:cxn ang="0">
                  <a:pos x="9861" y="4582"/>
                </a:cxn>
                <a:cxn ang="0">
                  <a:pos x="8452" y="3273"/>
                </a:cxn>
                <a:cxn ang="0">
                  <a:pos x="9391" y="655"/>
                </a:cxn>
                <a:cxn ang="0">
                  <a:pos x="11739" y="0"/>
                </a:cxn>
              </a:cxnLst>
              <a:rect l="0" t="0" r="r" b="b"/>
              <a:pathLst>
                <a:path w="21600" h="21600">
                  <a:moveTo>
                    <a:pt x="11739" y="0"/>
                  </a:moveTo>
                  <a:lnTo>
                    <a:pt x="13148" y="0"/>
                  </a:lnTo>
                  <a:lnTo>
                    <a:pt x="14087" y="655"/>
                  </a:lnTo>
                  <a:lnTo>
                    <a:pt x="15965" y="655"/>
                  </a:lnTo>
                  <a:lnTo>
                    <a:pt x="15965" y="1964"/>
                  </a:lnTo>
                  <a:lnTo>
                    <a:pt x="18313" y="1964"/>
                  </a:lnTo>
                  <a:lnTo>
                    <a:pt x="18313" y="3273"/>
                  </a:lnTo>
                  <a:lnTo>
                    <a:pt x="18783" y="3273"/>
                  </a:lnTo>
                  <a:lnTo>
                    <a:pt x="18783" y="1964"/>
                  </a:lnTo>
                  <a:lnTo>
                    <a:pt x="19722" y="1964"/>
                  </a:lnTo>
                  <a:lnTo>
                    <a:pt x="19722" y="3273"/>
                  </a:lnTo>
                  <a:lnTo>
                    <a:pt x="20661" y="3273"/>
                  </a:lnTo>
                  <a:lnTo>
                    <a:pt x="20661" y="4582"/>
                  </a:lnTo>
                  <a:lnTo>
                    <a:pt x="21600" y="5236"/>
                  </a:lnTo>
                  <a:lnTo>
                    <a:pt x="21600" y="6545"/>
                  </a:lnTo>
                  <a:lnTo>
                    <a:pt x="20661" y="6545"/>
                  </a:lnTo>
                  <a:lnTo>
                    <a:pt x="20661" y="7855"/>
                  </a:lnTo>
                  <a:lnTo>
                    <a:pt x="21600" y="7855"/>
                  </a:lnTo>
                  <a:lnTo>
                    <a:pt x="21600" y="9818"/>
                  </a:lnTo>
                  <a:lnTo>
                    <a:pt x="20661" y="9818"/>
                  </a:lnTo>
                  <a:lnTo>
                    <a:pt x="20661" y="14400"/>
                  </a:lnTo>
                  <a:lnTo>
                    <a:pt x="18783" y="14400"/>
                  </a:lnTo>
                  <a:lnTo>
                    <a:pt x="18783" y="15709"/>
                  </a:lnTo>
                  <a:lnTo>
                    <a:pt x="19722" y="15709"/>
                  </a:lnTo>
                  <a:lnTo>
                    <a:pt x="19722" y="17018"/>
                  </a:lnTo>
                  <a:lnTo>
                    <a:pt x="20661" y="17018"/>
                  </a:lnTo>
                  <a:lnTo>
                    <a:pt x="20661" y="17673"/>
                  </a:lnTo>
                  <a:lnTo>
                    <a:pt x="21600" y="17673"/>
                  </a:lnTo>
                  <a:lnTo>
                    <a:pt x="20661" y="18982"/>
                  </a:lnTo>
                  <a:lnTo>
                    <a:pt x="20661" y="20291"/>
                  </a:lnTo>
                  <a:lnTo>
                    <a:pt x="19722" y="20291"/>
                  </a:lnTo>
                  <a:lnTo>
                    <a:pt x="19722" y="18982"/>
                  </a:lnTo>
                  <a:lnTo>
                    <a:pt x="15026" y="18982"/>
                  </a:lnTo>
                  <a:lnTo>
                    <a:pt x="14087" y="20291"/>
                  </a:lnTo>
                  <a:lnTo>
                    <a:pt x="11739" y="20291"/>
                  </a:lnTo>
                  <a:lnTo>
                    <a:pt x="10800" y="18982"/>
                  </a:lnTo>
                  <a:lnTo>
                    <a:pt x="6104" y="18982"/>
                  </a:lnTo>
                  <a:lnTo>
                    <a:pt x="6104" y="21600"/>
                  </a:lnTo>
                  <a:lnTo>
                    <a:pt x="4226" y="21600"/>
                  </a:lnTo>
                  <a:lnTo>
                    <a:pt x="4226" y="20291"/>
                  </a:lnTo>
                  <a:lnTo>
                    <a:pt x="3287" y="18982"/>
                  </a:lnTo>
                  <a:lnTo>
                    <a:pt x="2817" y="18982"/>
                  </a:lnTo>
                  <a:lnTo>
                    <a:pt x="2817" y="17673"/>
                  </a:lnTo>
                  <a:lnTo>
                    <a:pt x="0" y="17673"/>
                  </a:lnTo>
                  <a:lnTo>
                    <a:pt x="0" y="15709"/>
                  </a:lnTo>
                  <a:lnTo>
                    <a:pt x="939" y="15709"/>
                  </a:lnTo>
                  <a:lnTo>
                    <a:pt x="939" y="14400"/>
                  </a:lnTo>
                  <a:lnTo>
                    <a:pt x="5165" y="14400"/>
                  </a:lnTo>
                  <a:lnTo>
                    <a:pt x="5165" y="15709"/>
                  </a:lnTo>
                  <a:lnTo>
                    <a:pt x="9391" y="15709"/>
                  </a:lnTo>
                  <a:lnTo>
                    <a:pt x="9391" y="17018"/>
                  </a:lnTo>
                  <a:lnTo>
                    <a:pt x="14087" y="17018"/>
                  </a:lnTo>
                  <a:lnTo>
                    <a:pt x="14087" y="15709"/>
                  </a:lnTo>
                  <a:lnTo>
                    <a:pt x="16435" y="15709"/>
                  </a:lnTo>
                  <a:lnTo>
                    <a:pt x="16435" y="14400"/>
                  </a:lnTo>
                  <a:lnTo>
                    <a:pt x="15965" y="13091"/>
                  </a:lnTo>
                  <a:lnTo>
                    <a:pt x="15026" y="13091"/>
                  </a:lnTo>
                  <a:lnTo>
                    <a:pt x="15026" y="12436"/>
                  </a:lnTo>
                  <a:lnTo>
                    <a:pt x="14087" y="12436"/>
                  </a:lnTo>
                  <a:lnTo>
                    <a:pt x="14087" y="11127"/>
                  </a:lnTo>
                  <a:lnTo>
                    <a:pt x="13148" y="11127"/>
                  </a:lnTo>
                  <a:lnTo>
                    <a:pt x="13148" y="9818"/>
                  </a:lnTo>
                  <a:lnTo>
                    <a:pt x="12678" y="9818"/>
                  </a:lnTo>
                  <a:lnTo>
                    <a:pt x="12678" y="8509"/>
                  </a:lnTo>
                  <a:lnTo>
                    <a:pt x="13148" y="8509"/>
                  </a:lnTo>
                  <a:lnTo>
                    <a:pt x="13148" y="5236"/>
                  </a:lnTo>
                  <a:lnTo>
                    <a:pt x="12678" y="4582"/>
                  </a:lnTo>
                  <a:lnTo>
                    <a:pt x="11739" y="4582"/>
                  </a:lnTo>
                  <a:lnTo>
                    <a:pt x="11739" y="3273"/>
                  </a:lnTo>
                  <a:lnTo>
                    <a:pt x="10800" y="3273"/>
                  </a:lnTo>
                  <a:lnTo>
                    <a:pt x="10800" y="4582"/>
                  </a:lnTo>
                  <a:lnTo>
                    <a:pt x="9861" y="4582"/>
                  </a:lnTo>
                  <a:lnTo>
                    <a:pt x="9861" y="3273"/>
                  </a:lnTo>
                  <a:lnTo>
                    <a:pt x="8452" y="3273"/>
                  </a:lnTo>
                  <a:lnTo>
                    <a:pt x="8452" y="1964"/>
                  </a:lnTo>
                  <a:lnTo>
                    <a:pt x="9391" y="655"/>
                  </a:lnTo>
                  <a:lnTo>
                    <a:pt x="11739" y="655"/>
                  </a:lnTo>
                  <a:lnTo>
                    <a:pt x="11739" y="0"/>
                  </a:lnTo>
                  <a:close/>
                  <a:moveTo>
                    <a:pt x="11739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39" name="AutoShape 56"/>
            <p:cNvSpPr>
              <a:spLocks/>
            </p:cNvSpPr>
            <p:nvPr/>
          </p:nvSpPr>
          <p:spPr bwMode="auto">
            <a:xfrm>
              <a:off x="702" y="294"/>
              <a:ext cx="152" cy="98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9080" y="15660"/>
                  </a:moveTo>
                  <a:lnTo>
                    <a:pt x="19800" y="16740"/>
                  </a:lnTo>
                  <a:lnTo>
                    <a:pt x="19080" y="16740"/>
                  </a:lnTo>
                  <a:lnTo>
                    <a:pt x="19080" y="15660"/>
                  </a:lnTo>
                  <a:close/>
                  <a:moveTo>
                    <a:pt x="0" y="11880"/>
                  </a:moveTo>
                  <a:lnTo>
                    <a:pt x="720" y="11880"/>
                  </a:lnTo>
                  <a:lnTo>
                    <a:pt x="720" y="12960"/>
                  </a:lnTo>
                  <a:lnTo>
                    <a:pt x="0" y="12960"/>
                  </a:lnTo>
                  <a:lnTo>
                    <a:pt x="0" y="11880"/>
                  </a:lnTo>
                  <a:close/>
                  <a:moveTo>
                    <a:pt x="5760" y="0"/>
                  </a:moveTo>
                  <a:lnTo>
                    <a:pt x="5760" y="540"/>
                  </a:lnTo>
                  <a:lnTo>
                    <a:pt x="7560" y="540"/>
                  </a:lnTo>
                  <a:lnTo>
                    <a:pt x="7560" y="1620"/>
                  </a:lnTo>
                  <a:lnTo>
                    <a:pt x="9720" y="1620"/>
                  </a:lnTo>
                  <a:lnTo>
                    <a:pt x="9720" y="2700"/>
                  </a:lnTo>
                  <a:lnTo>
                    <a:pt x="12240" y="2700"/>
                  </a:lnTo>
                  <a:lnTo>
                    <a:pt x="12240" y="4320"/>
                  </a:lnTo>
                  <a:lnTo>
                    <a:pt x="12600" y="5400"/>
                  </a:lnTo>
                  <a:lnTo>
                    <a:pt x="12600" y="6480"/>
                  </a:lnTo>
                  <a:lnTo>
                    <a:pt x="14040" y="6480"/>
                  </a:lnTo>
                  <a:lnTo>
                    <a:pt x="14040" y="7020"/>
                  </a:lnTo>
                  <a:lnTo>
                    <a:pt x="14760" y="7020"/>
                  </a:lnTo>
                  <a:lnTo>
                    <a:pt x="14760" y="6480"/>
                  </a:lnTo>
                  <a:lnTo>
                    <a:pt x="14040" y="6480"/>
                  </a:lnTo>
                  <a:lnTo>
                    <a:pt x="14040" y="5400"/>
                  </a:lnTo>
                  <a:lnTo>
                    <a:pt x="16560" y="5400"/>
                  </a:lnTo>
                  <a:lnTo>
                    <a:pt x="16560" y="6480"/>
                  </a:lnTo>
                  <a:lnTo>
                    <a:pt x="15120" y="6480"/>
                  </a:lnTo>
                  <a:lnTo>
                    <a:pt x="15120" y="8100"/>
                  </a:lnTo>
                  <a:lnTo>
                    <a:pt x="19080" y="8100"/>
                  </a:lnTo>
                  <a:lnTo>
                    <a:pt x="19080" y="9180"/>
                  </a:lnTo>
                  <a:lnTo>
                    <a:pt x="19800" y="9180"/>
                  </a:lnTo>
                  <a:lnTo>
                    <a:pt x="19800" y="10260"/>
                  </a:lnTo>
                  <a:lnTo>
                    <a:pt x="20160" y="10260"/>
                  </a:lnTo>
                  <a:lnTo>
                    <a:pt x="20160" y="10800"/>
                  </a:lnTo>
                  <a:lnTo>
                    <a:pt x="20880" y="10800"/>
                  </a:lnTo>
                  <a:lnTo>
                    <a:pt x="20880" y="11880"/>
                  </a:lnTo>
                  <a:lnTo>
                    <a:pt x="21600" y="11880"/>
                  </a:lnTo>
                  <a:lnTo>
                    <a:pt x="21600" y="12960"/>
                  </a:lnTo>
                  <a:lnTo>
                    <a:pt x="20880" y="12960"/>
                  </a:lnTo>
                  <a:lnTo>
                    <a:pt x="20880" y="14580"/>
                  </a:lnTo>
                  <a:lnTo>
                    <a:pt x="20160" y="14580"/>
                  </a:lnTo>
                  <a:lnTo>
                    <a:pt x="20160" y="14040"/>
                  </a:lnTo>
                  <a:lnTo>
                    <a:pt x="19800" y="14040"/>
                  </a:lnTo>
                  <a:lnTo>
                    <a:pt x="19800" y="15660"/>
                  </a:lnTo>
                  <a:lnTo>
                    <a:pt x="19080" y="15660"/>
                  </a:lnTo>
                  <a:lnTo>
                    <a:pt x="19080" y="14580"/>
                  </a:lnTo>
                  <a:lnTo>
                    <a:pt x="18360" y="14580"/>
                  </a:lnTo>
                  <a:lnTo>
                    <a:pt x="18360" y="14040"/>
                  </a:lnTo>
                  <a:lnTo>
                    <a:pt x="11520" y="14040"/>
                  </a:lnTo>
                  <a:lnTo>
                    <a:pt x="11520" y="14580"/>
                  </a:lnTo>
                  <a:lnTo>
                    <a:pt x="10800" y="14580"/>
                  </a:lnTo>
                  <a:lnTo>
                    <a:pt x="10800" y="15660"/>
                  </a:lnTo>
                  <a:lnTo>
                    <a:pt x="8280" y="15660"/>
                  </a:lnTo>
                  <a:lnTo>
                    <a:pt x="8280" y="14040"/>
                  </a:lnTo>
                  <a:lnTo>
                    <a:pt x="7560" y="14040"/>
                  </a:lnTo>
                  <a:lnTo>
                    <a:pt x="7560" y="14580"/>
                  </a:lnTo>
                  <a:lnTo>
                    <a:pt x="6480" y="14580"/>
                  </a:lnTo>
                  <a:lnTo>
                    <a:pt x="6480" y="15660"/>
                  </a:lnTo>
                  <a:lnTo>
                    <a:pt x="5760" y="15660"/>
                  </a:lnTo>
                  <a:lnTo>
                    <a:pt x="5760" y="14580"/>
                  </a:lnTo>
                  <a:lnTo>
                    <a:pt x="5040" y="14580"/>
                  </a:lnTo>
                  <a:lnTo>
                    <a:pt x="5040" y="18360"/>
                  </a:lnTo>
                  <a:lnTo>
                    <a:pt x="4680" y="18360"/>
                  </a:lnTo>
                  <a:lnTo>
                    <a:pt x="4680" y="19440"/>
                  </a:lnTo>
                  <a:lnTo>
                    <a:pt x="3960" y="19440"/>
                  </a:lnTo>
                  <a:lnTo>
                    <a:pt x="3960" y="21600"/>
                  </a:lnTo>
                  <a:lnTo>
                    <a:pt x="3240" y="21600"/>
                  </a:lnTo>
                  <a:lnTo>
                    <a:pt x="3240" y="20520"/>
                  </a:lnTo>
                  <a:lnTo>
                    <a:pt x="2160" y="20520"/>
                  </a:lnTo>
                  <a:lnTo>
                    <a:pt x="2160" y="17820"/>
                  </a:lnTo>
                  <a:lnTo>
                    <a:pt x="1440" y="17820"/>
                  </a:lnTo>
                  <a:lnTo>
                    <a:pt x="1440" y="15660"/>
                  </a:lnTo>
                  <a:lnTo>
                    <a:pt x="2160" y="15660"/>
                  </a:lnTo>
                  <a:lnTo>
                    <a:pt x="2160" y="14580"/>
                  </a:lnTo>
                  <a:lnTo>
                    <a:pt x="1440" y="14580"/>
                  </a:lnTo>
                  <a:lnTo>
                    <a:pt x="1440" y="14040"/>
                  </a:lnTo>
                  <a:lnTo>
                    <a:pt x="720" y="14040"/>
                  </a:lnTo>
                  <a:lnTo>
                    <a:pt x="720" y="12960"/>
                  </a:lnTo>
                  <a:lnTo>
                    <a:pt x="2160" y="10800"/>
                  </a:lnTo>
                  <a:lnTo>
                    <a:pt x="2160" y="10260"/>
                  </a:lnTo>
                  <a:lnTo>
                    <a:pt x="1440" y="10260"/>
                  </a:lnTo>
                  <a:lnTo>
                    <a:pt x="1440" y="8100"/>
                  </a:lnTo>
                  <a:lnTo>
                    <a:pt x="2160" y="8100"/>
                  </a:lnTo>
                  <a:lnTo>
                    <a:pt x="2160" y="6480"/>
                  </a:lnTo>
                  <a:lnTo>
                    <a:pt x="1440" y="6480"/>
                  </a:lnTo>
                  <a:lnTo>
                    <a:pt x="1440" y="5400"/>
                  </a:lnTo>
                  <a:lnTo>
                    <a:pt x="2160" y="5400"/>
                  </a:lnTo>
                  <a:lnTo>
                    <a:pt x="2160" y="3780"/>
                  </a:lnTo>
                  <a:lnTo>
                    <a:pt x="1440" y="3780"/>
                  </a:lnTo>
                  <a:lnTo>
                    <a:pt x="1440" y="540"/>
                  </a:lnTo>
                  <a:lnTo>
                    <a:pt x="5040" y="540"/>
                  </a:lnTo>
                  <a:lnTo>
                    <a:pt x="5760" y="0"/>
                  </a:lnTo>
                  <a:close/>
                  <a:moveTo>
                    <a:pt x="5760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40" name="AutoShape 57"/>
            <p:cNvSpPr>
              <a:spLocks/>
            </p:cNvSpPr>
            <p:nvPr/>
          </p:nvSpPr>
          <p:spPr bwMode="auto">
            <a:xfrm>
              <a:off x="255" y="214"/>
              <a:ext cx="13" cy="21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0" y="12000"/>
                  </a:moveTo>
                  <a:lnTo>
                    <a:pt x="2700" y="16800"/>
                  </a:lnTo>
                  <a:lnTo>
                    <a:pt x="0" y="16800"/>
                  </a:lnTo>
                  <a:lnTo>
                    <a:pt x="0" y="12000"/>
                  </a:lnTo>
                  <a:close/>
                  <a:moveTo>
                    <a:pt x="2700" y="0"/>
                  </a:moveTo>
                  <a:lnTo>
                    <a:pt x="18900" y="0"/>
                  </a:lnTo>
                  <a:lnTo>
                    <a:pt x="18900" y="4800"/>
                  </a:lnTo>
                  <a:lnTo>
                    <a:pt x="21600" y="9600"/>
                  </a:lnTo>
                  <a:lnTo>
                    <a:pt x="21600" y="16800"/>
                  </a:lnTo>
                  <a:lnTo>
                    <a:pt x="18900" y="16800"/>
                  </a:lnTo>
                  <a:lnTo>
                    <a:pt x="13500" y="21600"/>
                  </a:lnTo>
                  <a:lnTo>
                    <a:pt x="8100" y="21600"/>
                  </a:lnTo>
                  <a:lnTo>
                    <a:pt x="8100" y="16800"/>
                  </a:lnTo>
                  <a:lnTo>
                    <a:pt x="2700" y="16800"/>
                  </a:lnTo>
                  <a:lnTo>
                    <a:pt x="2700" y="0"/>
                  </a:lnTo>
                  <a:close/>
                  <a:moveTo>
                    <a:pt x="270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41" name="AutoShape 58"/>
            <p:cNvSpPr>
              <a:spLocks/>
            </p:cNvSpPr>
            <p:nvPr/>
          </p:nvSpPr>
          <p:spPr bwMode="auto">
            <a:xfrm>
              <a:off x="189" y="160"/>
              <a:ext cx="428" cy="142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3341" y="5400"/>
                  </a:moveTo>
                  <a:lnTo>
                    <a:pt x="13722" y="5400"/>
                  </a:lnTo>
                  <a:lnTo>
                    <a:pt x="13722" y="6171"/>
                  </a:lnTo>
                  <a:lnTo>
                    <a:pt x="13976" y="6171"/>
                  </a:lnTo>
                  <a:lnTo>
                    <a:pt x="13976" y="6943"/>
                  </a:lnTo>
                  <a:lnTo>
                    <a:pt x="14485" y="6943"/>
                  </a:lnTo>
                  <a:lnTo>
                    <a:pt x="14485" y="8100"/>
                  </a:lnTo>
                  <a:lnTo>
                    <a:pt x="13976" y="8100"/>
                  </a:lnTo>
                  <a:lnTo>
                    <a:pt x="13976" y="7329"/>
                  </a:lnTo>
                  <a:lnTo>
                    <a:pt x="13722" y="7329"/>
                  </a:lnTo>
                  <a:lnTo>
                    <a:pt x="13722" y="6943"/>
                  </a:lnTo>
                  <a:lnTo>
                    <a:pt x="13595" y="6943"/>
                  </a:lnTo>
                  <a:lnTo>
                    <a:pt x="13595" y="6171"/>
                  </a:lnTo>
                  <a:lnTo>
                    <a:pt x="13341" y="5400"/>
                  </a:lnTo>
                  <a:close/>
                  <a:moveTo>
                    <a:pt x="13087" y="4629"/>
                  </a:moveTo>
                  <a:lnTo>
                    <a:pt x="13341" y="4629"/>
                  </a:lnTo>
                  <a:lnTo>
                    <a:pt x="13341" y="5400"/>
                  </a:lnTo>
                  <a:lnTo>
                    <a:pt x="13087" y="5400"/>
                  </a:lnTo>
                  <a:lnTo>
                    <a:pt x="13087" y="4629"/>
                  </a:lnTo>
                  <a:close/>
                  <a:moveTo>
                    <a:pt x="12452" y="4243"/>
                  </a:moveTo>
                  <a:lnTo>
                    <a:pt x="12960" y="4243"/>
                  </a:lnTo>
                  <a:lnTo>
                    <a:pt x="12960" y="4629"/>
                  </a:lnTo>
                  <a:lnTo>
                    <a:pt x="12452" y="4629"/>
                  </a:lnTo>
                  <a:lnTo>
                    <a:pt x="12452" y="4243"/>
                  </a:lnTo>
                  <a:close/>
                  <a:moveTo>
                    <a:pt x="4447" y="0"/>
                  </a:moveTo>
                  <a:lnTo>
                    <a:pt x="6480" y="0"/>
                  </a:lnTo>
                  <a:lnTo>
                    <a:pt x="6480" y="771"/>
                  </a:lnTo>
                  <a:lnTo>
                    <a:pt x="6734" y="0"/>
                  </a:lnTo>
                  <a:lnTo>
                    <a:pt x="6861" y="0"/>
                  </a:lnTo>
                  <a:lnTo>
                    <a:pt x="6861" y="771"/>
                  </a:lnTo>
                  <a:lnTo>
                    <a:pt x="7369" y="771"/>
                  </a:lnTo>
                  <a:lnTo>
                    <a:pt x="7369" y="0"/>
                  </a:lnTo>
                  <a:lnTo>
                    <a:pt x="7751" y="0"/>
                  </a:lnTo>
                  <a:lnTo>
                    <a:pt x="7624" y="771"/>
                  </a:lnTo>
                  <a:lnTo>
                    <a:pt x="8513" y="771"/>
                  </a:lnTo>
                  <a:lnTo>
                    <a:pt x="8513" y="1543"/>
                  </a:lnTo>
                  <a:lnTo>
                    <a:pt x="9529" y="1543"/>
                  </a:lnTo>
                  <a:lnTo>
                    <a:pt x="9529" y="1929"/>
                  </a:lnTo>
                  <a:lnTo>
                    <a:pt x="10038" y="1929"/>
                  </a:lnTo>
                  <a:lnTo>
                    <a:pt x="10038" y="2700"/>
                  </a:lnTo>
                  <a:lnTo>
                    <a:pt x="10292" y="2700"/>
                  </a:lnTo>
                  <a:lnTo>
                    <a:pt x="10292" y="3471"/>
                  </a:lnTo>
                  <a:lnTo>
                    <a:pt x="10419" y="3471"/>
                  </a:lnTo>
                  <a:lnTo>
                    <a:pt x="10419" y="4243"/>
                  </a:lnTo>
                  <a:lnTo>
                    <a:pt x="10673" y="4243"/>
                  </a:lnTo>
                  <a:lnTo>
                    <a:pt x="10673" y="4629"/>
                  </a:lnTo>
                  <a:lnTo>
                    <a:pt x="12198" y="4629"/>
                  </a:lnTo>
                  <a:lnTo>
                    <a:pt x="12198" y="5400"/>
                  </a:lnTo>
                  <a:lnTo>
                    <a:pt x="12452" y="5400"/>
                  </a:lnTo>
                  <a:lnTo>
                    <a:pt x="12452" y="6171"/>
                  </a:lnTo>
                  <a:lnTo>
                    <a:pt x="12960" y="6171"/>
                  </a:lnTo>
                  <a:lnTo>
                    <a:pt x="12960" y="6943"/>
                  </a:lnTo>
                  <a:lnTo>
                    <a:pt x="13595" y="6943"/>
                  </a:lnTo>
                  <a:lnTo>
                    <a:pt x="13595" y="8100"/>
                  </a:lnTo>
                  <a:lnTo>
                    <a:pt x="13976" y="8100"/>
                  </a:lnTo>
                  <a:lnTo>
                    <a:pt x="13976" y="8871"/>
                  </a:lnTo>
                  <a:lnTo>
                    <a:pt x="14485" y="8871"/>
                  </a:lnTo>
                  <a:lnTo>
                    <a:pt x="14485" y="8100"/>
                  </a:lnTo>
                  <a:lnTo>
                    <a:pt x="14612" y="8100"/>
                  </a:lnTo>
                  <a:lnTo>
                    <a:pt x="14612" y="8871"/>
                  </a:lnTo>
                  <a:lnTo>
                    <a:pt x="14866" y="8871"/>
                  </a:lnTo>
                  <a:lnTo>
                    <a:pt x="14866" y="9643"/>
                  </a:lnTo>
                  <a:lnTo>
                    <a:pt x="15120" y="9643"/>
                  </a:lnTo>
                  <a:lnTo>
                    <a:pt x="15374" y="10029"/>
                  </a:lnTo>
                  <a:lnTo>
                    <a:pt x="15120" y="10029"/>
                  </a:lnTo>
                  <a:lnTo>
                    <a:pt x="15120" y="10800"/>
                  </a:lnTo>
                  <a:lnTo>
                    <a:pt x="15374" y="10800"/>
                  </a:lnTo>
                  <a:lnTo>
                    <a:pt x="15374" y="10029"/>
                  </a:lnTo>
                  <a:lnTo>
                    <a:pt x="15501" y="10029"/>
                  </a:lnTo>
                  <a:lnTo>
                    <a:pt x="15501" y="10800"/>
                  </a:lnTo>
                  <a:lnTo>
                    <a:pt x="15755" y="10800"/>
                  </a:lnTo>
                  <a:lnTo>
                    <a:pt x="15755" y="11571"/>
                  </a:lnTo>
                  <a:lnTo>
                    <a:pt x="16391" y="11571"/>
                  </a:lnTo>
                  <a:lnTo>
                    <a:pt x="16391" y="12729"/>
                  </a:lnTo>
                  <a:lnTo>
                    <a:pt x="16645" y="12729"/>
                  </a:lnTo>
                  <a:lnTo>
                    <a:pt x="16645" y="12343"/>
                  </a:lnTo>
                  <a:lnTo>
                    <a:pt x="17153" y="12343"/>
                  </a:lnTo>
                  <a:lnTo>
                    <a:pt x="17153" y="12729"/>
                  </a:lnTo>
                  <a:lnTo>
                    <a:pt x="17280" y="12729"/>
                  </a:lnTo>
                  <a:lnTo>
                    <a:pt x="17280" y="13500"/>
                  </a:lnTo>
                  <a:lnTo>
                    <a:pt x="18042" y="13500"/>
                  </a:lnTo>
                  <a:lnTo>
                    <a:pt x="18042" y="12729"/>
                  </a:lnTo>
                  <a:lnTo>
                    <a:pt x="18424" y="12729"/>
                  </a:lnTo>
                  <a:lnTo>
                    <a:pt x="18424" y="13500"/>
                  </a:lnTo>
                  <a:lnTo>
                    <a:pt x="18678" y="14271"/>
                  </a:lnTo>
                  <a:lnTo>
                    <a:pt x="18424" y="14271"/>
                  </a:lnTo>
                  <a:lnTo>
                    <a:pt x="18424" y="15043"/>
                  </a:lnTo>
                  <a:lnTo>
                    <a:pt x="18169" y="15043"/>
                  </a:lnTo>
                  <a:lnTo>
                    <a:pt x="18169" y="16200"/>
                  </a:lnTo>
                  <a:lnTo>
                    <a:pt x="18424" y="16200"/>
                  </a:lnTo>
                  <a:lnTo>
                    <a:pt x="18424" y="15429"/>
                  </a:lnTo>
                  <a:lnTo>
                    <a:pt x="19313" y="15429"/>
                  </a:lnTo>
                  <a:lnTo>
                    <a:pt x="19567" y="16200"/>
                  </a:lnTo>
                  <a:lnTo>
                    <a:pt x="19821" y="15429"/>
                  </a:lnTo>
                  <a:lnTo>
                    <a:pt x="19821" y="16200"/>
                  </a:lnTo>
                  <a:lnTo>
                    <a:pt x="20456" y="16200"/>
                  </a:lnTo>
                  <a:lnTo>
                    <a:pt x="20456" y="16971"/>
                  </a:lnTo>
                  <a:lnTo>
                    <a:pt x="20711" y="16971"/>
                  </a:lnTo>
                  <a:lnTo>
                    <a:pt x="20711" y="17743"/>
                  </a:lnTo>
                  <a:lnTo>
                    <a:pt x="21092" y="17743"/>
                  </a:lnTo>
                  <a:lnTo>
                    <a:pt x="21092" y="18129"/>
                  </a:lnTo>
                  <a:lnTo>
                    <a:pt x="21600" y="18129"/>
                  </a:lnTo>
                  <a:lnTo>
                    <a:pt x="21600" y="18900"/>
                  </a:lnTo>
                  <a:lnTo>
                    <a:pt x="21346" y="18900"/>
                  </a:lnTo>
                  <a:lnTo>
                    <a:pt x="21346" y="19671"/>
                  </a:lnTo>
                  <a:lnTo>
                    <a:pt x="20456" y="19671"/>
                  </a:lnTo>
                  <a:lnTo>
                    <a:pt x="20456" y="20443"/>
                  </a:lnTo>
                  <a:lnTo>
                    <a:pt x="19948" y="20443"/>
                  </a:lnTo>
                  <a:lnTo>
                    <a:pt x="19821" y="20829"/>
                  </a:lnTo>
                  <a:lnTo>
                    <a:pt x="19567" y="20829"/>
                  </a:lnTo>
                  <a:lnTo>
                    <a:pt x="19567" y="20443"/>
                  </a:lnTo>
                  <a:lnTo>
                    <a:pt x="19313" y="20443"/>
                  </a:lnTo>
                  <a:lnTo>
                    <a:pt x="19313" y="20829"/>
                  </a:lnTo>
                  <a:lnTo>
                    <a:pt x="18932" y="20829"/>
                  </a:lnTo>
                  <a:lnTo>
                    <a:pt x="18678" y="21600"/>
                  </a:lnTo>
                  <a:lnTo>
                    <a:pt x="18424" y="20829"/>
                  </a:lnTo>
                  <a:lnTo>
                    <a:pt x="17534" y="20829"/>
                  </a:lnTo>
                  <a:lnTo>
                    <a:pt x="17280" y="20443"/>
                  </a:lnTo>
                  <a:lnTo>
                    <a:pt x="17153" y="20443"/>
                  </a:lnTo>
                  <a:lnTo>
                    <a:pt x="17153" y="20829"/>
                  </a:lnTo>
                  <a:lnTo>
                    <a:pt x="16009" y="20829"/>
                  </a:lnTo>
                  <a:lnTo>
                    <a:pt x="15755" y="21600"/>
                  </a:lnTo>
                  <a:lnTo>
                    <a:pt x="15374" y="21600"/>
                  </a:lnTo>
                  <a:lnTo>
                    <a:pt x="15374" y="20829"/>
                  </a:lnTo>
                  <a:lnTo>
                    <a:pt x="15120" y="20829"/>
                  </a:lnTo>
                  <a:lnTo>
                    <a:pt x="15120" y="21600"/>
                  </a:lnTo>
                  <a:lnTo>
                    <a:pt x="14231" y="21600"/>
                  </a:lnTo>
                  <a:lnTo>
                    <a:pt x="14231" y="20443"/>
                  </a:lnTo>
                  <a:lnTo>
                    <a:pt x="14612" y="20443"/>
                  </a:lnTo>
                  <a:lnTo>
                    <a:pt x="14612" y="19671"/>
                  </a:lnTo>
                  <a:lnTo>
                    <a:pt x="14866" y="19671"/>
                  </a:lnTo>
                  <a:lnTo>
                    <a:pt x="14866" y="18900"/>
                  </a:lnTo>
                  <a:lnTo>
                    <a:pt x="15374" y="18900"/>
                  </a:lnTo>
                  <a:lnTo>
                    <a:pt x="15374" y="18129"/>
                  </a:lnTo>
                  <a:lnTo>
                    <a:pt x="15501" y="18129"/>
                  </a:lnTo>
                  <a:lnTo>
                    <a:pt x="15501" y="16971"/>
                  </a:lnTo>
                  <a:lnTo>
                    <a:pt x="15374" y="16971"/>
                  </a:lnTo>
                  <a:lnTo>
                    <a:pt x="15374" y="16200"/>
                  </a:lnTo>
                  <a:lnTo>
                    <a:pt x="13595" y="16200"/>
                  </a:lnTo>
                  <a:lnTo>
                    <a:pt x="13341" y="15429"/>
                  </a:lnTo>
                  <a:lnTo>
                    <a:pt x="13341" y="15043"/>
                  </a:lnTo>
                  <a:lnTo>
                    <a:pt x="13087" y="15043"/>
                  </a:lnTo>
                  <a:lnTo>
                    <a:pt x="12960" y="14271"/>
                  </a:lnTo>
                  <a:lnTo>
                    <a:pt x="12706" y="14271"/>
                  </a:lnTo>
                  <a:lnTo>
                    <a:pt x="12706" y="12729"/>
                  </a:lnTo>
                  <a:lnTo>
                    <a:pt x="12452" y="12729"/>
                  </a:lnTo>
                  <a:lnTo>
                    <a:pt x="12452" y="10800"/>
                  </a:lnTo>
                  <a:lnTo>
                    <a:pt x="12071" y="10800"/>
                  </a:lnTo>
                  <a:lnTo>
                    <a:pt x="12071" y="10029"/>
                  </a:lnTo>
                  <a:lnTo>
                    <a:pt x="11308" y="10029"/>
                  </a:lnTo>
                  <a:lnTo>
                    <a:pt x="11308" y="10800"/>
                  </a:lnTo>
                  <a:lnTo>
                    <a:pt x="11181" y="10800"/>
                  </a:lnTo>
                  <a:lnTo>
                    <a:pt x="10927" y="10029"/>
                  </a:lnTo>
                  <a:lnTo>
                    <a:pt x="10292" y="10029"/>
                  </a:lnTo>
                  <a:lnTo>
                    <a:pt x="10292" y="9643"/>
                  </a:lnTo>
                  <a:lnTo>
                    <a:pt x="9529" y="9643"/>
                  </a:lnTo>
                  <a:lnTo>
                    <a:pt x="9402" y="8871"/>
                  </a:lnTo>
                  <a:lnTo>
                    <a:pt x="9148" y="8871"/>
                  </a:lnTo>
                  <a:lnTo>
                    <a:pt x="9148" y="8100"/>
                  </a:lnTo>
                  <a:lnTo>
                    <a:pt x="8894" y="8100"/>
                  </a:lnTo>
                  <a:lnTo>
                    <a:pt x="8640" y="7329"/>
                  </a:lnTo>
                  <a:lnTo>
                    <a:pt x="8640" y="6943"/>
                  </a:lnTo>
                  <a:lnTo>
                    <a:pt x="8513" y="6943"/>
                  </a:lnTo>
                  <a:lnTo>
                    <a:pt x="8513" y="7329"/>
                  </a:lnTo>
                  <a:lnTo>
                    <a:pt x="7369" y="7329"/>
                  </a:lnTo>
                  <a:lnTo>
                    <a:pt x="7369" y="6943"/>
                  </a:lnTo>
                  <a:lnTo>
                    <a:pt x="7115" y="6943"/>
                  </a:lnTo>
                  <a:lnTo>
                    <a:pt x="7115" y="7329"/>
                  </a:lnTo>
                  <a:lnTo>
                    <a:pt x="6861" y="7329"/>
                  </a:lnTo>
                  <a:lnTo>
                    <a:pt x="6861" y="6943"/>
                  </a:lnTo>
                  <a:lnTo>
                    <a:pt x="6734" y="7329"/>
                  </a:lnTo>
                  <a:lnTo>
                    <a:pt x="6734" y="6943"/>
                  </a:lnTo>
                  <a:lnTo>
                    <a:pt x="6480" y="6171"/>
                  </a:lnTo>
                  <a:lnTo>
                    <a:pt x="5972" y="6171"/>
                  </a:lnTo>
                  <a:lnTo>
                    <a:pt x="5972" y="6943"/>
                  </a:lnTo>
                  <a:lnTo>
                    <a:pt x="5845" y="6943"/>
                  </a:lnTo>
                  <a:lnTo>
                    <a:pt x="5845" y="6171"/>
                  </a:lnTo>
                  <a:lnTo>
                    <a:pt x="5591" y="6171"/>
                  </a:lnTo>
                  <a:lnTo>
                    <a:pt x="5336" y="5400"/>
                  </a:lnTo>
                  <a:lnTo>
                    <a:pt x="5082" y="5400"/>
                  </a:lnTo>
                  <a:lnTo>
                    <a:pt x="5082" y="4629"/>
                  </a:lnTo>
                  <a:lnTo>
                    <a:pt x="6226" y="4629"/>
                  </a:lnTo>
                  <a:lnTo>
                    <a:pt x="6226" y="4243"/>
                  </a:lnTo>
                  <a:lnTo>
                    <a:pt x="5972" y="4243"/>
                  </a:lnTo>
                  <a:lnTo>
                    <a:pt x="5972" y="3471"/>
                  </a:lnTo>
                  <a:lnTo>
                    <a:pt x="4447" y="3471"/>
                  </a:lnTo>
                  <a:lnTo>
                    <a:pt x="4193" y="2700"/>
                  </a:lnTo>
                  <a:lnTo>
                    <a:pt x="4066" y="2700"/>
                  </a:lnTo>
                  <a:lnTo>
                    <a:pt x="4066" y="3471"/>
                  </a:lnTo>
                  <a:lnTo>
                    <a:pt x="3812" y="3471"/>
                  </a:lnTo>
                  <a:lnTo>
                    <a:pt x="3812" y="4243"/>
                  </a:lnTo>
                  <a:lnTo>
                    <a:pt x="3304" y="4243"/>
                  </a:lnTo>
                  <a:lnTo>
                    <a:pt x="3176" y="4629"/>
                  </a:lnTo>
                  <a:lnTo>
                    <a:pt x="3176" y="5400"/>
                  </a:lnTo>
                  <a:lnTo>
                    <a:pt x="2668" y="5400"/>
                  </a:lnTo>
                  <a:lnTo>
                    <a:pt x="2668" y="6171"/>
                  </a:lnTo>
                  <a:lnTo>
                    <a:pt x="2287" y="6171"/>
                  </a:lnTo>
                  <a:lnTo>
                    <a:pt x="2033" y="6943"/>
                  </a:lnTo>
                  <a:lnTo>
                    <a:pt x="1398" y="6943"/>
                  </a:lnTo>
                  <a:lnTo>
                    <a:pt x="1398" y="8100"/>
                  </a:lnTo>
                  <a:lnTo>
                    <a:pt x="762" y="8100"/>
                  </a:lnTo>
                  <a:lnTo>
                    <a:pt x="762" y="8871"/>
                  </a:lnTo>
                  <a:lnTo>
                    <a:pt x="508" y="8871"/>
                  </a:lnTo>
                  <a:lnTo>
                    <a:pt x="508" y="8100"/>
                  </a:lnTo>
                  <a:lnTo>
                    <a:pt x="0" y="8100"/>
                  </a:lnTo>
                  <a:lnTo>
                    <a:pt x="0" y="7329"/>
                  </a:lnTo>
                  <a:lnTo>
                    <a:pt x="762" y="7329"/>
                  </a:lnTo>
                  <a:lnTo>
                    <a:pt x="762" y="6943"/>
                  </a:lnTo>
                  <a:lnTo>
                    <a:pt x="508" y="6943"/>
                  </a:lnTo>
                  <a:lnTo>
                    <a:pt x="508" y="5400"/>
                  </a:lnTo>
                  <a:lnTo>
                    <a:pt x="762" y="5400"/>
                  </a:lnTo>
                  <a:lnTo>
                    <a:pt x="762" y="4629"/>
                  </a:lnTo>
                  <a:lnTo>
                    <a:pt x="889" y="4629"/>
                  </a:lnTo>
                  <a:lnTo>
                    <a:pt x="889" y="3471"/>
                  </a:lnTo>
                  <a:lnTo>
                    <a:pt x="1398" y="3471"/>
                  </a:lnTo>
                  <a:lnTo>
                    <a:pt x="1398" y="2700"/>
                  </a:lnTo>
                  <a:lnTo>
                    <a:pt x="2033" y="2700"/>
                  </a:lnTo>
                  <a:lnTo>
                    <a:pt x="2033" y="1929"/>
                  </a:lnTo>
                  <a:lnTo>
                    <a:pt x="2287" y="1929"/>
                  </a:lnTo>
                  <a:lnTo>
                    <a:pt x="2287" y="1543"/>
                  </a:lnTo>
                  <a:lnTo>
                    <a:pt x="2922" y="1543"/>
                  </a:lnTo>
                  <a:lnTo>
                    <a:pt x="2922" y="771"/>
                  </a:lnTo>
                  <a:lnTo>
                    <a:pt x="3304" y="771"/>
                  </a:lnTo>
                  <a:lnTo>
                    <a:pt x="3304" y="1543"/>
                  </a:lnTo>
                  <a:lnTo>
                    <a:pt x="3558" y="1543"/>
                  </a:lnTo>
                  <a:lnTo>
                    <a:pt x="3558" y="771"/>
                  </a:lnTo>
                  <a:lnTo>
                    <a:pt x="4447" y="771"/>
                  </a:lnTo>
                  <a:lnTo>
                    <a:pt x="4447" y="0"/>
                  </a:lnTo>
                  <a:close/>
                  <a:moveTo>
                    <a:pt x="4447" y="0"/>
                  </a:moveTo>
                </a:path>
              </a:pathLst>
            </a:custGeom>
            <a:solidFill>
              <a:srgbClr val="B2EAE7">
                <a:alpha val="50000"/>
              </a:srgbClr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42" name="AutoShape 59"/>
            <p:cNvSpPr>
              <a:spLocks/>
            </p:cNvSpPr>
            <p:nvPr/>
          </p:nvSpPr>
          <p:spPr bwMode="auto">
            <a:xfrm>
              <a:off x="428" y="7"/>
              <a:ext cx="38" cy="10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8720" y="10800"/>
                  </a:moveTo>
                  <a:lnTo>
                    <a:pt x="21600" y="10800"/>
                  </a:lnTo>
                  <a:lnTo>
                    <a:pt x="21600" y="21600"/>
                  </a:lnTo>
                  <a:lnTo>
                    <a:pt x="18720" y="21600"/>
                  </a:lnTo>
                  <a:lnTo>
                    <a:pt x="18720" y="10800"/>
                  </a:lnTo>
                  <a:close/>
                  <a:moveTo>
                    <a:pt x="4320" y="0"/>
                  </a:moveTo>
                  <a:lnTo>
                    <a:pt x="18720" y="0"/>
                  </a:lnTo>
                  <a:lnTo>
                    <a:pt x="18720" y="10800"/>
                  </a:lnTo>
                  <a:lnTo>
                    <a:pt x="7200" y="10800"/>
                  </a:lnTo>
                  <a:lnTo>
                    <a:pt x="7200" y="21600"/>
                  </a:lnTo>
                  <a:lnTo>
                    <a:pt x="0" y="21600"/>
                  </a:lnTo>
                  <a:lnTo>
                    <a:pt x="0" y="10800"/>
                  </a:lnTo>
                  <a:lnTo>
                    <a:pt x="4320" y="10800"/>
                  </a:lnTo>
                  <a:lnTo>
                    <a:pt x="4320" y="0"/>
                  </a:lnTo>
                  <a:close/>
                  <a:moveTo>
                    <a:pt x="432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43" name="AutoShape 60"/>
            <p:cNvSpPr>
              <a:spLocks/>
            </p:cNvSpPr>
            <p:nvPr/>
          </p:nvSpPr>
          <p:spPr bwMode="auto">
            <a:xfrm>
              <a:off x="476" y="0"/>
              <a:ext cx="15" cy="43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8100" y="17788"/>
                  </a:moveTo>
                  <a:lnTo>
                    <a:pt x="13500" y="17788"/>
                  </a:lnTo>
                  <a:lnTo>
                    <a:pt x="13500" y="19059"/>
                  </a:lnTo>
                  <a:lnTo>
                    <a:pt x="18900" y="21600"/>
                  </a:lnTo>
                  <a:lnTo>
                    <a:pt x="13500" y="21600"/>
                  </a:lnTo>
                  <a:lnTo>
                    <a:pt x="8100" y="19059"/>
                  </a:lnTo>
                  <a:lnTo>
                    <a:pt x="8100" y="17788"/>
                  </a:lnTo>
                  <a:close/>
                  <a:moveTo>
                    <a:pt x="13500" y="6353"/>
                  </a:moveTo>
                  <a:lnTo>
                    <a:pt x="21600" y="6353"/>
                  </a:lnTo>
                  <a:lnTo>
                    <a:pt x="21600" y="12706"/>
                  </a:lnTo>
                  <a:lnTo>
                    <a:pt x="18900" y="12706"/>
                  </a:lnTo>
                  <a:lnTo>
                    <a:pt x="18900" y="17788"/>
                  </a:lnTo>
                  <a:lnTo>
                    <a:pt x="13500" y="17788"/>
                  </a:lnTo>
                  <a:lnTo>
                    <a:pt x="13500" y="12706"/>
                  </a:lnTo>
                  <a:lnTo>
                    <a:pt x="8100" y="12706"/>
                  </a:lnTo>
                  <a:lnTo>
                    <a:pt x="8100" y="10165"/>
                  </a:lnTo>
                  <a:lnTo>
                    <a:pt x="13500" y="10165"/>
                  </a:lnTo>
                  <a:lnTo>
                    <a:pt x="13500" y="6353"/>
                  </a:lnTo>
                  <a:close/>
                  <a:moveTo>
                    <a:pt x="8100" y="3812"/>
                  </a:moveTo>
                  <a:lnTo>
                    <a:pt x="13500" y="3812"/>
                  </a:lnTo>
                  <a:lnTo>
                    <a:pt x="13500" y="6353"/>
                  </a:lnTo>
                  <a:lnTo>
                    <a:pt x="8100" y="6353"/>
                  </a:lnTo>
                  <a:lnTo>
                    <a:pt x="8100" y="3812"/>
                  </a:lnTo>
                  <a:close/>
                  <a:moveTo>
                    <a:pt x="2700" y="1271"/>
                  </a:moveTo>
                  <a:lnTo>
                    <a:pt x="8100" y="1271"/>
                  </a:lnTo>
                  <a:lnTo>
                    <a:pt x="8100" y="3812"/>
                  </a:lnTo>
                  <a:lnTo>
                    <a:pt x="2700" y="3812"/>
                  </a:lnTo>
                  <a:lnTo>
                    <a:pt x="2700" y="1271"/>
                  </a:lnTo>
                  <a:close/>
                  <a:moveTo>
                    <a:pt x="0" y="0"/>
                  </a:moveTo>
                  <a:lnTo>
                    <a:pt x="2700" y="0"/>
                  </a:lnTo>
                  <a:lnTo>
                    <a:pt x="2700" y="1271"/>
                  </a:lnTo>
                  <a:lnTo>
                    <a:pt x="0" y="0"/>
                  </a:lnTo>
                  <a:close/>
                  <a:moveTo>
                    <a:pt x="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44" name="AutoShape 61"/>
            <p:cNvSpPr>
              <a:spLocks/>
            </p:cNvSpPr>
            <p:nvPr/>
          </p:nvSpPr>
          <p:spPr bwMode="auto">
            <a:xfrm>
              <a:off x="506" y="56"/>
              <a:ext cx="31" cy="34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8000" y="18514"/>
                  </a:moveTo>
                  <a:lnTo>
                    <a:pt x="18000" y="21600"/>
                  </a:lnTo>
                  <a:lnTo>
                    <a:pt x="16200" y="21600"/>
                  </a:lnTo>
                  <a:lnTo>
                    <a:pt x="18000" y="18514"/>
                  </a:lnTo>
                  <a:close/>
                  <a:moveTo>
                    <a:pt x="18000" y="10800"/>
                  </a:moveTo>
                  <a:lnTo>
                    <a:pt x="21600" y="10800"/>
                  </a:lnTo>
                  <a:lnTo>
                    <a:pt x="18000" y="16971"/>
                  </a:lnTo>
                  <a:lnTo>
                    <a:pt x="18000" y="10800"/>
                  </a:lnTo>
                  <a:close/>
                  <a:moveTo>
                    <a:pt x="16200" y="9257"/>
                  </a:moveTo>
                  <a:lnTo>
                    <a:pt x="18000" y="10800"/>
                  </a:lnTo>
                  <a:lnTo>
                    <a:pt x="16200" y="10800"/>
                  </a:lnTo>
                  <a:lnTo>
                    <a:pt x="16200" y="9257"/>
                  </a:lnTo>
                  <a:close/>
                  <a:moveTo>
                    <a:pt x="9000" y="6171"/>
                  </a:moveTo>
                  <a:lnTo>
                    <a:pt x="16200" y="6171"/>
                  </a:lnTo>
                  <a:lnTo>
                    <a:pt x="16200" y="9257"/>
                  </a:lnTo>
                  <a:lnTo>
                    <a:pt x="12600" y="9257"/>
                  </a:lnTo>
                  <a:lnTo>
                    <a:pt x="9000" y="6171"/>
                  </a:lnTo>
                  <a:close/>
                  <a:moveTo>
                    <a:pt x="5400" y="3086"/>
                  </a:moveTo>
                  <a:lnTo>
                    <a:pt x="9000" y="6171"/>
                  </a:lnTo>
                  <a:lnTo>
                    <a:pt x="5400" y="6171"/>
                  </a:lnTo>
                  <a:lnTo>
                    <a:pt x="5400" y="3086"/>
                  </a:lnTo>
                  <a:close/>
                  <a:moveTo>
                    <a:pt x="0" y="0"/>
                  </a:moveTo>
                  <a:lnTo>
                    <a:pt x="5400" y="0"/>
                  </a:lnTo>
                  <a:lnTo>
                    <a:pt x="5400" y="3086"/>
                  </a:lnTo>
                  <a:lnTo>
                    <a:pt x="0" y="3086"/>
                  </a:lnTo>
                  <a:lnTo>
                    <a:pt x="0" y="0"/>
                  </a:lnTo>
                  <a:close/>
                  <a:moveTo>
                    <a:pt x="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45" name="AutoShape 62"/>
            <p:cNvSpPr>
              <a:spLocks/>
            </p:cNvSpPr>
            <p:nvPr/>
          </p:nvSpPr>
          <p:spPr bwMode="auto">
            <a:xfrm>
              <a:off x="549" y="90"/>
              <a:ext cx="17" cy="28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2343" y="13745"/>
                  </a:moveTo>
                  <a:lnTo>
                    <a:pt x="21600" y="13745"/>
                  </a:lnTo>
                  <a:lnTo>
                    <a:pt x="21600" y="21600"/>
                  </a:lnTo>
                  <a:lnTo>
                    <a:pt x="12343" y="21600"/>
                  </a:lnTo>
                  <a:lnTo>
                    <a:pt x="12343" y="17673"/>
                  </a:lnTo>
                  <a:lnTo>
                    <a:pt x="18514" y="17673"/>
                  </a:lnTo>
                  <a:lnTo>
                    <a:pt x="12343" y="13745"/>
                  </a:lnTo>
                  <a:close/>
                  <a:moveTo>
                    <a:pt x="6171" y="7855"/>
                  </a:moveTo>
                  <a:lnTo>
                    <a:pt x="12343" y="7855"/>
                  </a:lnTo>
                  <a:lnTo>
                    <a:pt x="12343" y="13745"/>
                  </a:lnTo>
                  <a:lnTo>
                    <a:pt x="6171" y="9818"/>
                  </a:lnTo>
                  <a:lnTo>
                    <a:pt x="6171" y="7855"/>
                  </a:lnTo>
                  <a:close/>
                  <a:moveTo>
                    <a:pt x="0" y="0"/>
                  </a:moveTo>
                  <a:lnTo>
                    <a:pt x="6171" y="3927"/>
                  </a:lnTo>
                  <a:lnTo>
                    <a:pt x="6171" y="7855"/>
                  </a:lnTo>
                  <a:lnTo>
                    <a:pt x="0" y="3927"/>
                  </a:lnTo>
                  <a:lnTo>
                    <a:pt x="0" y="0"/>
                  </a:lnTo>
                  <a:close/>
                  <a:moveTo>
                    <a:pt x="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46" name="AutoShape 63"/>
            <p:cNvSpPr>
              <a:spLocks/>
            </p:cNvSpPr>
            <p:nvPr/>
          </p:nvSpPr>
          <p:spPr bwMode="auto">
            <a:xfrm>
              <a:off x="566" y="134"/>
              <a:ext cx="17" cy="26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8514" y="17673"/>
                  </a:moveTo>
                  <a:lnTo>
                    <a:pt x="21600" y="17673"/>
                  </a:lnTo>
                  <a:lnTo>
                    <a:pt x="21600" y="21600"/>
                  </a:lnTo>
                  <a:lnTo>
                    <a:pt x="18514" y="17673"/>
                  </a:lnTo>
                  <a:close/>
                  <a:moveTo>
                    <a:pt x="6171" y="13745"/>
                  </a:moveTo>
                  <a:lnTo>
                    <a:pt x="12343" y="13745"/>
                  </a:lnTo>
                  <a:lnTo>
                    <a:pt x="12343" y="17673"/>
                  </a:lnTo>
                  <a:lnTo>
                    <a:pt x="6171" y="17673"/>
                  </a:lnTo>
                  <a:lnTo>
                    <a:pt x="6171" y="13745"/>
                  </a:lnTo>
                  <a:close/>
                  <a:moveTo>
                    <a:pt x="0" y="0"/>
                  </a:moveTo>
                  <a:lnTo>
                    <a:pt x="6171" y="0"/>
                  </a:lnTo>
                  <a:lnTo>
                    <a:pt x="6171" y="3927"/>
                  </a:lnTo>
                  <a:lnTo>
                    <a:pt x="0" y="0"/>
                  </a:lnTo>
                  <a:close/>
                  <a:moveTo>
                    <a:pt x="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47" name="AutoShape 64"/>
            <p:cNvSpPr>
              <a:spLocks/>
            </p:cNvSpPr>
            <p:nvPr/>
          </p:nvSpPr>
          <p:spPr bwMode="auto">
            <a:xfrm>
              <a:off x="532" y="129"/>
              <a:ext cx="28" cy="20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3745" y="15429"/>
                  </a:moveTo>
                  <a:lnTo>
                    <a:pt x="21600" y="15429"/>
                  </a:lnTo>
                  <a:lnTo>
                    <a:pt x="21600" y="21600"/>
                  </a:lnTo>
                  <a:lnTo>
                    <a:pt x="13745" y="21600"/>
                  </a:lnTo>
                  <a:lnTo>
                    <a:pt x="13745" y="15429"/>
                  </a:lnTo>
                  <a:close/>
                  <a:moveTo>
                    <a:pt x="11782" y="9257"/>
                  </a:moveTo>
                  <a:lnTo>
                    <a:pt x="13745" y="15429"/>
                  </a:lnTo>
                  <a:lnTo>
                    <a:pt x="11782" y="15429"/>
                  </a:lnTo>
                  <a:lnTo>
                    <a:pt x="11782" y="9257"/>
                  </a:lnTo>
                  <a:close/>
                  <a:moveTo>
                    <a:pt x="3927" y="6171"/>
                  </a:moveTo>
                  <a:lnTo>
                    <a:pt x="7855" y="6171"/>
                  </a:lnTo>
                  <a:lnTo>
                    <a:pt x="7855" y="9257"/>
                  </a:lnTo>
                  <a:lnTo>
                    <a:pt x="3927" y="9257"/>
                  </a:lnTo>
                  <a:lnTo>
                    <a:pt x="3927" y="6171"/>
                  </a:lnTo>
                  <a:close/>
                  <a:moveTo>
                    <a:pt x="0" y="0"/>
                  </a:moveTo>
                  <a:lnTo>
                    <a:pt x="3927" y="0"/>
                  </a:lnTo>
                  <a:lnTo>
                    <a:pt x="3927" y="6171"/>
                  </a:lnTo>
                  <a:lnTo>
                    <a:pt x="0" y="6171"/>
                  </a:lnTo>
                  <a:lnTo>
                    <a:pt x="0" y="0"/>
                  </a:lnTo>
                  <a:close/>
                  <a:moveTo>
                    <a:pt x="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48" name="AutoShape 65"/>
            <p:cNvSpPr>
              <a:spLocks/>
            </p:cNvSpPr>
            <p:nvPr/>
          </p:nvSpPr>
          <p:spPr bwMode="auto">
            <a:xfrm>
              <a:off x="608" y="172"/>
              <a:ext cx="17" cy="29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0" y="18000"/>
                  </a:moveTo>
                  <a:lnTo>
                    <a:pt x="6171" y="18000"/>
                  </a:lnTo>
                  <a:lnTo>
                    <a:pt x="6171" y="21600"/>
                  </a:lnTo>
                  <a:lnTo>
                    <a:pt x="0" y="21600"/>
                  </a:lnTo>
                  <a:lnTo>
                    <a:pt x="0" y="18000"/>
                  </a:lnTo>
                  <a:close/>
                  <a:moveTo>
                    <a:pt x="6171" y="14400"/>
                  </a:moveTo>
                  <a:lnTo>
                    <a:pt x="12343" y="14400"/>
                  </a:lnTo>
                  <a:lnTo>
                    <a:pt x="12343" y="18000"/>
                  </a:lnTo>
                  <a:lnTo>
                    <a:pt x="6171" y="18000"/>
                  </a:lnTo>
                  <a:lnTo>
                    <a:pt x="6171" y="14400"/>
                  </a:lnTo>
                  <a:close/>
                  <a:moveTo>
                    <a:pt x="12343" y="12600"/>
                  </a:moveTo>
                  <a:lnTo>
                    <a:pt x="15429" y="12600"/>
                  </a:lnTo>
                  <a:lnTo>
                    <a:pt x="15429" y="14400"/>
                  </a:lnTo>
                  <a:lnTo>
                    <a:pt x="12343" y="14400"/>
                  </a:lnTo>
                  <a:lnTo>
                    <a:pt x="12343" y="12600"/>
                  </a:lnTo>
                  <a:close/>
                  <a:moveTo>
                    <a:pt x="0" y="0"/>
                  </a:moveTo>
                  <a:lnTo>
                    <a:pt x="6171" y="0"/>
                  </a:lnTo>
                  <a:lnTo>
                    <a:pt x="6171" y="1800"/>
                  </a:lnTo>
                  <a:lnTo>
                    <a:pt x="21600" y="1800"/>
                  </a:lnTo>
                  <a:lnTo>
                    <a:pt x="21600" y="9000"/>
                  </a:lnTo>
                  <a:lnTo>
                    <a:pt x="15429" y="9000"/>
                  </a:lnTo>
                  <a:lnTo>
                    <a:pt x="15429" y="5400"/>
                  </a:lnTo>
                  <a:lnTo>
                    <a:pt x="6171" y="5400"/>
                  </a:lnTo>
                  <a:lnTo>
                    <a:pt x="0" y="1800"/>
                  </a:lnTo>
                  <a:lnTo>
                    <a:pt x="0" y="0"/>
                  </a:lnTo>
                  <a:close/>
                  <a:moveTo>
                    <a:pt x="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49" name="Freeform 66"/>
            <p:cNvSpPr>
              <a:spLocks/>
            </p:cNvSpPr>
            <p:nvPr/>
          </p:nvSpPr>
          <p:spPr bwMode="auto">
            <a:xfrm>
              <a:off x="637" y="236"/>
              <a:ext cx="27" cy="18"/>
            </a:xfrm>
            <a:custGeom>
              <a:avLst/>
              <a:gdLst/>
              <a:ahLst/>
              <a:cxnLst>
                <a:cxn ang="0">
                  <a:pos x="17280" y="0"/>
                </a:cxn>
                <a:cxn ang="0">
                  <a:pos x="21600" y="0"/>
                </a:cxn>
                <a:cxn ang="0">
                  <a:pos x="21600" y="6171"/>
                </a:cxn>
                <a:cxn ang="0">
                  <a:pos x="17280" y="9257"/>
                </a:cxn>
                <a:cxn ang="0">
                  <a:pos x="17280" y="21600"/>
                </a:cxn>
                <a:cxn ang="0">
                  <a:pos x="0" y="21600"/>
                </a:cxn>
                <a:cxn ang="0">
                  <a:pos x="0" y="9257"/>
                </a:cxn>
                <a:cxn ang="0">
                  <a:pos x="2160" y="9257"/>
                </a:cxn>
                <a:cxn ang="0">
                  <a:pos x="6480" y="6171"/>
                </a:cxn>
                <a:cxn ang="0">
                  <a:pos x="10800" y="6171"/>
                </a:cxn>
                <a:cxn ang="0">
                  <a:pos x="10800" y="9257"/>
                </a:cxn>
                <a:cxn ang="0">
                  <a:pos x="15120" y="9257"/>
                </a:cxn>
                <a:cxn ang="0">
                  <a:pos x="15120" y="6171"/>
                </a:cxn>
                <a:cxn ang="0">
                  <a:pos x="17280" y="6171"/>
                </a:cxn>
                <a:cxn ang="0">
                  <a:pos x="17280" y="0"/>
                </a:cxn>
                <a:cxn ang="0">
                  <a:pos x="17280" y="0"/>
                </a:cxn>
              </a:cxnLst>
              <a:rect l="0" t="0" r="r" b="b"/>
              <a:pathLst>
                <a:path w="21600" h="21600">
                  <a:moveTo>
                    <a:pt x="17280" y="0"/>
                  </a:moveTo>
                  <a:lnTo>
                    <a:pt x="21600" y="0"/>
                  </a:lnTo>
                  <a:lnTo>
                    <a:pt x="21600" y="6171"/>
                  </a:lnTo>
                  <a:lnTo>
                    <a:pt x="17280" y="9257"/>
                  </a:lnTo>
                  <a:lnTo>
                    <a:pt x="17280" y="21600"/>
                  </a:lnTo>
                  <a:lnTo>
                    <a:pt x="0" y="21600"/>
                  </a:lnTo>
                  <a:lnTo>
                    <a:pt x="0" y="9257"/>
                  </a:lnTo>
                  <a:lnTo>
                    <a:pt x="2160" y="9257"/>
                  </a:lnTo>
                  <a:lnTo>
                    <a:pt x="6480" y="6171"/>
                  </a:lnTo>
                  <a:lnTo>
                    <a:pt x="10800" y="6171"/>
                  </a:lnTo>
                  <a:lnTo>
                    <a:pt x="10800" y="9257"/>
                  </a:lnTo>
                  <a:lnTo>
                    <a:pt x="15120" y="9257"/>
                  </a:lnTo>
                  <a:lnTo>
                    <a:pt x="15120" y="6171"/>
                  </a:lnTo>
                  <a:lnTo>
                    <a:pt x="17280" y="6171"/>
                  </a:lnTo>
                  <a:lnTo>
                    <a:pt x="17280" y="0"/>
                  </a:lnTo>
                  <a:close/>
                  <a:moveTo>
                    <a:pt x="1728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50" name="AutoShape 67"/>
            <p:cNvSpPr>
              <a:spLocks/>
            </p:cNvSpPr>
            <p:nvPr/>
          </p:nvSpPr>
          <p:spPr bwMode="auto">
            <a:xfrm>
              <a:off x="547" y="155"/>
              <a:ext cx="13" cy="46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4320" y="19200"/>
                  </a:moveTo>
                  <a:lnTo>
                    <a:pt x="12960" y="21600"/>
                  </a:lnTo>
                  <a:lnTo>
                    <a:pt x="4320" y="21600"/>
                  </a:lnTo>
                  <a:lnTo>
                    <a:pt x="4320" y="19200"/>
                  </a:lnTo>
                  <a:close/>
                  <a:moveTo>
                    <a:pt x="4320" y="2400"/>
                  </a:moveTo>
                  <a:lnTo>
                    <a:pt x="4320" y="4800"/>
                  </a:lnTo>
                  <a:lnTo>
                    <a:pt x="0" y="4800"/>
                  </a:lnTo>
                  <a:lnTo>
                    <a:pt x="4320" y="2400"/>
                  </a:lnTo>
                  <a:close/>
                  <a:moveTo>
                    <a:pt x="12960" y="0"/>
                  </a:moveTo>
                  <a:lnTo>
                    <a:pt x="21600" y="0"/>
                  </a:lnTo>
                  <a:lnTo>
                    <a:pt x="21600" y="2400"/>
                  </a:lnTo>
                  <a:lnTo>
                    <a:pt x="12960" y="2400"/>
                  </a:lnTo>
                  <a:lnTo>
                    <a:pt x="12960" y="0"/>
                  </a:lnTo>
                  <a:close/>
                  <a:moveTo>
                    <a:pt x="1296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51" name="AutoShape 68"/>
            <p:cNvSpPr>
              <a:spLocks/>
            </p:cNvSpPr>
            <p:nvPr/>
          </p:nvSpPr>
          <p:spPr bwMode="auto">
            <a:xfrm>
              <a:off x="446" y="69"/>
              <a:ext cx="33" cy="67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3292" y="19938"/>
                  </a:moveTo>
                  <a:lnTo>
                    <a:pt x="16615" y="19938"/>
                  </a:lnTo>
                  <a:lnTo>
                    <a:pt x="16615" y="21600"/>
                  </a:lnTo>
                  <a:lnTo>
                    <a:pt x="13292" y="21600"/>
                  </a:lnTo>
                  <a:lnTo>
                    <a:pt x="13292" y="19938"/>
                  </a:lnTo>
                  <a:close/>
                  <a:moveTo>
                    <a:pt x="9969" y="14123"/>
                  </a:moveTo>
                  <a:lnTo>
                    <a:pt x="13292" y="14123"/>
                  </a:lnTo>
                  <a:lnTo>
                    <a:pt x="9969" y="15785"/>
                  </a:lnTo>
                  <a:lnTo>
                    <a:pt x="9969" y="14123"/>
                  </a:lnTo>
                  <a:close/>
                  <a:moveTo>
                    <a:pt x="16615" y="10800"/>
                  </a:moveTo>
                  <a:lnTo>
                    <a:pt x="19938" y="10800"/>
                  </a:lnTo>
                  <a:lnTo>
                    <a:pt x="19938" y="15785"/>
                  </a:lnTo>
                  <a:lnTo>
                    <a:pt x="21600" y="15785"/>
                  </a:lnTo>
                  <a:lnTo>
                    <a:pt x="21600" y="21600"/>
                  </a:lnTo>
                  <a:lnTo>
                    <a:pt x="19938" y="21600"/>
                  </a:lnTo>
                  <a:lnTo>
                    <a:pt x="19938" y="19938"/>
                  </a:lnTo>
                  <a:lnTo>
                    <a:pt x="16615" y="19938"/>
                  </a:lnTo>
                  <a:lnTo>
                    <a:pt x="16615" y="18277"/>
                  </a:lnTo>
                  <a:lnTo>
                    <a:pt x="13292" y="18277"/>
                  </a:lnTo>
                  <a:lnTo>
                    <a:pt x="13292" y="16615"/>
                  </a:lnTo>
                  <a:lnTo>
                    <a:pt x="9969" y="16615"/>
                  </a:lnTo>
                  <a:lnTo>
                    <a:pt x="9969" y="15785"/>
                  </a:lnTo>
                  <a:lnTo>
                    <a:pt x="13292" y="15785"/>
                  </a:lnTo>
                  <a:lnTo>
                    <a:pt x="13292" y="14123"/>
                  </a:lnTo>
                  <a:lnTo>
                    <a:pt x="16615" y="14123"/>
                  </a:lnTo>
                  <a:lnTo>
                    <a:pt x="16615" y="10800"/>
                  </a:lnTo>
                  <a:close/>
                  <a:moveTo>
                    <a:pt x="4985" y="0"/>
                  </a:moveTo>
                  <a:lnTo>
                    <a:pt x="8308" y="831"/>
                  </a:lnTo>
                  <a:lnTo>
                    <a:pt x="9969" y="831"/>
                  </a:lnTo>
                  <a:lnTo>
                    <a:pt x="9969" y="2492"/>
                  </a:lnTo>
                  <a:lnTo>
                    <a:pt x="13292" y="4154"/>
                  </a:lnTo>
                  <a:lnTo>
                    <a:pt x="9969" y="4985"/>
                  </a:lnTo>
                  <a:lnTo>
                    <a:pt x="13292" y="4985"/>
                  </a:lnTo>
                  <a:lnTo>
                    <a:pt x="13292" y="6646"/>
                  </a:lnTo>
                  <a:lnTo>
                    <a:pt x="9969" y="6646"/>
                  </a:lnTo>
                  <a:lnTo>
                    <a:pt x="9969" y="8308"/>
                  </a:lnTo>
                  <a:lnTo>
                    <a:pt x="13292" y="8308"/>
                  </a:lnTo>
                  <a:lnTo>
                    <a:pt x="13292" y="6646"/>
                  </a:lnTo>
                  <a:lnTo>
                    <a:pt x="16615" y="6646"/>
                  </a:lnTo>
                  <a:lnTo>
                    <a:pt x="16615" y="10800"/>
                  </a:lnTo>
                  <a:lnTo>
                    <a:pt x="13292" y="10800"/>
                  </a:lnTo>
                  <a:lnTo>
                    <a:pt x="13292" y="12462"/>
                  </a:lnTo>
                  <a:lnTo>
                    <a:pt x="9969" y="12462"/>
                  </a:lnTo>
                  <a:lnTo>
                    <a:pt x="9969" y="14123"/>
                  </a:lnTo>
                  <a:lnTo>
                    <a:pt x="8308" y="14123"/>
                  </a:lnTo>
                  <a:lnTo>
                    <a:pt x="8308" y="9969"/>
                  </a:lnTo>
                  <a:lnTo>
                    <a:pt x="4985" y="10800"/>
                  </a:lnTo>
                  <a:lnTo>
                    <a:pt x="1662" y="10800"/>
                  </a:lnTo>
                  <a:lnTo>
                    <a:pt x="1662" y="9969"/>
                  </a:lnTo>
                  <a:lnTo>
                    <a:pt x="0" y="9969"/>
                  </a:lnTo>
                  <a:lnTo>
                    <a:pt x="0" y="8308"/>
                  </a:lnTo>
                  <a:lnTo>
                    <a:pt x="1662" y="8308"/>
                  </a:lnTo>
                  <a:lnTo>
                    <a:pt x="1662" y="4985"/>
                  </a:lnTo>
                  <a:lnTo>
                    <a:pt x="4985" y="4985"/>
                  </a:lnTo>
                  <a:lnTo>
                    <a:pt x="4985" y="0"/>
                  </a:lnTo>
                  <a:close/>
                  <a:moveTo>
                    <a:pt x="4985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  <p:sp>
          <p:nvSpPr>
            <p:cNvPr id="152" name="AutoShape 69"/>
            <p:cNvSpPr>
              <a:spLocks/>
            </p:cNvSpPr>
            <p:nvPr/>
          </p:nvSpPr>
          <p:spPr bwMode="auto">
            <a:xfrm>
              <a:off x="375" y="111"/>
              <a:ext cx="25" cy="26"/>
            </a:xfrm>
            <a:custGeom>
              <a:avLst/>
              <a:gdLst>
                <a:gd name="T0" fmla="*/ 10800 w 21600"/>
                <a:gd name="T1" fmla="*/ 10800 h 21600"/>
              </a:gdLst>
              <a:ahLst/>
              <a:cxnLst>
                <a:cxn ang="0">
                  <a:pos x="T0" y="T1"/>
                </a:cxn>
              </a:cxnLst>
              <a:rect l="0" t="0" r="r" b="b"/>
              <a:pathLst>
                <a:path w="21600" h="21600">
                  <a:moveTo>
                    <a:pt x="17280" y="19440"/>
                  </a:moveTo>
                  <a:lnTo>
                    <a:pt x="21600" y="19440"/>
                  </a:lnTo>
                  <a:lnTo>
                    <a:pt x="21600" y="21600"/>
                  </a:lnTo>
                  <a:lnTo>
                    <a:pt x="17280" y="19440"/>
                  </a:lnTo>
                  <a:close/>
                  <a:moveTo>
                    <a:pt x="15120" y="6480"/>
                  </a:moveTo>
                  <a:lnTo>
                    <a:pt x="17280" y="10800"/>
                  </a:lnTo>
                  <a:lnTo>
                    <a:pt x="17280" y="15120"/>
                  </a:lnTo>
                  <a:lnTo>
                    <a:pt x="15120" y="10800"/>
                  </a:lnTo>
                  <a:lnTo>
                    <a:pt x="15120" y="6480"/>
                  </a:lnTo>
                  <a:close/>
                  <a:moveTo>
                    <a:pt x="10800" y="0"/>
                  </a:moveTo>
                  <a:lnTo>
                    <a:pt x="15120" y="0"/>
                  </a:lnTo>
                  <a:lnTo>
                    <a:pt x="15120" y="4320"/>
                  </a:lnTo>
                  <a:lnTo>
                    <a:pt x="10800" y="4320"/>
                  </a:lnTo>
                  <a:lnTo>
                    <a:pt x="10800" y="0"/>
                  </a:lnTo>
                  <a:close/>
                  <a:moveTo>
                    <a:pt x="6480" y="0"/>
                  </a:moveTo>
                  <a:lnTo>
                    <a:pt x="6480" y="4320"/>
                  </a:lnTo>
                  <a:lnTo>
                    <a:pt x="0" y="4320"/>
                  </a:lnTo>
                  <a:lnTo>
                    <a:pt x="6480" y="0"/>
                  </a:lnTo>
                  <a:close/>
                  <a:moveTo>
                    <a:pt x="6480" y="0"/>
                  </a:moveTo>
                </a:path>
              </a:pathLst>
            </a:custGeom>
            <a:solidFill>
              <a:srgbClr val="B2EAE7"/>
            </a:solidFill>
            <a:ln w="12700" cap="flat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1pPr>
              <a:lvl2pPr marL="456961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2pPr>
              <a:lvl3pPr marL="91392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3pPr>
              <a:lvl4pPr marL="1370882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4pPr>
              <a:lvl5pPr marL="182784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5pPr>
              <a:lvl6pPr marL="2284804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6pPr>
              <a:lvl7pPr marL="274176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7pPr>
              <a:lvl8pPr marL="3198726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8pPr>
              <a:lvl9pPr marL="3655685" algn="l" defTabSz="913922" rtl="0" eaLnBrk="1" latinLnBrk="0" hangingPunct="1">
                <a:defRPr sz="1200" b="1" kern="1200">
                  <a:solidFill>
                    <a:schemeClr val="tx1"/>
                  </a:solidFill>
                  <a:latin typeface="Telefonica Text" pitchFamily="2" charset="0"/>
                  <a:ea typeface="MS PGothic" pitchFamily="34" charset="-128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662" b="0" kern="0" dirty="0">
                <a:solidFill>
                  <a:sysClr val="windowText" lastClr="000000"/>
                </a:solidFill>
                <a:latin typeface="+mn-lt"/>
                <a:ea typeface="ヒラギノ角ゴ ProN W3"/>
              </a:endParaRPr>
            </a:p>
          </p:txBody>
        </p:sp>
      </p:grpSp>
      <p:sp>
        <p:nvSpPr>
          <p:cNvPr id="125" name="Freeform 5"/>
          <p:cNvSpPr>
            <a:spLocks/>
          </p:cNvSpPr>
          <p:nvPr/>
        </p:nvSpPr>
        <p:spPr bwMode="auto">
          <a:xfrm rot="10800000" flipV="1">
            <a:off x="5399348" y="1267493"/>
            <a:ext cx="3021213" cy="553915"/>
          </a:xfrm>
          <a:prstGeom prst="roundRect">
            <a:avLst/>
          </a:prstGeom>
          <a:solidFill>
            <a:srgbClr val="003245"/>
          </a:solidFill>
          <a:ln w="25400" cap="flat">
            <a:solidFill>
              <a:srgbClr val="008597">
                <a:lumMod val="60000"/>
                <a:lumOff val="40000"/>
              </a:srgbClr>
            </a:solidFill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662" b="0" kern="0" dirty="0">
                <a:solidFill>
                  <a:srgbClr val="FFFFFF"/>
                </a:solidFill>
                <a:latin typeface="+mn-lt"/>
                <a:ea typeface="ヒラギノ角ゴ ProN W3"/>
              </a:rPr>
              <a:t>Accesos: 227,2 </a:t>
            </a:r>
            <a:r>
              <a:rPr lang="es-PE" sz="1662" b="0" kern="0" dirty="0" smtClean="0">
                <a:solidFill>
                  <a:srgbClr val="FFFFFF"/>
                </a:solidFill>
                <a:latin typeface="+mn-lt"/>
                <a:ea typeface="ヒラギノ角ゴ ProN W3"/>
              </a:rPr>
              <a:t>M</a:t>
            </a:r>
            <a:endParaRPr lang="es-PE" sz="1939" b="0" kern="0" dirty="0">
              <a:solidFill>
                <a:srgbClr val="FFFFFF"/>
              </a:solidFill>
              <a:latin typeface="+mn-lt"/>
              <a:ea typeface="ヒラギノ角ゴ ProN W3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PE" sz="1108" b="0" kern="0" dirty="0" smtClean="0">
                <a:solidFill>
                  <a:srgbClr val="FFFFFF"/>
                </a:solidFill>
                <a:latin typeface="+mn-lt"/>
                <a:ea typeface="ヒラギノ角ゴ ProN W3"/>
              </a:rPr>
              <a:t>Diciembre 2014 </a:t>
            </a:r>
            <a:endParaRPr lang="es-PE" sz="1108" b="0" kern="0" dirty="0">
              <a:solidFill>
                <a:srgbClr val="FFFFFF"/>
              </a:solidFill>
              <a:latin typeface="+mn-lt"/>
              <a:ea typeface="ヒラギノ角ゴ ProN W3"/>
            </a:endParaRPr>
          </a:p>
        </p:txBody>
      </p:sp>
      <p:pic>
        <p:nvPicPr>
          <p:cNvPr id="126" name="table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5761724" y="2381912"/>
            <a:ext cx="2298876" cy="2949975"/>
          </a:xfrm>
          <a:prstGeom prst="rect">
            <a:avLst/>
          </a:prstGeom>
        </p:spPr>
      </p:pic>
      <p:sp>
        <p:nvSpPr>
          <p:cNvPr id="127" name="1 CuadroTexto"/>
          <p:cNvSpPr txBox="1"/>
          <p:nvPr/>
        </p:nvSpPr>
        <p:spPr>
          <a:xfrm>
            <a:off x="235525" y="5722087"/>
            <a:ext cx="2337499" cy="262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1pPr>
            <a:lvl2pPr marL="456961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2pPr>
            <a:lvl3pPr marL="91392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3pPr>
            <a:lvl4pPr marL="1370882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4pPr>
            <a:lvl5pPr marL="1827844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5pPr>
            <a:lvl6pPr marL="2284804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6pPr>
            <a:lvl7pPr marL="274176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7pPr>
            <a:lvl8pPr marL="3198726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8pPr>
            <a:lvl9pPr marL="3655685" algn="l" defTabSz="913922" rtl="0" eaLnBrk="1" latinLnBrk="0" hangingPunct="1">
              <a:defRPr sz="1200" b="1" kern="1200">
                <a:solidFill>
                  <a:schemeClr val="tx1"/>
                </a:solidFill>
                <a:latin typeface="Telefonica Text" pitchFamily="2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es-PE" sz="1108" b="0" dirty="0">
                <a:solidFill>
                  <a:srgbClr val="F8F8F8"/>
                </a:solidFill>
                <a:latin typeface="+mn-lt"/>
              </a:rPr>
              <a:t>*Incluye la incorporación de </a:t>
            </a:r>
            <a:r>
              <a:rPr lang="es-PE" sz="1108" b="0" dirty="0" err="1">
                <a:solidFill>
                  <a:srgbClr val="F8F8F8"/>
                </a:solidFill>
                <a:latin typeface="+mn-lt"/>
              </a:rPr>
              <a:t>EPlus</a:t>
            </a:r>
            <a:endParaRPr lang="es-PE" sz="1108" b="0" dirty="0">
              <a:solidFill>
                <a:srgbClr val="F8F8F8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4206380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9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5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8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0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3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6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9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2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5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8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1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4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7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0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3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6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9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2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5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8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1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4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7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0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3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6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9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58" grpId="0" animBg="1"/>
      <p:bldP spid="61" grpId="0" animBg="1"/>
      <p:bldP spid="62" grpId="0" animBg="1"/>
      <p:bldP spid="63" grpId="0" animBg="1"/>
      <p:bldP spid="64" grpId="0" animBg="1"/>
      <p:bldP spid="65" grpId="0" animBg="1"/>
      <p:bldP spid="66" grpId="0" animBg="1"/>
      <p:bldP spid="67" grpId="0" animBg="1"/>
      <p:bldP spid="68" grpId="0" animBg="1"/>
      <p:bldP spid="69" grpId="0" animBg="1"/>
      <p:bldP spid="70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6" grpId="0" animBg="1"/>
      <p:bldP spid="77" grpId="0" animBg="1"/>
      <p:bldP spid="78" grpId="0" animBg="1"/>
      <p:bldP spid="79" grpId="0" animBg="1"/>
      <p:bldP spid="80" grpId="0" animBg="1"/>
      <p:bldP spid="81" grpId="0" animBg="1"/>
      <p:bldP spid="82" grpId="0" animBg="1"/>
      <p:bldP spid="83" grpId="0" animBg="1"/>
      <p:bldP spid="84" grpId="0" animBg="1"/>
      <p:bldP spid="85" grpId="0" animBg="1"/>
      <p:bldP spid="102" grpId="0" animBg="1"/>
      <p:bldP spid="104" grpId="0" animBg="1"/>
      <p:bldP spid="105" grpId="0" animBg="1"/>
      <p:bldP spid="106" grpId="0" animBg="1"/>
      <p:bldP spid="111" grpId="0" animBg="1"/>
      <p:bldP spid="117" grpId="0" animBg="1"/>
      <p:bldP spid="118" grpId="0" animBg="1"/>
      <p:bldP spid="119" grpId="0" animBg="1"/>
      <p:bldP spid="120" grpId="0" animBg="1"/>
      <p:bldP spid="121" grpId="0" animBg="1"/>
      <p:bldP spid="122" grpId="0" animBg="1"/>
      <p:bldP spid="123" grpId="0" animBg="1"/>
      <p:bldP spid="125" grpId="0" animBg="1"/>
      <p:bldP spid="12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5496" y="40849"/>
            <a:ext cx="8784976" cy="67710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s-ES_tradnl" sz="2200" b="1" dirty="0" smtClean="0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Con 25 años de presencia en Argentina, el </a:t>
            </a:r>
            <a:r>
              <a:rPr lang="es-ES_tradnl" sz="2200" b="1" dirty="0" smtClean="0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compromiso </a:t>
            </a:r>
            <a:r>
              <a:rPr lang="es-ES_tradnl" sz="2200" b="1" dirty="0" smtClean="0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de Telefónica con el país es inalterable</a:t>
            </a:r>
            <a:endParaRPr lang="es-AR" sz="2200" b="1" dirty="0">
              <a:solidFill>
                <a:srgbClr val="123E5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" name="Grupo 11"/>
          <p:cNvGrpSpPr/>
          <p:nvPr/>
        </p:nvGrpSpPr>
        <p:grpSpPr>
          <a:xfrm>
            <a:off x="125604" y="980728"/>
            <a:ext cx="2934228" cy="5707635"/>
            <a:chOff x="125604" y="980728"/>
            <a:chExt cx="2934228" cy="5707635"/>
          </a:xfrm>
        </p:grpSpPr>
        <p:sp>
          <p:nvSpPr>
            <p:cNvPr id="25" name="Freeform 158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 rot="19915672">
              <a:off x="2169278" y="2569296"/>
              <a:ext cx="229487" cy="133074"/>
            </a:xfrm>
            <a:custGeom>
              <a:avLst/>
              <a:gdLst>
                <a:gd name="T0" fmla="*/ 272176492 w 166"/>
                <a:gd name="T1" fmla="*/ 152026464 h 102"/>
                <a:gd name="T2" fmla="*/ 272176492 w 166"/>
                <a:gd name="T3" fmla="*/ 142623486 h 102"/>
                <a:gd name="T4" fmla="*/ 8197601 w 166"/>
                <a:gd name="T5" fmla="*/ 0 h 102"/>
                <a:gd name="T6" fmla="*/ 0 w 166"/>
                <a:gd name="T7" fmla="*/ 17239627 h 102"/>
                <a:gd name="T8" fmla="*/ 263978893 w 166"/>
                <a:gd name="T9" fmla="*/ 159863109 h 102"/>
                <a:gd name="T10" fmla="*/ 272176492 w 166"/>
                <a:gd name="T11" fmla="*/ 152026464 h 10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6"/>
                <a:gd name="T19" fmla="*/ 0 h 102"/>
                <a:gd name="T20" fmla="*/ 166 w 166"/>
                <a:gd name="T21" fmla="*/ 102 h 10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6" h="102">
                  <a:moveTo>
                    <a:pt x="166" y="97"/>
                  </a:moveTo>
                  <a:lnTo>
                    <a:pt x="166" y="91"/>
                  </a:lnTo>
                  <a:lnTo>
                    <a:pt x="5" y="0"/>
                  </a:lnTo>
                  <a:lnTo>
                    <a:pt x="0" y="11"/>
                  </a:lnTo>
                  <a:lnTo>
                    <a:pt x="161" y="102"/>
                  </a:lnTo>
                  <a:lnTo>
                    <a:pt x="166" y="97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6" name="Freeform 299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 rot="16973037">
              <a:off x="2168635" y="1708148"/>
              <a:ext cx="129747" cy="255176"/>
            </a:xfrm>
            <a:custGeom>
              <a:avLst/>
              <a:gdLst>
                <a:gd name="T0" fmla="*/ 218191993 w 70"/>
                <a:gd name="T1" fmla="*/ 15597244 h 199"/>
                <a:gd name="T2" fmla="*/ 183904865 w 70"/>
                <a:gd name="T3" fmla="*/ 15597244 h 199"/>
                <a:gd name="T4" fmla="*/ 0 w 70"/>
                <a:gd name="T5" fmla="*/ 282170804 h 199"/>
                <a:gd name="T6" fmla="*/ 34287141 w 70"/>
                <a:gd name="T7" fmla="*/ 282170804 h 199"/>
                <a:gd name="T8" fmla="*/ 218191993 w 70"/>
                <a:gd name="T9" fmla="*/ 22687444 h 199"/>
                <a:gd name="T10" fmla="*/ 183904865 w 70"/>
                <a:gd name="T11" fmla="*/ 22687444 h 199"/>
                <a:gd name="T12" fmla="*/ 218191993 w 70"/>
                <a:gd name="T13" fmla="*/ 15597244 h 199"/>
                <a:gd name="T14" fmla="*/ 183904865 w 70"/>
                <a:gd name="T15" fmla="*/ 0 h 199"/>
                <a:gd name="T16" fmla="*/ 183904865 w 70"/>
                <a:gd name="T17" fmla="*/ 15597244 h 199"/>
                <a:gd name="T18" fmla="*/ 218191993 w 70"/>
                <a:gd name="T19" fmla="*/ 15597244 h 19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0"/>
                <a:gd name="T31" fmla="*/ 0 h 199"/>
                <a:gd name="T32" fmla="*/ 70 w 70"/>
                <a:gd name="T33" fmla="*/ 199 h 19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0" h="199">
                  <a:moveTo>
                    <a:pt x="70" y="11"/>
                  </a:moveTo>
                  <a:lnTo>
                    <a:pt x="59" y="11"/>
                  </a:lnTo>
                  <a:lnTo>
                    <a:pt x="0" y="199"/>
                  </a:lnTo>
                  <a:lnTo>
                    <a:pt x="11" y="199"/>
                  </a:lnTo>
                  <a:lnTo>
                    <a:pt x="70" y="16"/>
                  </a:lnTo>
                  <a:lnTo>
                    <a:pt x="59" y="16"/>
                  </a:lnTo>
                  <a:lnTo>
                    <a:pt x="70" y="11"/>
                  </a:lnTo>
                  <a:lnTo>
                    <a:pt x="59" y="0"/>
                  </a:lnTo>
                  <a:lnTo>
                    <a:pt x="59" y="11"/>
                  </a:lnTo>
                  <a:lnTo>
                    <a:pt x="70" y="11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7" name="Freeform 299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331973" y="1562924"/>
              <a:ext cx="140432" cy="345992"/>
            </a:xfrm>
            <a:custGeom>
              <a:avLst/>
              <a:gdLst>
                <a:gd name="T0" fmla="*/ 242694503 w 70"/>
                <a:gd name="T1" fmla="*/ 30365129 h 199"/>
                <a:gd name="T2" fmla="*/ 204556964 w 70"/>
                <a:gd name="T3" fmla="*/ 30365129 h 199"/>
                <a:gd name="T4" fmla="*/ 0 w 70"/>
                <a:gd name="T5" fmla="*/ 549318436 h 199"/>
                <a:gd name="T6" fmla="*/ 38137554 w 70"/>
                <a:gd name="T7" fmla="*/ 549318436 h 199"/>
                <a:gd name="T8" fmla="*/ 242694503 w 70"/>
                <a:gd name="T9" fmla="*/ 44165494 h 199"/>
                <a:gd name="T10" fmla="*/ 204556964 w 70"/>
                <a:gd name="T11" fmla="*/ 44165494 h 199"/>
                <a:gd name="T12" fmla="*/ 242694503 w 70"/>
                <a:gd name="T13" fmla="*/ 30365129 h 199"/>
                <a:gd name="T14" fmla="*/ 204556964 w 70"/>
                <a:gd name="T15" fmla="*/ 0 h 199"/>
                <a:gd name="T16" fmla="*/ 204556964 w 70"/>
                <a:gd name="T17" fmla="*/ 30365129 h 199"/>
                <a:gd name="T18" fmla="*/ 242694503 w 70"/>
                <a:gd name="T19" fmla="*/ 30365129 h 19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0"/>
                <a:gd name="T31" fmla="*/ 0 h 199"/>
                <a:gd name="T32" fmla="*/ 70 w 70"/>
                <a:gd name="T33" fmla="*/ 199 h 19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0" h="199">
                  <a:moveTo>
                    <a:pt x="70" y="11"/>
                  </a:moveTo>
                  <a:lnTo>
                    <a:pt x="59" y="11"/>
                  </a:lnTo>
                  <a:lnTo>
                    <a:pt x="0" y="199"/>
                  </a:lnTo>
                  <a:lnTo>
                    <a:pt x="11" y="199"/>
                  </a:lnTo>
                  <a:lnTo>
                    <a:pt x="70" y="16"/>
                  </a:lnTo>
                  <a:lnTo>
                    <a:pt x="59" y="16"/>
                  </a:lnTo>
                  <a:lnTo>
                    <a:pt x="70" y="11"/>
                  </a:lnTo>
                  <a:lnTo>
                    <a:pt x="59" y="0"/>
                  </a:lnTo>
                  <a:lnTo>
                    <a:pt x="59" y="11"/>
                  </a:lnTo>
                  <a:lnTo>
                    <a:pt x="70" y="11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8" name="Freeform 36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 rot="568934">
              <a:off x="1520217" y="2985152"/>
              <a:ext cx="594268" cy="48240"/>
            </a:xfrm>
            <a:custGeom>
              <a:avLst/>
              <a:gdLst>
                <a:gd name="T0" fmla="*/ 0 w 428"/>
                <a:gd name="T1" fmla="*/ 0 h 36"/>
                <a:gd name="T2" fmla="*/ 178895363 w 428"/>
                <a:gd name="T3" fmla="*/ 32481084 h 36"/>
                <a:gd name="T4" fmla="*/ 463802220 w 428"/>
                <a:gd name="T5" fmla="*/ 32481084 h 36"/>
                <a:gd name="T6" fmla="*/ 708954365 w 428"/>
                <a:gd name="T7" fmla="*/ 58466976 h 3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28"/>
                <a:gd name="T13" fmla="*/ 0 h 36"/>
                <a:gd name="T14" fmla="*/ 428 w 428"/>
                <a:gd name="T15" fmla="*/ 36 h 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28" h="36">
                  <a:moveTo>
                    <a:pt x="0" y="0"/>
                  </a:moveTo>
                  <a:cubicBezTo>
                    <a:pt x="30" y="8"/>
                    <a:pt x="61" y="17"/>
                    <a:pt x="108" y="20"/>
                  </a:cubicBezTo>
                  <a:cubicBezTo>
                    <a:pt x="155" y="23"/>
                    <a:pt x="227" y="17"/>
                    <a:pt x="280" y="20"/>
                  </a:cubicBezTo>
                  <a:cubicBezTo>
                    <a:pt x="333" y="23"/>
                    <a:pt x="379" y="19"/>
                    <a:pt x="428" y="36"/>
                  </a:cubicBezTo>
                </a:path>
              </a:pathLst>
            </a:custGeom>
            <a:noFill/>
            <a:ln w="25400" cap="flat" cmpd="sng">
              <a:solidFill>
                <a:srgbClr val="99CC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9" name="Freeform 16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958629" y="3136543"/>
              <a:ext cx="49666" cy="56556"/>
            </a:xfrm>
            <a:custGeom>
              <a:avLst/>
              <a:gdLst>
                <a:gd name="T0" fmla="*/ 60632056 w 27"/>
                <a:gd name="T1" fmla="*/ 0 h 43"/>
                <a:gd name="T2" fmla="*/ 46196576 w 27"/>
                <a:gd name="T3" fmla="*/ 0 h 43"/>
                <a:gd name="T4" fmla="*/ 0 w 27"/>
                <a:gd name="T5" fmla="*/ 58461200 h 43"/>
                <a:gd name="T6" fmla="*/ 28872652 w 27"/>
                <a:gd name="T7" fmla="*/ 67941968 h 43"/>
                <a:gd name="T8" fmla="*/ 77955980 w 27"/>
                <a:gd name="T9" fmla="*/ 7900433 h 43"/>
                <a:gd name="T10" fmla="*/ 60632056 w 27"/>
                <a:gd name="T11" fmla="*/ 0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7"/>
                <a:gd name="T19" fmla="*/ 0 h 43"/>
                <a:gd name="T20" fmla="*/ 27 w 27"/>
                <a:gd name="T21" fmla="*/ 43 h 4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7" h="43">
                  <a:moveTo>
                    <a:pt x="21" y="0"/>
                  </a:moveTo>
                  <a:lnTo>
                    <a:pt x="16" y="0"/>
                  </a:lnTo>
                  <a:lnTo>
                    <a:pt x="0" y="37"/>
                  </a:lnTo>
                  <a:lnTo>
                    <a:pt x="10" y="43"/>
                  </a:lnTo>
                  <a:lnTo>
                    <a:pt x="27" y="5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r>
                <a:rPr lang="es-AR" sz="1200" b="1">
                  <a:solidFill>
                    <a:srgbClr val="043F52"/>
                  </a:solidFill>
                  <a:ea typeface="MS PGothic" pitchFamily="34" charset="-128"/>
                </a:rPr>
                <a:t> </a:t>
              </a:r>
            </a:p>
          </p:txBody>
        </p:sp>
        <p:sp>
          <p:nvSpPr>
            <p:cNvPr id="30" name="Freeform 114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 rot="1704957">
              <a:off x="2254917" y="3181455"/>
              <a:ext cx="133582" cy="462432"/>
            </a:xfrm>
            <a:custGeom>
              <a:avLst/>
              <a:gdLst>
                <a:gd name="T0" fmla="*/ 131193692 w 112"/>
                <a:gd name="T1" fmla="*/ 1132858101 h 172"/>
                <a:gd name="T2" fmla="*/ 137324133 w 112"/>
                <a:gd name="T3" fmla="*/ 1099925518 h 172"/>
                <a:gd name="T4" fmla="*/ 12260887 w 112"/>
                <a:gd name="T5" fmla="*/ 0 h 172"/>
                <a:gd name="T6" fmla="*/ 0 w 112"/>
                <a:gd name="T7" fmla="*/ 39519110 h 172"/>
                <a:gd name="T8" fmla="*/ 125063250 w 112"/>
                <a:gd name="T9" fmla="*/ 1132858101 h 172"/>
                <a:gd name="T10" fmla="*/ 131193692 w 112"/>
                <a:gd name="T11" fmla="*/ 1132858101 h 1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2"/>
                <a:gd name="T19" fmla="*/ 0 h 172"/>
                <a:gd name="T20" fmla="*/ 112 w 112"/>
                <a:gd name="T21" fmla="*/ 172 h 17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2" h="172">
                  <a:moveTo>
                    <a:pt x="107" y="172"/>
                  </a:moveTo>
                  <a:lnTo>
                    <a:pt x="112" y="167"/>
                  </a:lnTo>
                  <a:lnTo>
                    <a:pt x="10" y="0"/>
                  </a:lnTo>
                  <a:lnTo>
                    <a:pt x="0" y="6"/>
                  </a:lnTo>
                  <a:lnTo>
                    <a:pt x="102" y="172"/>
                  </a:lnTo>
                  <a:lnTo>
                    <a:pt x="107" y="172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1" name="Freeform 30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331973" y="1908917"/>
              <a:ext cx="44527" cy="43249"/>
            </a:xfrm>
            <a:custGeom>
              <a:avLst/>
              <a:gdLst>
                <a:gd name="T0" fmla="*/ 44558941 w 32"/>
                <a:gd name="T1" fmla="*/ 43836629 h 32"/>
                <a:gd name="T2" fmla="*/ 52810068 w 32"/>
                <a:gd name="T3" fmla="*/ 43836629 h 32"/>
                <a:gd name="T4" fmla="*/ 18153257 w 32"/>
                <a:gd name="T5" fmla="*/ 0 h 32"/>
                <a:gd name="T6" fmla="*/ 0 w 32"/>
                <a:gd name="T7" fmla="*/ 8118275 h 32"/>
                <a:gd name="T8" fmla="*/ 34656805 w 32"/>
                <a:gd name="T9" fmla="*/ 51954902 h 32"/>
                <a:gd name="T10" fmla="*/ 44558941 w 32"/>
                <a:gd name="T11" fmla="*/ 43836629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2"/>
                <a:gd name="T19" fmla="*/ 0 h 32"/>
                <a:gd name="T20" fmla="*/ 32 w 32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2" h="32">
                  <a:moveTo>
                    <a:pt x="27" y="27"/>
                  </a:moveTo>
                  <a:lnTo>
                    <a:pt x="32" y="27"/>
                  </a:lnTo>
                  <a:lnTo>
                    <a:pt x="11" y="0"/>
                  </a:lnTo>
                  <a:lnTo>
                    <a:pt x="0" y="5"/>
                  </a:lnTo>
                  <a:lnTo>
                    <a:pt x="21" y="32"/>
                  </a:lnTo>
                  <a:lnTo>
                    <a:pt x="27" y="27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2" name="Freeform 6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759968" y="3851796"/>
              <a:ext cx="75354" cy="397558"/>
            </a:xfrm>
            <a:custGeom>
              <a:avLst/>
              <a:gdLst>
                <a:gd name="T0" fmla="*/ 8274638 w 54"/>
                <a:gd name="T1" fmla="*/ 477590176 h 301"/>
                <a:gd name="T2" fmla="*/ 18204980 w 54"/>
                <a:gd name="T3" fmla="*/ 477590176 h 301"/>
                <a:gd name="T4" fmla="*/ 89371797 w 54"/>
                <a:gd name="T5" fmla="*/ 0 h 301"/>
                <a:gd name="T6" fmla="*/ 71166802 w 54"/>
                <a:gd name="T7" fmla="*/ 0 h 301"/>
                <a:gd name="T8" fmla="*/ 0 w 54"/>
                <a:gd name="T9" fmla="*/ 477590176 h 301"/>
                <a:gd name="T10" fmla="*/ 8274638 w 54"/>
                <a:gd name="T11" fmla="*/ 477590176 h 30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4"/>
                <a:gd name="T19" fmla="*/ 0 h 301"/>
                <a:gd name="T20" fmla="*/ 54 w 54"/>
                <a:gd name="T21" fmla="*/ 301 h 30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4" h="301">
                  <a:moveTo>
                    <a:pt x="5" y="301"/>
                  </a:moveTo>
                  <a:lnTo>
                    <a:pt x="11" y="301"/>
                  </a:lnTo>
                  <a:lnTo>
                    <a:pt x="54" y="0"/>
                  </a:lnTo>
                  <a:lnTo>
                    <a:pt x="43" y="0"/>
                  </a:lnTo>
                  <a:lnTo>
                    <a:pt x="0" y="301"/>
                  </a:lnTo>
                  <a:lnTo>
                    <a:pt x="5" y="301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3" name="Freeform 7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840311" y="1987100"/>
              <a:ext cx="594267" cy="723590"/>
            </a:xfrm>
            <a:custGeom>
              <a:avLst/>
              <a:gdLst>
                <a:gd name="T0" fmla="*/ 19 w 80"/>
                <a:gd name="T1" fmla="*/ 0 h 102"/>
                <a:gd name="T2" fmla="*/ 17 w 80"/>
                <a:gd name="T3" fmla="*/ 2 h 102"/>
                <a:gd name="T4" fmla="*/ 14 w 80"/>
                <a:gd name="T5" fmla="*/ 3 h 102"/>
                <a:gd name="T6" fmla="*/ 11 w 80"/>
                <a:gd name="T7" fmla="*/ 3 h 102"/>
                <a:gd name="T8" fmla="*/ 6 w 80"/>
                <a:gd name="T9" fmla="*/ 7 h 102"/>
                <a:gd name="T10" fmla="*/ 6 w 80"/>
                <a:gd name="T11" fmla="*/ 11 h 102"/>
                <a:gd name="T12" fmla="*/ 3 w 80"/>
                <a:gd name="T13" fmla="*/ 11 h 102"/>
                <a:gd name="T14" fmla="*/ 0 w 80"/>
                <a:gd name="T15" fmla="*/ 16 h 102"/>
                <a:gd name="T16" fmla="*/ 1 w 80"/>
                <a:gd name="T17" fmla="*/ 16 h 102"/>
                <a:gd name="T18" fmla="*/ 3 w 80"/>
                <a:gd name="T19" fmla="*/ 18 h 102"/>
                <a:gd name="T20" fmla="*/ 6 w 80"/>
                <a:gd name="T21" fmla="*/ 19 h 102"/>
                <a:gd name="T22" fmla="*/ 9 w 80"/>
                <a:gd name="T23" fmla="*/ 22 h 102"/>
                <a:gd name="T24" fmla="*/ 11 w 80"/>
                <a:gd name="T25" fmla="*/ 27 h 102"/>
                <a:gd name="T26" fmla="*/ 12 w 80"/>
                <a:gd name="T27" fmla="*/ 29 h 102"/>
                <a:gd name="T28" fmla="*/ 12 w 80"/>
                <a:gd name="T29" fmla="*/ 30 h 102"/>
                <a:gd name="T30" fmla="*/ 11 w 80"/>
                <a:gd name="T31" fmla="*/ 35 h 102"/>
                <a:gd name="T32" fmla="*/ 11 w 80"/>
                <a:gd name="T33" fmla="*/ 46 h 102"/>
                <a:gd name="T34" fmla="*/ 19 w 80"/>
                <a:gd name="T35" fmla="*/ 46 h 102"/>
                <a:gd name="T36" fmla="*/ 25 w 80"/>
                <a:gd name="T37" fmla="*/ 47 h 102"/>
                <a:gd name="T38" fmla="*/ 28 w 80"/>
                <a:gd name="T39" fmla="*/ 52 h 102"/>
                <a:gd name="T40" fmla="*/ 33 w 80"/>
                <a:gd name="T41" fmla="*/ 57 h 102"/>
                <a:gd name="T42" fmla="*/ 39 w 80"/>
                <a:gd name="T43" fmla="*/ 61 h 102"/>
                <a:gd name="T44" fmla="*/ 39 w 80"/>
                <a:gd name="T45" fmla="*/ 65 h 102"/>
                <a:gd name="T46" fmla="*/ 47 w 80"/>
                <a:gd name="T47" fmla="*/ 71 h 102"/>
                <a:gd name="T48" fmla="*/ 48 w 80"/>
                <a:gd name="T49" fmla="*/ 75 h 102"/>
                <a:gd name="T50" fmla="*/ 47 w 80"/>
                <a:gd name="T51" fmla="*/ 79 h 102"/>
                <a:gd name="T52" fmla="*/ 48 w 80"/>
                <a:gd name="T53" fmla="*/ 86 h 102"/>
                <a:gd name="T54" fmla="*/ 50 w 80"/>
                <a:gd name="T55" fmla="*/ 91 h 102"/>
                <a:gd name="T56" fmla="*/ 53 w 80"/>
                <a:gd name="T57" fmla="*/ 94 h 102"/>
                <a:gd name="T58" fmla="*/ 55 w 80"/>
                <a:gd name="T59" fmla="*/ 99 h 102"/>
                <a:gd name="T60" fmla="*/ 62 w 80"/>
                <a:gd name="T61" fmla="*/ 102 h 102"/>
                <a:gd name="T62" fmla="*/ 62 w 80"/>
                <a:gd name="T63" fmla="*/ 101 h 102"/>
                <a:gd name="T64" fmla="*/ 64 w 80"/>
                <a:gd name="T65" fmla="*/ 101 h 102"/>
                <a:gd name="T66" fmla="*/ 67 w 80"/>
                <a:gd name="T67" fmla="*/ 101 h 102"/>
                <a:gd name="T68" fmla="*/ 69 w 80"/>
                <a:gd name="T69" fmla="*/ 101 h 102"/>
                <a:gd name="T70" fmla="*/ 72 w 80"/>
                <a:gd name="T71" fmla="*/ 101 h 102"/>
                <a:gd name="T72" fmla="*/ 72 w 80"/>
                <a:gd name="T73" fmla="*/ 99 h 102"/>
                <a:gd name="T74" fmla="*/ 73 w 80"/>
                <a:gd name="T75" fmla="*/ 80 h 102"/>
                <a:gd name="T76" fmla="*/ 80 w 80"/>
                <a:gd name="T77" fmla="*/ 57 h 102"/>
                <a:gd name="T78" fmla="*/ 72 w 80"/>
                <a:gd name="T79" fmla="*/ 38 h 102"/>
                <a:gd name="T80" fmla="*/ 72 w 80"/>
                <a:gd name="T81" fmla="*/ 36 h 102"/>
                <a:gd name="T82" fmla="*/ 70 w 80"/>
                <a:gd name="T83" fmla="*/ 35 h 102"/>
                <a:gd name="T84" fmla="*/ 70 w 80"/>
                <a:gd name="T85" fmla="*/ 33 h 102"/>
                <a:gd name="T86" fmla="*/ 59 w 80"/>
                <a:gd name="T87" fmla="*/ 25 h 102"/>
                <a:gd name="T88" fmla="*/ 61 w 80"/>
                <a:gd name="T89" fmla="*/ 22 h 102"/>
                <a:gd name="T90" fmla="*/ 56 w 80"/>
                <a:gd name="T91" fmla="*/ 19 h 102"/>
                <a:gd name="T92" fmla="*/ 56 w 80"/>
                <a:gd name="T93" fmla="*/ 13 h 102"/>
                <a:gd name="T94" fmla="*/ 48 w 80"/>
                <a:gd name="T95" fmla="*/ 13 h 102"/>
                <a:gd name="T96" fmla="*/ 47 w 80"/>
                <a:gd name="T97" fmla="*/ 16 h 102"/>
                <a:gd name="T98" fmla="*/ 36 w 80"/>
                <a:gd name="T99" fmla="*/ 14 h 102"/>
                <a:gd name="T100" fmla="*/ 33 w 80"/>
                <a:gd name="T101" fmla="*/ 16 h 102"/>
                <a:gd name="T102" fmla="*/ 30 w 80"/>
                <a:gd name="T103" fmla="*/ 10 h 102"/>
                <a:gd name="T104" fmla="*/ 23 w 80"/>
                <a:gd name="T105" fmla="*/ 10 h 102"/>
                <a:gd name="T106" fmla="*/ 22 w 80"/>
                <a:gd name="T107" fmla="*/ 7 h 102"/>
                <a:gd name="T108" fmla="*/ 20 w 80"/>
                <a:gd name="T109" fmla="*/ 8 h 102"/>
                <a:gd name="T110" fmla="*/ 20 w 80"/>
                <a:gd name="T111" fmla="*/ 3 h 102"/>
                <a:gd name="T112" fmla="*/ 20 w 80"/>
                <a:gd name="T113" fmla="*/ 0 h 102"/>
                <a:gd name="T114" fmla="*/ 19 w 80"/>
                <a:gd name="T115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0" h="102">
                  <a:moveTo>
                    <a:pt x="19" y="0"/>
                  </a:moveTo>
                  <a:lnTo>
                    <a:pt x="17" y="2"/>
                  </a:lnTo>
                  <a:lnTo>
                    <a:pt x="14" y="3"/>
                  </a:lnTo>
                  <a:lnTo>
                    <a:pt x="11" y="3"/>
                  </a:lnTo>
                  <a:lnTo>
                    <a:pt x="6" y="7"/>
                  </a:lnTo>
                  <a:lnTo>
                    <a:pt x="6" y="11"/>
                  </a:lnTo>
                  <a:lnTo>
                    <a:pt x="3" y="11"/>
                  </a:lnTo>
                  <a:lnTo>
                    <a:pt x="0" y="16"/>
                  </a:lnTo>
                  <a:lnTo>
                    <a:pt x="1" y="16"/>
                  </a:lnTo>
                  <a:lnTo>
                    <a:pt x="3" y="18"/>
                  </a:lnTo>
                  <a:lnTo>
                    <a:pt x="6" y="19"/>
                  </a:lnTo>
                  <a:lnTo>
                    <a:pt x="9" y="22"/>
                  </a:lnTo>
                  <a:lnTo>
                    <a:pt x="11" y="27"/>
                  </a:lnTo>
                  <a:lnTo>
                    <a:pt x="12" y="29"/>
                  </a:lnTo>
                  <a:lnTo>
                    <a:pt x="12" y="30"/>
                  </a:lnTo>
                  <a:lnTo>
                    <a:pt x="11" y="35"/>
                  </a:lnTo>
                  <a:lnTo>
                    <a:pt x="11" y="46"/>
                  </a:lnTo>
                  <a:lnTo>
                    <a:pt x="19" y="46"/>
                  </a:lnTo>
                  <a:lnTo>
                    <a:pt x="25" y="47"/>
                  </a:lnTo>
                  <a:lnTo>
                    <a:pt x="28" y="52"/>
                  </a:lnTo>
                  <a:lnTo>
                    <a:pt x="33" y="57"/>
                  </a:lnTo>
                  <a:lnTo>
                    <a:pt x="39" y="61"/>
                  </a:lnTo>
                  <a:lnTo>
                    <a:pt x="39" y="65"/>
                  </a:lnTo>
                  <a:lnTo>
                    <a:pt x="47" y="71"/>
                  </a:lnTo>
                  <a:lnTo>
                    <a:pt x="48" y="75"/>
                  </a:lnTo>
                  <a:lnTo>
                    <a:pt x="47" y="79"/>
                  </a:lnTo>
                  <a:lnTo>
                    <a:pt x="48" y="86"/>
                  </a:lnTo>
                  <a:lnTo>
                    <a:pt x="50" y="91"/>
                  </a:lnTo>
                  <a:lnTo>
                    <a:pt x="53" y="94"/>
                  </a:lnTo>
                  <a:lnTo>
                    <a:pt x="55" y="99"/>
                  </a:lnTo>
                  <a:lnTo>
                    <a:pt x="62" y="102"/>
                  </a:lnTo>
                  <a:lnTo>
                    <a:pt x="62" y="101"/>
                  </a:lnTo>
                  <a:lnTo>
                    <a:pt x="64" y="101"/>
                  </a:lnTo>
                  <a:lnTo>
                    <a:pt x="67" y="101"/>
                  </a:lnTo>
                  <a:lnTo>
                    <a:pt x="69" y="101"/>
                  </a:lnTo>
                  <a:lnTo>
                    <a:pt x="72" y="101"/>
                  </a:lnTo>
                  <a:lnTo>
                    <a:pt x="72" y="99"/>
                  </a:lnTo>
                  <a:lnTo>
                    <a:pt x="73" y="80"/>
                  </a:lnTo>
                  <a:lnTo>
                    <a:pt x="80" y="57"/>
                  </a:lnTo>
                  <a:lnTo>
                    <a:pt x="72" y="38"/>
                  </a:lnTo>
                  <a:lnTo>
                    <a:pt x="72" y="36"/>
                  </a:lnTo>
                  <a:lnTo>
                    <a:pt x="70" y="35"/>
                  </a:lnTo>
                  <a:lnTo>
                    <a:pt x="70" y="33"/>
                  </a:lnTo>
                  <a:lnTo>
                    <a:pt x="59" y="25"/>
                  </a:lnTo>
                  <a:lnTo>
                    <a:pt x="61" y="22"/>
                  </a:lnTo>
                  <a:lnTo>
                    <a:pt x="56" y="19"/>
                  </a:lnTo>
                  <a:lnTo>
                    <a:pt x="56" y="13"/>
                  </a:lnTo>
                  <a:lnTo>
                    <a:pt x="48" y="13"/>
                  </a:lnTo>
                  <a:lnTo>
                    <a:pt x="47" y="16"/>
                  </a:lnTo>
                  <a:lnTo>
                    <a:pt x="36" y="14"/>
                  </a:lnTo>
                  <a:lnTo>
                    <a:pt x="33" y="16"/>
                  </a:lnTo>
                  <a:lnTo>
                    <a:pt x="30" y="10"/>
                  </a:lnTo>
                  <a:lnTo>
                    <a:pt x="23" y="10"/>
                  </a:lnTo>
                  <a:lnTo>
                    <a:pt x="22" y="7"/>
                  </a:lnTo>
                  <a:lnTo>
                    <a:pt x="20" y="8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9" y="0"/>
                  </a:lnTo>
                </a:path>
              </a:pathLst>
            </a:custGeom>
            <a:solidFill>
              <a:schemeClr val="bg2">
                <a:lumMod val="10000"/>
                <a:lumOff val="90000"/>
              </a:schemeClr>
            </a:solidFill>
            <a:ln w="0">
              <a:solidFill>
                <a:srgbClr val="25221E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algn="ctr" eaLnBrk="0" hangingPunct="0">
                <a:defRPr/>
              </a:pPr>
              <a:endParaRPr lang="es-AR" sz="1200" b="1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34" name="Freeform 8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22152" y="2100212"/>
              <a:ext cx="525764" cy="688658"/>
            </a:xfrm>
            <a:custGeom>
              <a:avLst/>
              <a:gdLst>
                <a:gd name="T0" fmla="*/ 16 w 71"/>
                <a:gd name="T1" fmla="*/ 0 h 97"/>
                <a:gd name="T2" fmla="*/ 13 w 71"/>
                <a:gd name="T3" fmla="*/ 9 h 97"/>
                <a:gd name="T4" fmla="*/ 13 w 71"/>
                <a:gd name="T5" fmla="*/ 17 h 97"/>
                <a:gd name="T6" fmla="*/ 6 w 71"/>
                <a:gd name="T7" fmla="*/ 22 h 97"/>
                <a:gd name="T8" fmla="*/ 10 w 71"/>
                <a:gd name="T9" fmla="*/ 30 h 97"/>
                <a:gd name="T10" fmla="*/ 10 w 71"/>
                <a:gd name="T11" fmla="*/ 35 h 97"/>
                <a:gd name="T12" fmla="*/ 8 w 71"/>
                <a:gd name="T13" fmla="*/ 41 h 97"/>
                <a:gd name="T14" fmla="*/ 10 w 71"/>
                <a:gd name="T15" fmla="*/ 44 h 97"/>
                <a:gd name="T16" fmla="*/ 6 w 71"/>
                <a:gd name="T17" fmla="*/ 45 h 97"/>
                <a:gd name="T18" fmla="*/ 5 w 71"/>
                <a:gd name="T19" fmla="*/ 56 h 97"/>
                <a:gd name="T20" fmla="*/ 3 w 71"/>
                <a:gd name="T21" fmla="*/ 66 h 97"/>
                <a:gd name="T22" fmla="*/ 0 w 71"/>
                <a:gd name="T23" fmla="*/ 69 h 97"/>
                <a:gd name="T24" fmla="*/ 0 w 71"/>
                <a:gd name="T25" fmla="*/ 75 h 97"/>
                <a:gd name="T26" fmla="*/ 3 w 71"/>
                <a:gd name="T27" fmla="*/ 83 h 97"/>
                <a:gd name="T28" fmla="*/ 8 w 71"/>
                <a:gd name="T29" fmla="*/ 86 h 97"/>
                <a:gd name="T30" fmla="*/ 6 w 71"/>
                <a:gd name="T31" fmla="*/ 89 h 97"/>
                <a:gd name="T32" fmla="*/ 6 w 71"/>
                <a:gd name="T33" fmla="*/ 97 h 97"/>
                <a:gd name="T34" fmla="*/ 14 w 71"/>
                <a:gd name="T35" fmla="*/ 96 h 97"/>
                <a:gd name="T36" fmla="*/ 19 w 71"/>
                <a:gd name="T37" fmla="*/ 94 h 97"/>
                <a:gd name="T38" fmla="*/ 21 w 71"/>
                <a:gd name="T39" fmla="*/ 91 h 97"/>
                <a:gd name="T40" fmla="*/ 22 w 71"/>
                <a:gd name="T41" fmla="*/ 88 h 97"/>
                <a:gd name="T42" fmla="*/ 25 w 71"/>
                <a:gd name="T43" fmla="*/ 86 h 97"/>
                <a:gd name="T44" fmla="*/ 28 w 71"/>
                <a:gd name="T45" fmla="*/ 88 h 97"/>
                <a:gd name="T46" fmla="*/ 32 w 71"/>
                <a:gd name="T47" fmla="*/ 88 h 97"/>
                <a:gd name="T48" fmla="*/ 36 w 71"/>
                <a:gd name="T49" fmla="*/ 92 h 97"/>
                <a:gd name="T50" fmla="*/ 41 w 71"/>
                <a:gd name="T51" fmla="*/ 88 h 97"/>
                <a:gd name="T52" fmla="*/ 49 w 71"/>
                <a:gd name="T53" fmla="*/ 86 h 97"/>
                <a:gd name="T54" fmla="*/ 57 w 71"/>
                <a:gd name="T55" fmla="*/ 91 h 97"/>
                <a:gd name="T56" fmla="*/ 60 w 71"/>
                <a:gd name="T57" fmla="*/ 94 h 97"/>
                <a:gd name="T58" fmla="*/ 61 w 71"/>
                <a:gd name="T59" fmla="*/ 92 h 97"/>
                <a:gd name="T60" fmla="*/ 58 w 71"/>
                <a:gd name="T61" fmla="*/ 83 h 97"/>
                <a:gd name="T62" fmla="*/ 71 w 71"/>
                <a:gd name="T63" fmla="*/ 83 h 97"/>
                <a:gd name="T64" fmla="*/ 66 w 71"/>
                <a:gd name="T65" fmla="*/ 75 h 97"/>
                <a:gd name="T66" fmla="*/ 63 w 71"/>
                <a:gd name="T67" fmla="*/ 63 h 97"/>
                <a:gd name="T68" fmla="*/ 63 w 71"/>
                <a:gd name="T69" fmla="*/ 55 h 97"/>
                <a:gd name="T70" fmla="*/ 55 w 71"/>
                <a:gd name="T71" fmla="*/ 45 h 97"/>
                <a:gd name="T72" fmla="*/ 44 w 71"/>
                <a:gd name="T73" fmla="*/ 36 h 97"/>
                <a:gd name="T74" fmla="*/ 35 w 71"/>
                <a:gd name="T75" fmla="*/ 30 h 97"/>
                <a:gd name="T76" fmla="*/ 27 w 71"/>
                <a:gd name="T77" fmla="*/ 19 h 97"/>
                <a:gd name="T78" fmla="*/ 28 w 71"/>
                <a:gd name="T79" fmla="*/ 13 h 97"/>
                <a:gd name="T80" fmla="*/ 25 w 71"/>
                <a:gd name="T81" fmla="*/ 6 h 97"/>
                <a:gd name="T82" fmla="*/ 19 w 71"/>
                <a:gd name="T83" fmla="*/ 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1" h="97">
                  <a:moveTo>
                    <a:pt x="17" y="0"/>
                  </a:moveTo>
                  <a:lnTo>
                    <a:pt x="16" y="0"/>
                  </a:lnTo>
                  <a:lnTo>
                    <a:pt x="13" y="6"/>
                  </a:lnTo>
                  <a:lnTo>
                    <a:pt x="13" y="9"/>
                  </a:lnTo>
                  <a:lnTo>
                    <a:pt x="13" y="13"/>
                  </a:lnTo>
                  <a:lnTo>
                    <a:pt x="13" y="17"/>
                  </a:lnTo>
                  <a:lnTo>
                    <a:pt x="8" y="17"/>
                  </a:lnTo>
                  <a:lnTo>
                    <a:pt x="6" y="22"/>
                  </a:lnTo>
                  <a:lnTo>
                    <a:pt x="8" y="25"/>
                  </a:lnTo>
                  <a:lnTo>
                    <a:pt x="10" y="30"/>
                  </a:lnTo>
                  <a:lnTo>
                    <a:pt x="11" y="33"/>
                  </a:lnTo>
                  <a:lnTo>
                    <a:pt x="10" y="35"/>
                  </a:lnTo>
                  <a:lnTo>
                    <a:pt x="11" y="38"/>
                  </a:lnTo>
                  <a:lnTo>
                    <a:pt x="8" y="41"/>
                  </a:lnTo>
                  <a:lnTo>
                    <a:pt x="13" y="42"/>
                  </a:lnTo>
                  <a:lnTo>
                    <a:pt x="10" y="44"/>
                  </a:lnTo>
                  <a:lnTo>
                    <a:pt x="10" y="49"/>
                  </a:lnTo>
                  <a:lnTo>
                    <a:pt x="6" y="45"/>
                  </a:lnTo>
                  <a:lnTo>
                    <a:pt x="6" y="50"/>
                  </a:lnTo>
                  <a:lnTo>
                    <a:pt x="5" y="56"/>
                  </a:lnTo>
                  <a:lnTo>
                    <a:pt x="3" y="63"/>
                  </a:lnTo>
                  <a:lnTo>
                    <a:pt x="3" y="66"/>
                  </a:lnTo>
                  <a:lnTo>
                    <a:pt x="0" y="66"/>
                  </a:lnTo>
                  <a:lnTo>
                    <a:pt x="0" y="69"/>
                  </a:lnTo>
                  <a:lnTo>
                    <a:pt x="0" y="70"/>
                  </a:lnTo>
                  <a:lnTo>
                    <a:pt x="0" y="75"/>
                  </a:lnTo>
                  <a:lnTo>
                    <a:pt x="2" y="78"/>
                  </a:lnTo>
                  <a:lnTo>
                    <a:pt x="3" y="83"/>
                  </a:lnTo>
                  <a:lnTo>
                    <a:pt x="8" y="83"/>
                  </a:lnTo>
                  <a:lnTo>
                    <a:pt x="8" y="86"/>
                  </a:lnTo>
                  <a:lnTo>
                    <a:pt x="3" y="86"/>
                  </a:lnTo>
                  <a:lnTo>
                    <a:pt x="6" y="89"/>
                  </a:lnTo>
                  <a:lnTo>
                    <a:pt x="6" y="91"/>
                  </a:lnTo>
                  <a:lnTo>
                    <a:pt x="6" y="97"/>
                  </a:lnTo>
                  <a:lnTo>
                    <a:pt x="10" y="96"/>
                  </a:lnTo>
                  <a:lnTo>
                    <a:pt x="14" y="96"/>
                  </a:lnTo>
                  <a:lnTo>
                    <a:pt x="17" y="94"/>
                  </a:lnTo>
                  <a:lnTo>
                    <a:pt x="19" y="94"/>
                  </a:lnTo>
                  <a:lnTo>
                    <a:pt x="19" y="92"/>
                  </a:lnTo>
                  <a:lnTo>
                    <a:pt x="21" y="91"/>
                  </a:lnTo>
                  <a:lnTo>
                    <a:pt x="21" y="88"/>
                  </a:lnTo>
                  <a:lnTo>
                    <a:pt x="22" y="88"/>
                  </a:lnTo>
                  <a:lnTo>
                    <a:pt x="25" y="88"/>
                  </a:lnTo>
                  <a:lnTo>
                    <a:pt x="25" y="86"/>
                  </a:lnTo>
                  <a:lnTo>
                    <a:pt x="27" y="86"/>
                  </a:lnTo>
                  <a:lnTo>
                    <a:pt x="28" y="88"/>
                  </a:lnTo>
                  <a:lnTo>
                    <a:pt x="30" y="88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6" y="92"/>
                  </a:lnTo>
                  <a:lnTo>
                    <a:pt x="39" y="89"/>
                  </a:lnTo>
                  <a:lnTo>
                    <a:pt x="41" y="88"/>
                  </a:lnTo>
                  <a:lnTo>
                    <a:pt x="44" y="88"/>
                  </a:lnTo>
                  <a:lnTo>
                    <a:pt x="49" y="86"/>
                  </a:lnTo>
                  <a:lnTo>
                    <a:pt x="52" y="91"/>
                  </a:lnTo>
                  <a:lnTo>
                    <a:pt x="57" y="91"/>
                  </a:lnTo>
                  <a:lnTo>
                    <a:pt x="58" y="94"/>
                  </a:lnTo>
                  <a:lnTo>
                    <a:pt x="60" y="94"/>
                  </a:lnTo>
                  <a:lnTo>
                    <a:pt x="63" y="92"/>
                  </a:lnTo>
                  <a:lnTo>
                    <a:pt x="61" y="92"/>
                  </a:lnTo>
                  <a:lnTo>
                    <a:pt x="60" y="88"/>
                  </a:lnTo>
                  <a:lnTo>
                    <a:pt x="58" y="83"/>
                  </a:lnTo>
                  <a:lnTo>
                    <a:pt x="60" y="83"/>
                  </a:lnTo>
                  <a:lnTo>
                    <a:pt x="71" y="83"/>
                  </a:lnTo>
                  <a:lnTo>
                    <a:pt x="69" y="78"/>
                  </a:lnTo>
                  <a:lnTo>
                    <a:pt x="66" y="75"/>
                  </a:lnTo>
                  <a:lnTo>
                    <a:pt x="64" y="70"/>
                  </a:lnTo>
                  <a:lnTo>
                    <a:pt x="63" y="63"/>
                  </a:lnTo>
                  <a:lnTo>
                    <a:pt x="64" y="59"/>
                  </a:lnTo>
                  <a:lnTo>
                    <a:pt x="63" y="55"/>
                  </a:lnTo>
                  <a:lnTo>
                    <a:pt x="55" y="49"/>
                  </a:lnTo>
                  <a:lnTo>
                    <a:pt x="55" y="45"/>
                  </a:lnTo>
                  <a:lnTo>
                    <a:pt x="49" y="41"/>
                  </a:lnTo>
                  <a:lnTo>
                    <a:pt x="44" y="36"/>
                  </a:lnTo>
                  <a:lnTo>
                    <a:pt x="41" y="31"/>
                  </a:lnTo>
                  <a:lnTo>
                    <a:pt x="35" y="30"/>
                  </a:lnTo>
                  <a:lnTo>
                    <a:pt x="27" y="30"/>
                  </a:lnTo>
                  <a:lnTo>
                    <a:pt x="27" y="19"/>
                  </a:lnTo>
                  <a:lnTo>
                    <a:pt x="28" y="14"/>
                  </a:lnTo>
                  <a:lnTo>
                    <a:pt x="28" y="13"/>
                  </a:lnTo>
                  <a:lnTo>
                    <a:pt x="27" y="11"/>
                  </a:lnTo>
                  <a:lnTo>
                    <a:pt x="25" y="6"/>
                  </a:lnTo>
                  <a:lnTo>
                    <a:pt x="22" y="3"/>
                  </a:lnTo>
                  <a:lnTo>
                    <a:pt x="19" y="2"/>
                  </a:lnTo>
                  <a:lnTo>
                    <a:pt x="17" y="0"/>
                  </a:lnTo>
                </a:path>
              </a:pathLst>
            </a:custGeom>
            <a:solidFill>
              <a:schemeClr val="bg2">
                <a:lumMod val="10000"/>
                <a:lumOff val="90000"/>
              </a:schemeClr>
            </a:solidFill>
            <a:ln w="0">
              <a:solidFill>
                <a:srgbClr val="25221E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algn="ctr" eaLnBrk="0" hangingPunct="0">
                <a:defRPr/>
              </a:pPr>
              <a:endParaRPr lang="es-AR" sz="1200" b="1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35" name="Freeform 9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13589" y="2710687"/>
              <a:ext cx="565153" cy="943161"/>
            </a:xfrm>
            <a:custGeom>
              <a:avLst/>
              <a:gdLst>
                <a:gd name="T0" fmla="*/ 9 w 76"/>
                <a:gd name="T1" fmla="*/ 14 h 133"/>
                <a:gd name="T2" fmla="*/ 11 w 76"/>
                <a:gd name="T3" fmla="*/ 21 h 133"/>
                <a:gd name="T4" fmla="*/ 11 w 76"/>
                <a:gd name="T5" fmla="*/ 24 h 133"/>
                <a:gd name="T6" fmla="*/ 12 w 76"/>
                <a:gd name="T7" fmla="*/ 28 h 133"/>
                <a:gd name="T8" fmla="*/ 15 w 76"/>
                <a:gd name="T9" fmla="*/ 28 h 133"/>
                <a:gd name="T10" fmla="*/ 15 w 76"/>
                <a:gd name="T11" fmla="*/ 33 h 133"/>
                <a:gd name="T12" fmla="*/ 14 w 76"/>
                <a:gd name="T13" fmla="*/ 39 h 133"/>
                <a:gd name="T14" fmla="*/ 18 w 76"/>
                <a:gd name="T15" fmla="*/ 47 h 133"/>
                <a:gd name="T16" fmla="*/ 18 w 76"/>
                <a:gd name="T17" fmla="*/ 52 h 133"/>
                <a:gd name="T18" fmla="*/ 11 w 76"/>
                <a:gd name="T19" fmla="*/ 55 h 133"/>
                <a:gd name="T20" fmla="*/ 11 w 76"/>
                <a:gd name="T21" fmla="*/ 58 h 133"/>
                <a:gd name="T22" fmla="*/ 7 w 76"/>
                <a:gd name="T23" fmla="*/ 63 h 133"/>
                <a:gd name="T24" fmla="*/ 6 w 76"/>
                <a:gd name="T25" fmla="*/ 68 h 133"/>
                <a:gd name="T26" fmla="*/ 6 w 76"/>
                <a:gd name="T27" fmla="*/ 71 h 133"/>
                <a:gd name="T28" fmla="*/ 4 w 76"/>
                <a:gd name="T29" fmla="*/ 74 h 133"/>
                <a:gd name="T30" fmla="*/ 3 w 76"/>
                <a:gd name="T31" fmla="*/ 79 h 133"/>
                <a:gd name="T32" fmla="*/ 1 w 76"/>
                <a:gd name="T33" fmla="*/ 79 h 133"/>
                <a:gd name="T34" fmla="*/ 4 w 76"/>
                <a:gd name="T35" fmla="*/ 80 h 133"/>
                <a:gd name="T36" fmla="*/ 4 w 76"/>
                <a:gd name="T37" fmla="*/ 85 h 133"/>
                <a:gd name="T38" fmla="*/ 6 w 76"/>
                <a:gd name="T39" fmla="*/ 90 h 133"/>
                <a:gd name="T40" fmla="*/ 6 w 76"/>
                <a:gd name="T41" fmla="*/ 93 h 133"/>
                <a:gd name="T42" fmla="*/ 4 w 76"/>
                <a:gd name="T43" fmla="*/ 97 h 133"/>
                <a:gd name="T44" fmla="*/ 6 w 76"/>
                <a:gd name="T45" fmla="*/ 100 h 133"/>
                <a:gd name="T46" fmla="*/ 7 w 76"/>
                <a:gd name="T47" fmla="*/ 105 h 133"/>
                <a:gd name="T48" fmla="*/ 9 w 76"/>
                <a:gd name="T49" fmla="*/ 107 h 133"/>
                <a:gd name="T50" fmla="*/ 14 w 76"/>
                <a:gd name="T51" fmla="*/ 116 h 133"/>
                <a:gd name="T52" fmla="*/ 22 w 76"/>
                <a:gd name="T53" fmla="*/ 124 h 133"/>
                <a:gd name="T54" fmla="*/ 31 w 76"/>
                <a:gd name="T55" fmla="*/ 125 h 133"/>
                <a:gd name="T56" fmla="*/ 36 w 76"/>
                <a:gd name="T57" fmla="*/ 130 h 133"/>
                <a:gd name="T58" fmla="*/ 42 w 76"/>
                <a:gd name="T59" fmla="*/ 132 h 133"/>
                <a:gd name="T60" fmla="*/ 44 w 76"/>
                <a:gd name="T61" fmla="*/ 133 h 133"/>
                <a:gd name="T62" fmla="*/ 44 w 76"/>
                <a:gd name="T63" fmla="*/ 96 h 133"/>
                <a:gd name="T64" fmla="*/ 76 w 76"/>
                <a:gd name="T65" fmla="*/ 77 h 133"/>
                <a:gd name="T66" fmla="*/ 75 w 76"/>
                <a:gd name="T67" fmla="*/ 68 h 133"/>
                <a:gd name="T68" fmla="*/ 72 w 76"/>
                <a:gd name="T69" fmla="*/ 58 h 133"/>
                <a:gd name="T70" fmla="*/ 70 w 76"/>
                <a:gd name="T71" fmla="*/ 53 h 133"/>
                <a:gd name="T72" fmla="*/ 72 w 76"/>
                <a:gd name="T73" fmla="*/ 49 h 133"/>
                <a:gd name="T74" fmla="*/ 69 w 76"/>
                <a:gd name="T75" fmla="*/ 44 h 133"/>
                <a:gd name="T76" fmla="*/ 65 w 76"/>
                <a:gd name="T77" fmla="*/ 38 h 133"/>
                <a:gd name="T78" fmla="*/ 64 w 76"/>
                <a:gd name="T79" fmla="*/ 32 h 133"/>
                <a:gd name="T80" fmla="*/ 62 w 76"/>
                <a:gd name="T81" fmla="*/ 16 h 133"/>
                <a:gd name="T82" fmla="*/ 59 w 76"/>
                <a:gd name="T83" fmla="*/ 8 h 133"/>
                <a:gd name="T84" fmla="*/ 53 w 76"/>
                <a:gd name="T85" fmla="*/ 5 h 133"/>
                <a:gd name="T86" fmla="*/ 45 w 76"/>
                <a:gd name="T87" fmla="*/ 2 h 133"/>
                <a:gd name="T88" fmla="*/ 40 w 76"/>
                <a:gd name="T89" fmla="*/ 3 h 133"/>
                <a:gd name="T90" fmla="*/ 33 w 76"/>
                <a:gd name="T91" fmla="*/ 6 h 133"/>
                <a:gd name="T92" fmla="*/ 31 w 76"/>
                <a:gd name="T93" fmla="*/ 2 h 133"/>
                <a:gd name="T94" fmla="*/ 28 w 76"/>
                <a:gd name="T95" fmla="*/ 0 h 133"/>
                <a:gd name="T96" fmla="*/ 26 w 76"/>
                <a:gd name="T97" fmla="*/ 2 h 133"/>
                <a:gd name="T98" fmla="*/ 22 w 76"/>
                <a:gd name="T99" fmla="*/ 2 h 133"/>
                <a:gd name="T100" fmla="*/ 22 w 76"/>
                <a:gd name="T101" fmla="*/ 5 h 133"/>
                <a:gd name="T102" fmla="*/ 20 w 76"/>
                <a:gd name="T103" fmla="*/ 8 h 133"/>
                <a:gd name="T104" fmla="*/ 15 w 76"/>
                <a:gd name="T105" fmla="*/ 10 h 133"/>
                <a:gd name="T106" fmla="*/ 7 w 76"/>
                <a:gd name="T107" fmla="*/ 1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6" h="133">
                  <a:moveTo>
                    <a:pt x="7" y="11"/>
                  </a:moveTo>
                  <a:lnTo>
                    <a:pt x="9" y="14"/>
                  </a:lnTo>
                  <a:lnTo>
                    <a:pt x="9" y="19"/>
                  </a:lnTo>
                  <a:lnTo>
                    <a:pt x="11" y="21"/>
                  </a:lnTo>
                  <a:lnTo>
                    <a:pt x="12" y="22"/>
                  </a:lnTo>
                  <a:lnTo>
                    <a:pt x="11" y="24"/>
                  </a:lnTo>
                  <a:lnTo>
                    <a:pt x="11" y="25"/>
                  </a:lnTo>
                  <a:lnTo>
                    <a:pt x="12" y="28"/>
                  </a:lnTo>
                  <a:lnTo>
                    <a:pt x="14" y="25"/>
                  </a:lnTo>
                  <a:lnTo>
                    <a:pt x="15" y="28"/>
                  </a:lnTo>
                  <a:lnTo>
                    <a:pt x="15" y="32"/>
                  </a:lnTo>
                  <a:lnTo>
                    <a:pt x="15" y="33"/>
                  </a:lnTo>
                  <a:lnTo>
                    <a:pt x="15" y="36"/>
                  </a:lnTo>
                  <a:lnTo>
                    <a:pt x="14" y="39"/>
                  </a:lnTo>
                  <a:lnTo>
                    <a:pt x="15" y="44"/>
                  </a:lnTo>
                  <a:lnTo>
                    <a:pt x="18" y="47"/>
                  </a:lnTo>
                  <a:lnTo>
                    <a:pt x="17" y="50"/>
                  </a:lnTo>
                  <a:lnTo>
                    <a:pt x="18" y="52"/>
                  </a:lnTo>
                  <a:lnTo>
                    <a:pt x="15" y="53"/>
                  </a:lnTo>
                  <a:lnTo>
                    <a:pt x="11" y="55"/>
                  </a:lnTo>
                  <a:lnTo>
                    <a:pt x="11" y="57"/>
                  </a:lnTo>
                  <a:lnTo>
                    <a:pt x="11" y="58"/>
                  </a:lnTo>
                  <a:lnTo>
                    <a:pt x="9" y="60"/>
                  </a:lnTo>
                  <a:lnTo>
                    <a:pt x="7" y="63"/>
                  </a:lnTo>
                  <a:lnTo>
                    <a:pt x="7" y="64"/>
                  </a:lnTo>
                  <a:lnTo>
                    <a:pt x="6" y="68"/>
                  </a:lnTo>
                  <a:lnTo>
                    <a:pt x="6" y="69"/>
                  </a:lnTo>
                  <a:lnTo>
                    <a:pt x="6" y="71"/>
                  </a:lnTo>
                  <a:lnTo>
                    <a:pt x="4" y="72"/>
                  </a:lnTo>
                  <a:lnTo>
                    <a:pt x="4" y="74"/>
                  </a:lnTo>
                  <a:lnTo>
                    <a:pt x="4" y="77"/>
                  </a:lnTo>
                  <a:lnTo>
                    <a:pt x="3" y="79"/>
                  </a:lnTo>
                  <a:lnTo>
                    <a:pt x="0" y="79"/>
                  </a:lnTo>
                  <a:lnTo>
                    <a:pt x="1" y="79"/>
                  </a:lnTo>
                  <a:lnTo>
                    <a:pt x="3" y="80"/>
                  </a:lnTo>
                  <a:lnTo>
                    <a:pt x="4" y="80"/>
                  </a:lnTo>
                  <a:lnTo>
                    <a:pt x="4" y="83"/>
                  </a:lnTo>
                  <a:lnTo>
                    <a:pt x="4" y="85"/>
                  </a:lnTo>
                  <a:lnTo>
                    <a:pt x="6" y="88"/>
                  </a:lnTo>
                  <a:lnTo>
                    <a:pt x="6" y="90"/>
                  </a:lnTo>
                  <a:lnTo>
                    <a:pt x="6" y="91"/>
                  </a:lnTo>
                  <a:lnTo>
                    <a:pt x="6" y="93"/>
                  </a:lnTo>
                  <a:lnTo>
                    <a:pt x="6" y="94"/>
                  </a:lnTo>
                  <a:lnTo>
                    <a:pt x="4" y="97"/>
                  </a:lnTo>
                  <a:lnTo>
                    <a:pt x="4" y="99"/>
                  </a:lnTo>
                  <a:lnTo>
                    <a:pt x="6" y="100"/>
                  </a:lnTo>
                  <a:lnTo>
                    <a:pt x="6" y="104"/>
                  </a:lnTo>
                  <a:lnTo>
                    <a:pt x="7" y="105"/>
                  </a:lnTo>
                  <a:lnTo>
                    <a:pt x="7" y="107"/>
                  </a:lnTo>
                  <a:lnTo>
                    <a:pt x="9" y="107"/>
                  </a:lnTo>
                  <a:lnTo>
                    <a:pt x="9" y="111"/>
                  </a:lnTo>
                  <a:lnTo>
                    <a:pt x="14" y="116"/>
                  </a:lnTo>
                  <a:lnTo>
                    <a:pt x="17" y="118"/>
                  </a:lnTo>
                  <a:lnTo>
                    <a:pt x="22" y="124"/>
                  </a:lnTo>
                  <a:lnTo>
                    <a:pt x="25" y="125"/>
                  </a:lnTo>
                  <a:lnTo>
                    <a:pt x="31" y="125"/>
                  </a:lnTo>
                  <a:lnTo>
                    <a:pt x="31" y="129"/>
                  </a:lnTo>
                  <a:lnTo>
                    <a:pt x="36" y="130"/>
                  </a:lnTo>
                  <a:lnTo>
                    <a:pt x="37" y="132"/>
                  </a:lnTo>
                  <a:lnTo>
                    <a:pt x="42" y="132"/>
                  </a:lnTo>
                  <a:lnTo>
                    <a:pt x="42" y="133"/>
                  </a:lnTo>
                  <a:lnTo>
                    <a:pt x="44" y="133"/>
                  </a:lnTo>
                  <a:lnTo>
                    <a:pt x="44" y="100"/>
                  </a:lnTo>
                  <a:lnTo>
                    <a:pt x="44" y="96"/>
                  </a:lnTo>
                  <a:lnTo>
                    <a:pt x="73" y="96"/>
                  </a:lnTo>
                  <a:lnTo>
                    <a:pt x="76" y="77"/>
                  </a:lnTo>
                  <a:lnTo>
                    <a:pt x="76" y="75"/>
                  </a:lnTo>
                  <a:lnTo>
                    <a:pt x="75" y="68"/>
                  </a:lnTo>
                  <a:lnTo>
                    <a:pt x="72" y="61"/>
                  </a:lnTo>
                  <a:lnTo>
                    <a:pt x="72" y="58"/>
                  </a:lnTo>
                  <a:lnTo>
                    <a:pt x="70" y="57"/>
                  </a:lnTo>
                  <a:lnTo>
                    <a:pt x="70" y="53"/>
                  </a:lnTo>
                  <a:lnTo>
                    <a:pt x="72" y="52"/>
                  </a:lnTo>
                  <a:lnTo>
                    <a:pt x="72" y="49"/>
                  </a:lnTo>
                  <a:lnTo>
                    <a:pt x="70" y="47"/>
                  </a:lnTo>
                  <a:lnTo>
                    <a:pt x="69" y="44"/>
                  </a:lnTo>
                  <a:lnTo>
                    <a:pt x="65" y="39"/>
                  </a:lnTo>
                  <a:lnTo>
                    <a:pt x="65" y="38"/>
                  </a:lnTo>
                  <a:lnTo>
                    <a:pt x="64" y="35"/>
                  </a:lnTo>
                  <a:lnTo>
                    <a:pt x="64" y="32"/>
                  </a:lnTo>
                  <a:lnTo>
                    <a:pt x="62" y="30"/>
                  </a:lnTo>
                  <a:lnTo>
                    <a:pt x="62" y="16"/>
                  </a:lnTo>
                  <a:lnTo>
                    <a:pt x="61" y="8"/>
                  </a:lnTo>
                  <a:lnTo>
                    <a:pt x="59" y="8"/>
                  </a:lnTo>
                  <a:lnTo>
                    <a:pt x="58" y="5"/>
                  </a:lnTo>
                  <a:lnTo>
                    <a:pt x="53" y="5"/>
                  </a:lnTo>
                  <a:lnTo>
                    <a:pt x="50" y="0"/>
                  </a:lnTo>
                  <a:lnTo>
                    <a:pt x="45" y="2"/>
                  </a:lnTo>
                  <a:lnTo>
                    <a:pt x="42" y="2"/>
                  </a:lnTo>
                  <a:lnTo>
                    <a:pt x="40" y="3"/>
                  </a:lnTo>
                  <a:lnTo>
                    <a:pt x="37" y="6"/>
                  </a:lnTo>
                  <a:lnTo>
                    <a:pt x="33" y="6"/>
                  </a:lnTo>
                  <a:lnTo>
                    <a:pt x="33" y="2"/>
                  </a:lnTo>
                  <a:lnTo>
                    <a:pt x="31" y="2"/>
                  </a:lnTo>
                  <a:lnTo>
                    <a:pt x="29" y="2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6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5"/>
                  </a:lnTo>
                  <a:lnTo>
                    <a:pt x="20" y="6"/>
                  </a:lnTo>
                  <a:lnTo>
                    <a:pt x="20" y="8"/>
                  </a:lnTo>
                  <a:lnTo>
                    <a:pt x="18" y="8"/>
                  </a:lnTo>
                  <a:lnTo>
                    <a:pt x="15" y="10"/>
                  </a:lnTo>
                  <a:lnTo>
                    <a:pt x="11" y="10"/>
                  </a:lnTo>
                  <a:lnTo>
                    <a:pt x="7" y="11"/>
                  </a:lnTo>
                </a:path>
              </a:pathLst>
            </a:custGeom>
            <a:solidFill>
              <a:schemeClr val="bg2">
                <a:lumMod val="10000"/>
                <a:lumOff val="90000"/>
              </a:schemeClr>
            </a:solidFill>
            <a:ln w="0">
              <a:solidFill>
                <a:srgbClr val="25221E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algn="ctr" eaLnBrk="0" hangingPunct="0">
                <a:defRPr/>
              </a:pPr>
              <a:endParaRPr lang="es-AR" sz="1200" b="1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36" name="Freeform 10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152002" y="2689081"/>
              <a:ext cx="349368" cy="703629"/>
            </a:xfrm>
            <a:custGeom>
              <a:avLst/>
              <a:gdLst>
                <a:gd name="T0" fmla="*/ 0 w 47"/>
                <a:gd name="T1" fmla="*/ 0 h 99"/>
                <a:gd name="T2" fmla="*/ 2 w 47"/>
                <a:gd name="T3" fmla="*/ 5 h 99"/>
                <a:gd name="T4" fmla="*/ 3 w 47"/>
                <a:gd name="T5" fmla="*/ 9 h 99"/>
                <a:gd name="T6" fmla="*/ 5 w 47"/>
                <a:gd name="T7" fmla="*/ 9 h 99"/>
                <a:gd name="T8" fmla="*/ 2 w 47"/>
                <a:gd name="T9" fmla="*/ 11 h 99"/>
                <a:gd name="T10" fmla="*/ 3 w 47"/>
                <a:gd name="T11" fmla="*/ 19 h 99"/>
                <a:gd name="T12" fmla="*/ 3 w 47"/>
                <a:gd name="T13" fmla="*/ 33 h 99"/>
                <a:gd name="T14" fmla="*/ 5 w 47"/>
                <a:gd name="T15" fmla="*/ 35 h 99"/>
                <a:gd name="T16" fmla="*/ 5 w 47"/>
                <a:gd name="T17" fmla="*/ 38 h 99"/>
                <a:gd name="T18" fmla="*/ 6 w 47"/>
                <a:gd name="T19" fmla="*/ 41 h 99"/>
                <a:gd name="T20" fmla="*/ 6 w 47"/>
                <a:gd name="T21" fmla="*/ 42 h 99"/>
                <a:gd name="T22" fmla="*/ 10 w 47"/>
                <a:gd name="T23" fmla="*/ 47 h 99"/>
                <a:gd name="T24" fmla="*/ 11 w 47"/>
                <a:gd name="T25" fmla="*/ 50 h 99"/>
                <a:gd name="T26" fmla="*/ 13 w 47"/>
                <a:gd name="T27" fmla="*/ 52 h 99"/>
                <a:gd name="T28" fmla="*/ 13 w 47"/>
                <a:gd name="T29" fmla="*/ 55 h 99"/>
                <a:gd name="T30" fmla="*/ 11 w 47"/>
                <a:gd name="T31" fmla="*/ 56 h 99"/>
                <a:gd name="T32" fmla="*/ 11 w 47"/>
                <a:gd name="T33" fmla="*/ 60 h 99"/>
                <a:gd name="T34" fmla="*/ 13 w 47"/>
                <a:gd name="T35" fmla="*/ 61 h 99"/>
                <a:gd name="T36" fmla="*/ 13 w 47"/>
                <a:gd name="T37" fmla="*/ 64 h 99"/>
                <a:gd name="T38" fmla="*/ 16 w 47"/>
                <a:gd name="T39" fmla="*/ 71 h 99"/>
                <a:gd name="T40" fmla="*/ 17 w 47"/>
                <a:gd name="T41" fmla="*/ 78 h 99"/>
                <a:gd name="T42" fmla="*/ 17 w 47"/>
                <a:gd name="T43" fmla="*/ 80 h 99"/>
                <a:gd name="T44" fmla="*/ 14 w 47"/>
                <a:gd name="T45" fmla="*/ 99 h 99"/>
                <a:gd name="T46" fmla="*/ 42 w 47"/>
                <a:gd name="T47" fmla="*/ 99 h 99"/>
                <a:gd name="T48" fmla="*/ 42 w 47"/>
                <a:gd name="T49" fmla="*/ 75 h 99"/>
                <a:gd name="T50" fmla="*/ 42 w 47"/>
                <a:gd name="T51" fmla="*/ 33 h 99"/>
                <a:gd name="T52" fmla="*/ 44 w 47"/>
                <a:gd name="T53" fmla="*/ 31 h 99"/>
                <a:gd name="T54" fmla="*/ 46 w 47"/>
                <a:gd name="T55" fmla="*/ 28 h 99"/>
                <a:gd name="T56" fmla="*/ 47 w 47"/>
                <a:gd name="T57" fmla="*/ 17 h 99"/>
                <a:gd name="T58" fmla="*/ 46 w 47"/>
                <a:gd name="T59" fmla="*/ 13 h 99"/>
                <a:gd name="T60" fmla="*/ 47 w 47"/>
                <a:gd name="T61" fmla="*/ 11 h 99"/>
                <a:gd name="T62" fmla="*/ 41 w 47"/>
                <a:gd name="T63" fmla="*/ 11 h 99"/>
                <a:gd name="T64" fmla="*/ 41 w 47"/>
                <a:gd name="T65" fmla="*/ 5 h 99"/>
                <a:gd name="T66" fmla="*/ 30 w 47"/>
                <a:gd name="T67" fmla="*/ 0 h 99"/>
                <a:gd name="T68" fmla="*/ 30 w 47"/>
                <a:gd name="T69" fmla="*/ 2 h 99"/>
                <a:gd name="T70" fmla="*/ 27 w 47"/>
                <a:gd name="T71" fmla="*/ 2 h 99"/>
                <a:gd name="T72" fmla="*/ 25 w 47"/>
                <a:gd name="T73" fmla="*/ 2 h 99"/>
                <a:gd name="T74" fmla="*/ 22 w 47"/>
                <a:gd name="T75" fmla="*/ 2 h 99"/>
                <a:gd name="T76" fmla="*/ 20 w 47"/>
                <a:gd name="T77" fmla="*/ 2 h 99"/>
                <a:gd name="T78" fmla="*/ 20 w 47"/>
                <a:gd name="T79" fmla="*/ 3 h 99"/>
                <a:gd name="T80" fmla="*/ 13 w 47"/>
                <a:gd name="T81" fmla="*/ 0 h 99"/>
                <a:gd name="T82" fmla="*/ 2 w 47"/>
                <a:gd name="T83" fmla="*/ 0 h 99"/>
                <a:gd name="T84" fmla="*/ 0 w 47"/>
                <a:gd name="T85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7" h="99">
                  <a:moveTo>
                    <a:pt x="0" y="0"/>
                  </a:moveTo>
                  <a:lnTo>
                    <a:pt x="2" y="5"/>
                  </a:lnTo>
                  <a:lnTo>
                    <a:pt x="3" y="9"/>
                  </a:lnTo>
                  <a:lnTo>
                    <a:pt x="5" y="9"/>
                  </a:lnTo>
                  <a:lnTo>
                    <a:pt x="2" y="11"/>
                  </a:lnTo>
                  <a:lnTo>
                    <a:pt x="3" y="19"/>
                  </a:lnTo>
                  <a:lnTo>
                    <a:pt x="3" y="33"/>
                  </a:lnTo>
                  <a:lnTo>
                    <a:pt x="5" y="35"/>
                  </a:lnTo>
                  <a:lnTo>
                    <a:pt x="5" y="38"/>
                  </a:lnTo>
                  <a:lnTo>
                    <a:pt x="6" y="41"/>
                  </a:lnTo>
                  <a:lnTo>
                    <a:pt x="6" y="42"/>
                  </a:lnTo>
                  <a:lnTo>
                    <a:pt x="10" y="47"/>
                  </a:lnTo>
                  <a:lnTo>
                    <a:pt x="11" y="50"/>
                  </a:lnTo>
                  <a:lnTo>
                    <a:pt x="13" y="52"/>
                  </a:lnTo>
                  <a:lnTo>
                    <a:pt x="13" y="55"/>
                  </a:lnTo>
                  <a:lnTo>
                    <a:pt x="11" y="56"/>
                  </a:lnTo>
                  <a:lnTo>
                    <a:pt x="11" y="60"/>
                  </a:lnTo>
                  <a:lnTo>
                    <a:pt x="13" y="61"/>
                  </a:lnTo>
                  <a:lnTo>
                    <a:pt x="13" y="64"/>
                  </a:lnTo>
                  <a:lnTo>
                    <a:pt x="16" y="71"/>
                  </a:lnTo>
                  <a:lnTo>
                    <a:pt x="17" y="78"/>
                  </a:lnTo>
                  <a:lnTo>
                    <a:pt x="17" y="80"/>
                  </a:lnTo>
                  <a:lnTo>
                    <a:pt x="14" y="99"/>
                  </a:lnTo>
                  <a:lnTo>
                    <a:pt x="42" y="99"/>
                  </a:lnTo>
                  <a:lnTo>
                    <a:pt x="42" y="75"/>
                  </a:lnTo>
                  <a:lnTo>
                    <a:pt x="42" y="33"/>
                  </a:lnTo>
                  <a:lnTo>
                    <a:pt x="44" y="31"/>
                  </a:lnTo>
                  <a:lnTo>
                    <a:pt x="46" y="28"/>
                  </a:lnTo>
                  <a:lnTo>
                    <a:pt x="47" y="17"/>
                  </a:lnTo>
                  <a:lnTo>
                    <a:pt x="46" y="13"/>
                  </a:lnTo>
                  <a:lnTo>
                    <a:pt x="47" y="11"/>
                  </a:lnTo>
                  <a:lnTo>
                    <a:pt x="41" y="11"/>
                  </a:lnTo>
                  <a:lnTo>
                    <a:pt x="41" y="5"/>
                  </a:lnTo>
                  <a:lnTo>
                    <a:pt x="30" y="0"/>
                  </a:lnTo>
                  <a:lnTo>
                    <a:pt x="30" y="2"/>
                  </a:lnTo>
                  <a:lnTo>
                    <a:pt x="27" y="2"/>
                  </a:lnTo>
                  <a:lnTo>
                    <a:pt x="25" y="2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20" y="3"/>
                  </a:lnTo>
                  <a:lnTo>
                    <a:pt x="13" y="0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solidFill>
              <a:schemeClr val="bg2">
                <a:lumMod val="10000"/>
                <a:lumOff val="90000"/>
              </a:schemeClr>
            </a:solidFill>
            <a:ln w="0">
              <a:solidFill>
                <a:srgbClr val="25221E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algn="ctr" eaLnBrk="0" hangingPunct="0">
                <a:defRPr/>
              </a:pPr>
              <a:endParaRPr lang="es-AR" sz="1200" b="1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37" name="Freeform 11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040693" y="3221377"/>
              <a:ext cx="667908" cy="736897"/>
            </a:xfrm>
            <a:custGeom>
              <a:avLst/>
              <a:gdLst>
                <a:gd name="T0" fmla="*/ 29 w 90"/>
                <a:gd name="T1" fmla="*/ 24 h 104"/>
                <a:gd name="T2" fmla="*/ 57 w 90"/>
                <a:gd name="T3" fmla="*/ 24 h 104"/>
                <a:gd name="T4" fmla="*/ 57 w 90"/>
                <a:gd name="T5" fmla="*/ 0 h 104"/>
                <a:gd name="T6" fmla="*/ 90 w 90"/>
                <a:gd name="T7" fmla="*/ 0 h 104"/>
                <a:gd name="T8" fmla="*/ 90 w 90"/>
                <a:gd name="T9" fmla="*/ 104 h 104"/>
                <a:gd name="T10" fmla="*/ 87 w 90"/>
                <a:gd name="T11" fmla="*/ 101 h 104"/>
                <a:gd name="T12" fmla="*/ 84 w 90"/>
                <a:gd name="T13" fmla="*/ 99 h 104"/>
                <a:gd name="T14" fmla="*/ 81 w 90"/>
                <a:gd name="T15" fmla="*/ 97 h 104"/>
                <a:gd name="T16" fmla="*/ 78 w 90"/>
                <a:gd name="T17" fmla="*/ 96 h 104"/>
                <a:gd name="T18" fmla="*/ 76 w 90"/>
                <a:gd name="T19" fmla="*/ 94 h 104"/>
                <a:gd name="T20" fmla="*/ 72 w 90"/>
                <a:gd name="T21" fmla="*/ 93 h 104"/>
                <a:gd name="T22" fmla="*/ 68 w 90"/>
                <a:gd name="T23" fmla="*/ 93 h 104"/>
                <a:gd name="T24" fmla="*/ 65 w 90"/>
                <a:gd name="T25" fmla="*/ 91 h 104"/>
                <a:gd name="T26" fmla="*/ 64 w 90"/>
                <a:gd name="T27" fmla="*/ 91 h 104"/>
                <a:gd name="T28" fmla="*/ 62 w 90"/>
                <a:gd name="T29" fmla="*/ 91 h 104"/>
                <a:gd name="T30" fmla="*/ 61 w 90"/>
                <a:gd name="T31" fmla="*/ 91 h 104"/>
                <a:gd name="T32" fmla="*/ 57 w 90"/>
                <a:gd name="T33" fmla="*/ 91 h 104"/>
                <a:gd name="T34" fmla="*/ 54 w 90"/>
                <a:gd name="T35" fmla="*/ 90 h 104"/>
                <a:gd name="T36" fmla="*/ 51 w 90"/>
                <a:gd name="T37" fmla="*/ 88 h 104"/>
                <a:gd name="T38" fmla="*/ 48 w 90"/>
                <a:gd name="T39" fmla="*/ 93 h 104"/>
                <a:gd name="T40" fmla="*/ 43 w 90"/>
                <a:gd name="T41" fmla="*/ 91 h 104"/>
                <a:gd name="T42" fmla="*/ 32 w 90"/>
                <a:gd name="T43" fmla="*/ 90 h 104"/>
                <a:gd name="T44" fmla="*/ 32 w 90"/>
                <a:gd name="T45" fmla="*/ 86 h 104"/>
                <a:gd name="T46" fmla="*/ 23 w 90"/>
                <a:gd name="T47" fmla="*/ 82 h 104"/>
                <a:gd name="T48" fmla="*/ 18 w 90"/>
                <a:gd name="T49" fmla="*/ 77 h 104"/>
                <a:gd name="T50" fmla="*/ 11 w 90"/>
                <a:gd name="T51" fmla="*/ 79 h 104"/>
                <a:gd name="T52" fmla="*/ 7 w 90"/>
                <a:gd name="T53" fmla="*/ 74 h 104"/>
                <a:gd name="T54" fmla="*/ 6 w 90"/>
                <a:gd name="T55" fmla="*/ 74 h 104"/>
                <a:gd name="T56" fmla="*/ 6 w 90"/>
                <a:gd name="T57" fmla="*/ 71 h 104"/>
                <a:gd name="T58" fmla="*/ 9 w 90"/>
                <a:gd name="T59" fmla="*/ 68 h 104"/>
                <a:gd name="T60" fmla="*/ 7 w 90"/>
                <a:gd name="T61" fmla="*/ 63 h 104"/>
                <a:gd name="T62" fmla="*/ 6 w 90"/>
                <a:gd name="T63" fmla="*/ 61 h 104"/>
                <a:gd name="T64" fmla="*/ 0 w 90"/>
                <a:gd name="T65" fmla="*/ 61 h 104"/>
                <a:gd name="T66" fmla="*/ 0 w 90"/>
                <a:gd name="T67" fmla="*/ 28 h 104"/>
                <a:gd name="T68" fmla="*/ 0 w 90"/>
                <a:gd name="T69" fmla="*/ 24 h 104"/>
                <a:gd name="T70" fmla="*/ 29 w 90"/>
                <a:gd name="T71" fmla="*/ 2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104">
                  <a:moveTo>
                    <a:pt x="29" y="24"/>
                  </a:moveTo>
                  <a:lnTo>
                    <a:pt x="57" y="24"/>
                  </a:lnTo>
                  <a:lnTo>
                    <a:pt x="57" y="0"/>
                  </a:lnTo>
                  <a:lnTo>
                    <a:pt x="90" y="0"/>
                  </a:lnTo>
                  <a:lnTo>
                    <a:pt x="90" y="104"/>
                  </a:lnTo>
                  <a:lnTo>
                    <a:pt x="87" y="101"/>
                  </a:lnTo>
                  <a:lnTo>
                    <a:pt x="84" y="99"/>
                  </a:lnTo>
                  <a:lnTo>
                    <a:pt x="81" y="97"/>
                  </a:lnTo>
                  <a:lnTo>
                    <a:pt x="78" y="96"/>
                  </a:lnTo>
                  <a:lnTo>
                    <a:pt x="76" y="94"/>
                  </a:lnTo>
                  <a:lnTo>
                    <a:pt x="72" y="93"/>
                  </a:lnTo>
                  <a:lnTo>
                    <a:pt x="68" y="93"/>
                  </a:lnTo>
                  <a:lnTo>
                    <a:pt x="65" y="91"/>
                  </a:lnTo>
                  <a:lnTo>
                    <a:pt x="64" y="91"/>
                  </a:lnTo>
                  <a:lnTo>
                    <a:pt x="62" y="91"/>
                  </a:lnTo>
                  <a:lnTo>
                    <a:pt x="61" y="91"/>
                  </a:lnTo>
                  <a:lnTo>
                    <a:pt x="57" y="91"/>
                  </a:lnTo>
                  <a:lnTo>
                    <a:pt x="54" y="90"/>
                  </a:lnTo>
                  <a:lnTo>
                    <a:pt x="51" y="88"/>
                  </a:lnTo>
                  <a:lnTo>
                    <a:pt x="48" y="93"/>
                  </a:lnTo>
                  <a:lnTo>
                    <a:pt x="43" y="91"/>
                  </a:lnTo>
                  <a:lnTo>
                    <a:pt x="32" y="90"/>
                  </a:lnTo>
                  <a:lnTo>
                    <a:pt x="32" y="86"/>
                  </a:lnTo>
                  <a:lnTo>
                    <a:pt x="23" y="82"/>
                  </a:lnTo>
                  <a:lnTo>
                    <a:pt x="18" y="77"/>
                  </a:lnTo>
                  <a:lnTo>
                    <a:pt x="11" y="79"/>
                  </a:lnTo>
                  <a:lnTo>
                    <a:pt x="7" y="74"/>
                  </a:lnTo>
                  <a:lnTo>
                    <a:pt x="6" y="74"/>
                  </a:lnTo>
                  <a:lnTo>
                    <a:pt x="6" y="71"/>
                  </a:lnTo>
                  <a:lnTo>
                    <a:pt x="9" y="68"/>
                  </a:lnTo>
                  <a:lnTo>
                    <a:pt x="7" y="63"/>
                  </a:lnTo>
                  <a:lnTo>
                    <a:pt x="6" y="61"/>
                  </a:lnTo>
                  <a:lnTo>
                    <a:pt x="0" y="61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29" y="24"/>
                  </a:lnTo>
                </a:path>
              </a:pathLst>
            </a:custGeom>
            <a:solidFill>
              <a:schemeClr val="bg2">
                <a:lumMod val="10000"/>
                <a:lumOff val="90000"/>
              </a:schemeClr>
            </a:solidFill>
            <a:ln w="0">
              <a:solidFill>
                <a:srgbClr val="25221E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algn="ctr" eaLnBrk="0" hangingPunct="0">
                <a:defRPr/>
              </a:pPr>
              <a:endParaRPr lang="es-AR" sz="1200" b="1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38" name="Freeform 12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28630" y="3397681"/>
              <a:ext cx="541177" cy="845020"/>
            </a:xfrm>
            <a:custGeom>
              <a:avLst/>
              <a:gdLst>
                <a:gd name="T0" fmla="*/ 11 w 73"/>
                <a:gd name="T1" fmla="*/ 36 h 119"/>
                <a:gd name="T2" fmla="*/ 12 w 73"/>
                <a:gd name="T3" fmla="*/ 28 h 119"/>
                <a:gd name="T4" fmla="*/ 15 w 73"/>
                <a:gd name="T5" fmla="*/ 21 h 119"/>
                <a:gd name="T6" fmla="*/ 12 w 73"/>
                <a:gd name="T7" fmla="*/ 16 h 119"/>
                <a:gd name="T8" fmla="*/ 14 w 73"/>
                <a:gd name="T9" fmla="*/ 13 h 119"/>
                <a:gd name="T10" fmla="*/ 17 w 73"/>
                <a:gd name="T11" fmla="*/ 8 h 119"/>
                <a:gd name="T12" fmla="*/ 20 w 73"/>
                <a:gd name="T13" fmla="*/ 5 h 119"/>
                <a:gd name="T14" fmla="*/ 29 w 73"/>
                <a:gd name="T15" fmla="*/ 0 h 119"/>
                <a:gd name="T16" fmla="*/ 31 w 73"/>
                <a:gd name="T17" fmla="*/ 7 h 119"/>
                <a:gd name="T18" fmla="*/ 34 w 73"/>
                <a:gd name="T19" fmla="*/ 10 h 119"/>
                <a:gd name="T20" fmla="*/ 42 w 73"/>
                <a:gd name="T21" fmla="*/ 21 h 119"/>
                <a:gd name="T22" fmla="*/ 56 w 73"/>
                <a:gd name="T23" fmla="*/ 28 h 119"/>
                <a:gd name="T24" fmla="*/ 62 w 73"/>
                <a:gd name="T25" fmla="*/ 35 h 119"/>
                <a:gd name="T26" fmla="*/ 69 w 73"/>
                <a:gd name="T27" fmla="*/ 36 h 119"/>
                <a:gd name="T28" fmla="*/ 73 w 73"/>
                <a:gd name="T29" fmla="*/ 69 h 119"/>
                <a:gd name="T30" fmla="*/ 53 w 73"/>
                <a:gd name="T31" fmla="*/ 83 h 119"/>
                <a:gd name="T32" fmla="*/ 39 w 73"/>
                <a:gd name="T33" fmla="*/ 93 h 119"/>
                <a:gd name="T34" fmla="*/ 39 w 73"/>
                <a:gd name="T35" fmla="*/ 98 h 119"/>
                <a:gd name="T36" fmla="*/ 31 w 73"/>
                <a:gd name="T37" fmla="*/ 107 h 119"/>
                <a:gd name="T38" fmla="*/ 18 w 73"/>
                <a:gd name="T39" fmla="*/ 109 h 119"/>
                <a:gd name="T40" fmla="*/ 17 w 73"/>
                <a:gd name="T41" fmla="*/ 116 h 119"/>
                <a:gd name="T42" fmla="*/ 6 w 73"/>
                <a:gd name="T43" fmla="*/ 119 h 119"/>
                <a:gd name="T44" fmla="*/ 0 w 73"/>
                <a:gd name="T45" fmla="*/ 115 h 119"/>
                <a:gd name="T46" fmla="*/ 1 w 73"/>
                <a:gd name="T47" fmla="*/ 110 h 119"/>
                <a:gd name="T48" fmla="*/ 1 w 73"/>
                <a:gd name="T49" fmla="*/ 105 h 119"/>
                <a:gd name="T50" fmla="*/ 4 w 73"/>
                <a:gd name="T51" fmla="*/ 104 h 119"/>
                <a:gd name="T52" fmla="*/ 1 w 73"/>
                <a:gd name="T53" fmla="*/ 102 h 119"/>
                <a:gd name="T54" fmla="*/ 3 w 73"/>
                <a:gd name="T55" fmla="*/ 98 h 119"/>
                <a:gd name="T56" fmla="*/ 3 w 73"/>
                <a:gd name="T57" fmla="*/ 94 h 119"/>
                <a:gd name="T58" fmla="*/ 6 w 73"/>
                <a:gd name="T59" fmla="*/ 93 h 119"/>
                <a:gd name="T60" fmla="*/ 3 w 73"/>
                <a:gd name="T61" fmla="*/ 90 h 119"/>
                <a:gd name="T62" fmla="*/ 1 w 73"/>
                <a:gd name="T63" fmla="*/ 87 h 119"/>
                <a:gd name="T64" fmla="*/ 4 w 73"/>
                <a:gd name="T65" fmla="*/ 87 h 119"/>
                <a:gd name="T66" fmla="*/ 6 w 73"/>
                <a:gd name="T67" fmla="*/ 83 h 119"/>
                <a:gd name="T68" fmla="*/ 7 w 73"/>
                <a:gd name="T69" fmla="*/ 79 h 119"/>
                <a:gd name="T70" fmla="*/ 7 w 73"/>
                <a:gd name="T71" fmla="*/ 74 h 119"/>
                <a:gd name="T72" fmla="*/ 6 w 73"/>
                <a:gd name="T73" fmla="*/ 69 h 119"/>
                <a:gd name="T74" fmla="*/ 9 w 73"/>
                <a:gd name="T75" fmla="*/ 66 h 119"/>
                <a:gd name="T76" fmla="*/ 14 w 73"/>
                <a:gd name="T77" fmla="*/ 65 h 119"/>
                <a:gd name="T78" fmla="*/ 17 w 73"/>
                <a:gd name="T79" fmla="*/ 61 h 119"/>
                <a:gd name="T80" fmla="*/ 14 w 73"/>
                <a:gd name="T81" fmla="*/ 58 h 119"/>
                <a:gd name="T82" fmla="*/ 12 w 73"/>
                <a:gd name="T83" fmla="*/ 54 h 119"/>
                <a:gd name="T84" fmla="*/ 12 w 73"/>
                <a:gd name="T85" fmla="*/ 47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3" h="119">
                  <a:moveTo>
                    <a:pt x="11" y="41"/>
                  </a:moveTo>
                  <a:lnTo>
                    <a:pt x="11" y="38"/>
                  </a:lnTo>
                  <a:lnTo>
                    <a:pt x="11" y="36"/>
                  </a:lnTo>
                  <a:lnTo>
                    <a:pt x="12" y="35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4" y="27"/>
                  </a:lnTo>
                  <a:lnTo>
                    <a:pt x="12" y="25"/>
                  </a:lnTo>
                  <a:lnTo>
                    <a:pt x="15" y="21"/>
                  </a:lnTo>
                  <a:lnTo>
                    <a:pt x="14" y="21"/>
                  </a:lnTo>
                  <a:lnTo>
                    <a:pt x="12" y="18"/>
                  </a:lnTo>
                  <a:lnTo>
                    <a:pt x="12" y="16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4" y="13"/>
                  </a:lnTo>
                  <a:lnTo>
                    <a:pt x="14" y="11"/>
                  </a:lnTo>
                  <a:lnTo>
                    <a:pt x="15" y="10"/>
                  </a:lnTo>
                  <a:lnTo>
                    <a:pt x="17" y="8"/>
                  </a:lnTo>
                  <a:lnTo>
                    <a:pt x="18" y="8"/>
                  </a:lnTo>
                  <a:lnTo>
                    <a:pt x="20" y="8"/>
                  </a:lnTo>
                  <a:lnTo>
                    <a:pt x="20" y="5"/>
                  </a:lnTo>
                  <a:lnTo>
                    <a:pt x="20" y="3"/>
                  </a:lnTo>
                  <a:lnTo>
                    <a:pt x="23" y="2"/>
                  </a:lnTo>
                  <a:lnTo>
                    <a:pt x="29" y="0"/>
                  </a:lnTo>
                  <a:lnTo>
                    <a:pt x="29" y="2"/>
                  </a:lnTo>
                  <a:lnTo>
                    <a:pt x="31" y="3"/>
                  </a:lnTo>
                  <a:lnTo>
                    <a:pt x="31" y="7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4" y="10"/>
                  </a:lnTo>
                  <a:lnTo>
                    <a:pt x="34" y="14"/>
                  </a:lnTo>
                  <a:lnTo>
                    <a:pt x="39" y="19"/>
                  </a:lnTo>
                  <a:lnTo>
                    <a:pt x="42" y="21"/>
                  </a:lnTo>
                  <a:lnTo>
                    <a:pt x="47" y="27"/>
                  </a:lnTo>
                  <a:lnTo>
                    <a:pt x="50" y="28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1" y="33"/>
                  </a:lnTo>
                  <a:lnTo>
                    <a:pt x="62" y="35"/>
                  </a:lnTo>
                  <a:lnTo>
                    <a:pt x="67" y="35"/>
                  </a:lnTo>
                  <a:lnTo>
                    <a:pt x="67" y="36"/>
                  </a:lnTo>
                  <a:lnTo>
                    <a:pt x="69" y="36"/>
                  </a:lnTo>
                  <a:lnTo>
                    <a:pt x="69" y="63"/>
                  </a:lnTo>
                  <a:lnTo>
                    <a:pt x="70" y="65"/>
                  </a:lnTo>
                  <a:lnTo>
                    <a:pt x="73" y="69"/>
                  </a:lnTo>
                  <a:lnTo>
                    <a:pt x="67" y="69"/>
                  </a:lnTo>
                  <a:lnTo>
                    <a:pt x="58" y="77"/>
                  </a:lnTo>
                  <a:lnTo>
                    <a:pt x="53" y="83"/>
                  </a:lnTo>
                  <a:lnTo>
                    <a:pt x="47" y="87"/>
                  </a:lnTo>
                  <a:lnTo>
                    <a:pt x="42" y="91"/>
                  </a:lnTo>
                  <a:lnTo>
                    <a:pt x="39" y="93"/>
                  </a:lnTo>
                  <a:lnTo>
                    <a:pt x="37" y="94"/>
                  </a:lnTo>
                  <a:lnTo>
                    <a:pt x="39" y="96"/>
                  </a:lnTo>
                  <a:lnTo>
                    <a:pt x="39" y="98"/>
                  </a:lnTo>
                  <a:lnTo>
                    <a:pt x="39" y="101"/>
                  </a:lnTo>
                  <a:lnTo>
                    <a:pt x="32" y="105"/>
                  </a:lnTo>
                  <a:lnTo>
                    <a:pt x="31" y="107"/>
                  </a:lnTo>
                  <a:lnTo>
                    <a:pt x="26" y="107"/>
                  </a:lnTo>
                  <a:lnTo>
                    <a:pt x="22" y="107"/>
                  </a:lnTo>
                  <a:lnTo>
                    <a:pt x="18" y="109"/>
                  </a:lnTo>
                  <a:lnTo>
                    <a:pt x="17" y="110"/>
                  </a:lnTo>
                  <a:lnTo>
                    <a:pt x="15" y="113"/>
                  </a:lnTo>
                  <a:lnTo>
                    <a:pt x="17" y="116"/>
                  </a:lnTo>
                  <a:lnTo>
                    <a:pt x="15" y="119"/>
                  </a:lnTo>
                  <a:lnTo>
                    <a:pt x="12" y="119"/>
                  </a:lnTo>
                  <a:lnTo>
                    <a:pt x="6" y="119"/>
                  </a:lnTo>
                  <a:lnTo>
                    <a:pt x="1" y="118"/>
                  </a:lnTo>
                  <a:lnTo>
                    <a:pt x="1" y="116"/>
                  </a:lnTo>
                  <a:lnTo>
                    <a:pt x="0" y="115"/>
                  </a:lnTo>
                  <a:lnTo>
                    <a:pt x="0" y="113"/>
                  </a:lnTo>
                  <a:lnTo>
                    <a:pt x="0" y="112"/>
                  </a:lnTo>
                  <a:lnTo>
                    <a:pt x="1" y="110"/>
                  </a:lnTo>
                  <a:lnTo>
                    <a:pt x="1" y="109"/>
                  </a:lnTo>
                  <a:lnTo>
                    <a:pt x="1" y="107"/>
                  </a:lnTo>
                  <a:lnTo>
                    <a:pt x="1" y="105"/>
                  </a:lnTo>
                  <a:lnTo>
                    <a:pt x="3" y="105"/>
                  </a:lnTo>
                  <a:lnTo>
                    <a:pt x="3" y="104"/>
                  </a:lnTo>
                  <a:lnTo>
                    <a:pt x="4" y="104"/>
                  </a:lnTo>
                  <a:lnTo>
                    <a:pt x="4" y="102"/>
                  </a:lnTo>
                  <a:lnTo>
                    <a:pt x="3" y="102"/>
                  </a:lnTo>
                  <a:lnTo>
                    <a:pt x="1" y="102"/>
                  </a:lnTo>
                  <a:lnTo>
                    <a:pt x="1" y="101"/>
                  </a:lnTo>
                  <a:lnTo>
                    <a:pt x="1" y="98"/>
                  </a:lnTo>
                  <a:lnTo>
                    <a:pt x="3" y="98"/>
                  </a:lnTo>
                  <a:lnTo>
                    <a:pt x="4" y="98"/>
                  </a:lnTo>
                  <a:lnTo>
                    <a:pt x="4" y="96"/>
                  </a:lnTo>
                  <a:lnTo>
                    <a:pt x="3" y="94"/>
                  </a:lnTo>
                  <a:lnTo>
                    <a:pt x="4" y="94"/>
                  </a:lnTo>
                  <a:lnTo>
                    <a:pt x="4" y="93"/>
                  </a:lnTo>
                  <a:lnTo>
                    <a:pt x="6" y="93"/>
                  </a:lnTo>
                  <a:lnTo>
                    <a:pt x="4" y="93"/>
                  </a:lnTo>
                  <a:lnTo>
                    <a:pt x="3" y="91"/>
                  </a:lnTo>
                  <a:lnTo>
                    <a:pt x="3" y="90"/>
                  </a:lnTo>
                  <a:lnTo>
                    <a:pt x="1" y="88"/>
                  </a:lnTo>
                  <a:lnTo>
                    <a:pt x="3" y="88"/>
                  </a:lnTo>
                  <a:lnTo>
                    <a:pt x="1" y="87"/>
                  </a:lnTo>
                  <a:lnTo>
                    <a:pt x="3" y="85"/>
                  </a:lnTo>
                  <a:lnTo>
                    <a:pt x="4" y="85"/>
                  </a:lnTo>
                  <a:lnTo>
                    <a:pt x="4" y="87"/>
                  </a:lnTo>
                  <a:lnTo>
                    <a:pt x="6" y="87"/>
                  </a:lnTo>
                  <a:lnTo>
                    <a:pt x="7" y="87"/>
                  </a:lnTo>
                  <a:lnTo>
                    <a:pt x="6" y="83"/>
                  </a:lnTo>
                  <a:lnTo>
                    <a:pt x="6" y="82"/>
                  </a:lnTo>
                  <a:lnTo>
                    <a:pt x="6" y="80"/>
                  </a:lnTo>
                  <a:lnTo>
                    <a:pt x="7" y="79"/>
                  </a:lnTo>
                  <a:lnTo>
                    <a:pt x="7" y="77"/>
                  </a:lnTo>
                  <a:lnTo>
                    <a:pt x="7" y="76"/>
                  </a:lnTo>
                  <a:lnTo>
                    <a:pt x="7" y="74"/>
                  </a:lnTo>
                  <a:lnTo>
                    <a:pt x="6" y="72"/>
                  </a:lnTo>
                  <a:lnTo>
                    <a:pt x="6" y="71"/>
                  </a:lnTo>
                  <a:lnTo>
                    <a:pt x="6" y="69"/>
                  </a:lnTo>
                  <a:lnTo>
                    <a:pt x="6" y="68"/>
                  </a:lnTo>
                  <a:lnTo>
                    <a:pt x="7" y="68"/>
                  </a:lnTo>
                  <a:lnTo>
                    <a:pt x="9" y="66"/>
                  </a:lnTo>
                  <a:lnTo>
                    <a:pt x="11" y="65"/>
                  </a:lnTo>
                  <a:lnTo>
                    <a:pt x="12" y="65"/>
                  </a:lnTo>
                  <a:lnTo>
                    <a:pt x="14" y="65"/>
                  </a:lnTo>
                  <a:lnTo>
                    <a:pt x="15" y="65"/>
                  </a:lnTo>
                  <a:lnTo>
                    <a:pt x="17" y="65"/>
                  </a:lnTo>
                  <a:lnTo>
                    <a:pt x="17" y="61"/>
                  </a:lnTo>
                  <a:lnTo>
                    <a:pt x="17" y="60"/>
                  </a:lnTo>
                  <a:lnTo>
                    <a:pt x="15" y="58"/>
                  </a:lnTo>
                  <a:lnTo>
                    <a:pt x="14" y="58"/>
                  </a:lnTo>
                  <a:lnTo>
                    <a:pt x="14" y="57"/>
                  </a:lnTo>
                  <a:lnTo>
                    <a:pt x="12" y="55"/>
                  </a:lnTo>
                  <a:lnTo>
                    <a:pt x="12" y="54"/>
                  </a:lnTo>
                  <a:lnTo>
                    <a:pt x="12" y="52"/>
                  </a:lnTo>
                  <a:lnTo>
                    <a:pt x="12" y="49"/>
                  </a:lnTo>
                  <a:lnTo>
                    <a:pt x="12" y="47"/>
                  </a:lnTo>
                  <a:lnTo>
                    <a:pt x="11" y="46"/>
                  </a:lnTo>
                  <a:lnTo>
                    <a:pt x="11" y="41"/>
                  </a:lnTo>
                </a:path>
              </a:pathLst>
            </a:custGeom>
            <a:solidFill>
              <a:schemeClr val="bg2">
                <a:lumMod val="10000"/>
                <a:lumOff val="90000"/>
              </a:schemeClr>
            </a:solidFill>
            <a:ln w="0">
              <a:solidFill>
                <a:srgbClr val="25221E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algn="ctr" eaLnBrk="0" hangingPunct="0">
                <a:defRPr/>
              </a:pPr>
              <a:endParaRPr lang="es-AR" sz="1200" b="1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39" name="Freeform 13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35480" y="3653848"/>
              <a:ext cx="1255326" cy="745214"/>
            </a:xfrm>
            <a:custGeom>
              <a:avLst/>
              <a:gdLst>
                <a:gd name="T0" fmla="*/ 5 w 169"/>
                <a:gd name="T1" fmla="*/ 83 h 105"/>
                <a:gd name="T2" fmla="*/ 0 w 169"/>
                <a:gd name="T3" fmla="*/ 88 h 105"/>
                <a:gd name="T4" fmla="*/ 0 w 169"/>
                <a:gd name="T5" fmla="*/ 94 h 105"/>
                <a:gd name="T6" fmla="*/ 3 w 169"/>
                <a:gd name="T7" fmla="*/ 101 h 105"/>
                <a:gd name="T8" fmla="*/ 3 w 169"/>
                <a:gd name="T9" fmla="*/ 105 h 105"/>
                <a:gd name="T10" fmla="*/ 127 w 169"/>
                <a:gd name="T11" fmla="*/ 105 h 105"/>
                <a:gd name="T12" fmla="*/ 124 w 169"/>
                <a:gd name="T13" fmla="*/ 99 h 105"/>
                <a:gd name="T14" fmla="*/ 125 w 169"/>
                <a:gd name="T15" fmla="*/ 96 h 105"/>
                <a:gd name="T16" fmla="*/ 124 w 169"/>
                <a:gd name="T17" fmla="*/ 91 h 105"/>
                <a:gd name="T18" fmla="*/ 122 w 169"/>
                <a:gd name="T19" fmla="*/ 85 h 105"/>
                <a:gd name="T20" fmla="*/ 122 w 169"/>
                <a:gd name="T21" fmla="*/ 79 h 105"/>
                <a:gd name="T22" fmla="*/ 125 w 169"/>
                <a:gd name="T23" fmla="*/ 77 h 105"/>
                <a:gd name="T24" fmla="*/ 129 w 169"/>
                <a:gd name="T25" fmla="*/ 76 h 105"/>
                <a:gd name="T26" fmla="*/ 129 w 169"/>
                <a:gd name="T27" fmla="*/ 76 h 105"/>
                <a:gd name="T28" fmla="*/ 130 w 169"/>
                <a:gd name="T29" fmla="*/ 77 h 105"/>
                <a:gd name="T30" fmla="*/ 127 w 169"/>
                <a:gd name="T31" fmla="*/ 77 h 105"/>
                <a:gd name="T32" fmla="*/ 130 w 169"/>
                <a:gd name="T33" fmla="*/ 79 h 105"/>
                <a:gd name="T34" fmla="*/ 133 w 169"/>
                <a:gd name="T35" fmla="*/ 79 h 105"/>
                <a:gd name="T36" fmla="*/ 136 w 169"/>
                <a:gd name="T37" fmla="*/ 80 h 105"/>
                <a:gd name="T38" fmla="*/ 140 w 169"/>
                <a:gd name="T39" fmla="*/ 82 h 105"/>
                <a:gd name="T40" fmla="*/ 141 w 169"/>
                <a:gd name="T41" fmla="*/ 83 h 105"/>
                <a:gd name="T42" fmla="*/ 143 w 169"/>
                <a:gd name="T43" fmla="*/ 83 h 105"/>
                <a:gd name="T44" fmla="*/ 146 w 169"/>
                <a:gd name="T45" fmla="*/ 85 h 105"/>
                <a:gd name="T46" fmla="*/ 147 w 169"/>
                <a:gd name="T47" fmla="*/ 87 h 105"/>
                <a:gd name="T48" fmla="*/ 158 w 169"/>
                <a:gd name="T49" fmla="*/ 88 h 105"/>
                <a:gd name="T50" fmla="*/ 164 w 169"/>
                <a:gd name="T51" fmla="*/ 88 h 105"/>
                <a:gd name="T52" fmla="*/ 169 w 169"/>
                <a:gd name="T53" fmla="*/ 83 h 105"/>
                <a:gd name="T54" fmla="*/ 166 w 169"/>
                <a:gd name="T55" fmla="*/ 77 h 105"/>
                <a:gd name="T56" fmla="*/ 158 w 169"/>
                <a:gd name="T57" fmla="*/ 76 h 105"/>
                <a:gd name="T58" fmla="*/ 155 w 169"/>
                <a:gd name="T59" fmla="*/ 40 h 105"/>
                <a:gd name="T60" fmla="*/ 149 w 169"/>
                <a:gd name="T61" fmla="*/ 36 h 105"/>
                <a:gd name="T62" fmla="*/ 144 w 169"/>
                <a:gd name="T63" fmla="*/ 33 h 105"/>
                <a:gd name="T64" fmla="*/ 136 w 169"/>
                <a:gd name="T65" fmla="*/ 32 h 105"/>
                <a:gd name="T66" fmla="*/ 132 w 169"/>
                <a:gd name="T67" fmla="*/ 30 h 105"/>
                <a:gd name="T68" fmla="*/ 129 w 169"/>
                <a:gd name="T69" fmla="*/ 30 h 105"/>
                <a:gd name="T70" fmla="*/ 122 w 169"/>
                <a:gd name="T71" fmla="*/ 29 h 105"/>
                <a:gd name="T72" fmla="*/ 116 w 169"/>
                <a:gd name="T73" fmla="*/ 32 h 105"/>
                <a:gd name="T74" fmla="*/ 100 w 169"/>
                <a:gd name="T75" fmla="*/ 29 h 105"/>
                <a:gd name="T76" fmla="*/ 91 w 169"/>
                <a:gd name="T77" fmla="*/ 21 h 105"/>
                <a:gd name="T78" fmla="*/ 79 w 169"/>
                <a:gd name="T79" fmla="*/ 18 h 105"/>
                <a:gd name="T80" fmla="*/ 74 w 169"/>
                <a:gd name="T81" fmla="*/ 13 h 105"/>
                <a:gd name="T82" fmla="*/ 77 w 169"/>
                <a:gd name="T83" fmla="*/ 7 h 105"/>
                <a:gd name="T84" fmla="*/ 74 w 169"/>
                <a:gd name="T85" fmla="*/ 0 h 105"/>
                <a:gd name="T86" fmla="*/ 68 w 169"/>
                <a:gd name="T87" fmla="*/ 27 h 105"/>
                <a:gd name="T88" fmla="*/ 72 w 169"/>
                <a:gd name="T89" fmla="*/ 33 h 105"/>
                <a:gd name="T90" fmla="*/ 57 w 169"/>
                <a:gd name="T91" fmla="*/ 41 h 105"/>
                <a:gd name="T92" fmla="*/ 46 w 169"/>
                <a:gd name="T93" fmla="*/ 51 h 105"/>
                <a:gd name="T94" fmla="*/ 38 w 169"/>
                <a:gd name="T95" fmla="*/ 57 h 105"/>
                <a:gd name="T96" fmla="*/ 38 w 169"/>
                <a:gd name="T97" fmla="*/ 60 h 105"/>
                <a:gd name="T98" fmla="*/ 38 w 169"/>
                <a:gd name="T99" fmla="*/ 65 h 105"/>
                <a:gd name="T100" fmla="*/ 30 w 169"/>
                <a:gd name="T101" fmla="*/ 71 h 105"/>
                <a:gd name="T102" fmla="*/ 21 w 169"/>
                <a:gd name="T103" fmla="*/ 71 h 105"/>
                <a:gd name="T104" fmla="*/ 16 w 169"/>
                <a:gd name="T105" fmla="*/ 74 h 105"/>
                <a:gd name="T106" fmla="*/ 16 w 169"/>
                <a:gd name="T107" fmla="*/ 80 h 105"/>
                <a:gd name="T108" fmla="*/ 11 w 169"/>
                <a:gd name="T109" fmla="*/ 8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9" h="105">
                  <a:moveTo>
                    <a:pt x="11" y="83"/>
                  </a:moveTo>
                  <a:lnTo>
                    <a:pt x="5" y="83"/>
                  </a:lnTo>
                  <a:lnTo>
                    <a:pt x="0" y="82"/>
                  </a:lnTo>
                  <a:lnTo>
                    <a:pt x="0" y="88"/>
                  </a:lnTo>
                  <a:lnTo>
                    <a:pt x="0" y="91"/>
                  </a:lnTo>
                  <a:lnTo>
                    <a:pt x="0" y="94"/>
                  </a:lnTo>
                  <a:lnTo>
                    <a:pt x="0" y="97"/>
                  </a:lnTo>
                  <a:lnTo>
                    <a:pt x="3" y="101"/>
                  </a:lnTo>
                  <a:lnTo>
                    <a:pt x="3" y="104"/>
                  </a:lnTo>
                  <a:lnTo>
                    <a:pt x="3" y="105"/>
                  </a:lnTo>
                  <a:lnTo>
                    <a:pt x="55" y="105"/>
                  </a:lnTo>
                  <a:lnTo>
                    <a:pt x="127" y="105"/>
                  </a:lnTo>
                  <a:lnTo>
                    <a:pt x="125" y="101"/>
                  </a:lnTo>
                  <a:lnTo>
                    <a:pt x="124" y="99"/>
                  </a:lnTo>
                  <a:lnTo>
                    <a:pt x="124" y="97"/>
                  </a:lnTo>
                  <a:lnTo>
                    <a:pt x="125" y="96"/>
                  </a:lnTo>
                  <a:lnTo>
                    <a:pt x="124" y="93"/>
                  </a:lnTo>
                  <a:lnTo>
                    <a:pt x="124" y="91"/>
                  </a:lnTo>
                  <a:lnTo>
                    <a:pt x="124" y="87"/>
                  </a:lnTo>
                  <a:lnTo>
                    <a:pt x="122" y="85"/>
                  </a:lnTo>
                  <a:lnTo>
                    <a:pt x="122" y="82"/>
                  </a:lnTo>
                  <a:lnTo>
                    <a:pt x="122" y="79"/>
                  </a:lnTo>
                  <a:lnTo>
                    <a:pt x="124" y="77"/>
                  </a:lnTo>
                  <a:lnTo>
                    <a:pt x="125" y="77"/>
                  </a:lnTo>
                  <a:lnTo>
                    <a:pt x="127" y="77"/>
                  </a:lnTo>
                  <a:lnTo>
                    <a:pt x="129" y="76"/>
                  </a:lnTo>
                  <a:lnTo>
                    <a:pt x="127" y="76"/>
                  </a:lnTo>
                  <a:lnTo>
                    <a:pt x="129" y="76"/>
                  </a:lnTo>
                  <a:lnTo>
                    <a:pt x="130" y="76"/>
                  </a:lnTo>
                  <a:lnTo>
                    <a:pt x="130" y="77"/>
                  </a:lnTo>
                  <a:lnTo>
                    <a:pt x="129" y="77"/>
                  </a:lnTo>
                  <a:lnTo>
                    <a:pt x="127" y="77"/>
                  </a:lnTo>
                  <a:lnTo>
                    <a:pt x="129" y="79"/>
                  </a:lnTo>
                  <a:lnTo>
                    <a:pt x="130" y="79"/>
                  </a:lnTo>
                  <a:lnTo>
                    <a:pt x="132" y="79"/>
                  </a:lnTo>
                  <a:lnTo>
                    <a:pt x="133" y="79"/>
                  </a:lnTo>
                  <a:lnTo>
                    <a:pt x="135" y="80"/>
                  </a:lnTo>
                  <a:lnTo>
                    <a:pt x="136" y="80"/>
                  </a:lnTo>
                  <a:lnTo>
                    <a:pt x="138" y="82"/>
                  </a:lnTo>
                  <a:lnTo>
                    <a:pt x="140" y="82"/>
                  </a:lnTo>
                  <a:lnTo>
                    <a:pt x="141" y="82"/>
                  </a:lnTo>
                  <a:lnTo>
                    <a:pt x="141" y="83"/>
                  </a:lnTo>
                  <a:lnTo>
                    <a:pt x="143" y="82"/>
                  </a:lnTo>
                  <a:lnTo>
                    <a:pt x="143" y="83"/>
                  </a:lnTo>
                  <a:lnTo>
                    <a:pt x="144" y="83"/>
                  </a:lnTo>
                  <a:lnTo>
                    <a:pt x="146" y="85"/>
                  </a:lnTo>
                  <a:lnTo>
                    <a:pt x="146" y="87"/>
                  </a:lnTo>
                  <a:lnTo>
                    <a:pt x="147" y="87"/>
                  </a:lnTo>
                  <a:lnTo>
                    <a:pt x="152" y="88"/>
                  </a:lnTo>
                  <a:lnTo>
                    <a:pt x="158" y="88"/>
                  </a:lnTo>
                  <a:lnTo>
                    <a:pt x="163" y="88"/>
                  </a:lnTo>
                  <a:lnTo>
                    <a:pt x="164" y="88"/>
                  </a:lnTo>
                  <a:lnTo>
                    <a:pt x="168" y="88"/>
                  </a:lnTo>
                  <a:lnTo>
                    <a:pt x="169" y="83"/>
                  </a:lnTo>
                  <a:lnTo>
                    <a:pt x="168" y="80"/>
                  </a:lnTo>
                  <a:lnTo>
                    <a:pt x="166" y="77"/>
                  </a:lnTo>
                  <a:lnTo>
                    <a:pt x="163" y="76"/>
                  </a:lnTo>
                  <a:lnTo>
                    <a:pt x="158" y="76"/>
                  </a:lnTo>
                  <a:lnTo>
                    <a:pt x="158" y="43"/>
                  </a:lnTo>
                  <a:lnTo>
                    <a:pt x="155" y="40"/>
                  </a:lnTo>
                  <a:lnTo>
                    <a:pt x="152" y="38"/>
                  </a:lnTo>
                  <a:lnTo>
                    <a:pt x="149" y="36"/>
                  </a:lnTo>
                  <a:lnTo>
                    <a:pt x="146" y="35"/>
                  </a:lnTo>
                  <a:lnTo>
                    <a:pt x="144" y="33"/>
                  </a:lnTo>
                  <a:lnTo>
                    <a:pt x="140" y="32"/>
                  </a:lnTo>
                  <a:lnTo>
                    <a:pt x="136" y="32"/>
                  </a:lnTo>
                  <a:lnTo>
                    <a:pt x="133" y="30"/>
                  </a:lnTo>
                  <a:lnTo>
                    <a:pt x="132" y="30"/>
                  </a:lnTo>
                  <a:lnTo>
                    <a:pt x="130" y="30"/>
                  </a:lnTo>
                  <a:lnTo>
                    <a:pt x="129" y="30"/>
                  </a:lnTo>
                  <a:lnTo>
                    <a:pt x="125" y="30"/>
                  </a:lnTo>
                  <a:lnTo>
                    <a:pt x="122" y="29"/>
                  </a:lnTo>
                  <a:lnTo>
                    <a:pt x="119" y="27"/>
                  </a:lnTo>
                  <a:lnTo>
                    <a:pt x="116" y="32"/>
                  </a:lnTo>
                  <a:lnTo>
                    <a:pt x="111" y="30"/>
                  </a:lnTo>
                  <a:lnTo>
                    <a:pt x="100" y="29"/>
                  </a:lnTo>
                  <a:lnTo>
                    <a:pt x="100" y="25"/>
                  </a:lnTo>
                  <a:lnTo>
                    <a:pt x="91" y="21"/>
                  </a:lnTo>
                  <a:lnTo>
                    <a:pt x="86" y="16"/>
                  </a:lnTo>
                  <a:lnTo>
                    <a:pt x="79" y="18"/>
                  </a:lnTo>
                  <a:lnTo>
                    <a:pt x="75" y="13"/>
                  </a:lnTo>
                  <a:lnTo>
                    <a:pt x="74" y="13"/>
                  </a:lnTo>
                  <a:lnTo>
                    <a:pt x="74" y="10"/>
                  </a:lnTo>
                  <a:lnTo>
                    <a:pt x="77" y="7"/>
                  </a:lnTo>
                  <a:lnTo>
                    <a:pt x="75" y="2"/>
                  </a:lnTo>
                  <a:lnTo>
                    <a:pt x="74" y="0"/>
                  </a:lnTo>
                  <a:lnTo>
                    <a:pt x="68" y="0"/>
                  </a:lnTo>
                  <a:lnTo>
                    <a:pt x="68" y="27"/>
                  </a:lnTo>
                  <a:lnTo>
                    <a:pt x="69" y="29"/>
                  </a:lnTo>
                  <a:lnTo>
                    <a:pt x="72" y="33"/>
                  </a:lnTo>
                  <a:lnTo>
                    <a:pt x="66" y="33"/>
                  </a:lnTo>
                  <a:lnTo>
                    <a:pt x="57" y="41"/>
                  </a:lnTo>
                  <a:lnTo>
                    <a:pt x="52" y="47"/>
                  </a:lnTo>
                  <a:lnTo>
                    <a:pt x="46" y="51"/>
                  </a:lnTo>
                  <a:lnTo>
                    <a:pt x="41" y="55"/>
                  </a:lnTo>
                  <a:lnTo>
                    <a:pt x="38" y="57"/>
                  </a:lnTo>
                  <a:lnTo>
                    <a:pt x="36" y="58"/>
                  </a:lnTo>
                  <a:lnTo>
                    <a:pt x="38" y="60"/>
                  </a:lnTo>
                  <a:lnTo>
                    <a:pt x="38" y="62"/>
                  </a:lnTo>
                  <a:lnTo>
                    <a:pt x="38" y="65"/>
                  </a:lnTo>
                  <a:lnTo>
                    <a:pt x="31" y="69"/>
                  </a:lnTo>
                  <a:lnTo>
                    <a:pt x="30" y="71"/>
                  </a:lnTo>
                  <a:lnTo>
                    <a:pt x="25" y="71"/>
                  </a:lnTo>
                  <a:lnTo>
                    <a:pt x="21" y="71"/>
                  </a:lnTo>
                  <a:lnTo>
                    <a:pt x="17" y="73"/>
                  </a:lnTo>
                  <a:lnTo>
                    <a:pt x="16" y="74"/>
                  </a:lnTo>
                  <a:lnTo>
                    <a:pt x="14" y="77"/>
                  </a:lnTo>
                  <a:lnTo>
                    <a:pt x="16" y="80"/>
                  </a:lnTo>
                  <a:lnTo>
                    <a:pt x="14" y="83"/>
                  </a:lnTo>
                  <a:lnTo>
                    <a:pt x="11" y="83"/>
                  </a:lnTo>
                </a:path>
              </a:pathLst>
            </a:custGeom>
            <a:solidFill>
              <a:schemeClr val="bg2">
                <a:lumMod val="10000"/>
                <a:lumOff val="90000"/>
              </a:schemeClr>
            </a:solidFill>
            <a:ln w="0">
              <a:solidFill>
                <a:srgbClr val="25221E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algn="ctr" eaLnBrk="0" hangingPunct="0">
                <a:defRPr/>
              </a:pPr>
              <a:endParaRPr lang="es-AR" sz="1200" b="1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40" name="Freeform 14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1174265" y="980728"/>
              <a:ext cx="429861" cy="475739"/>
            </a:xfrm>
            <a:custGeom>
              <a:avLst/>
              <a:gdLst>
                <a:gd name="T0" fmla="*/ 32 w 58"/>
                <a:gd name="T1" fmla="*/ 6 h 67"/>
                <a:gd name="T2" fmla="*/ 30 w 58"/>
                <a:gd name="T3" fmla="*/ 8 h 67"/>
                <a:gd name="T4" fmla="*/ 27 w 58"/>
                <a:gd name="T5" fmla="*/ 8 h 67"/>
                <a:gd name="T6" fmla="*/ 25 w 58"/>
                <a:gd name="T7" fmla="*/ 3 h 67"/>
                <a:gd name="T8" fmla="*/ 22 w 58"/>
                <a:gd name="T9" fmla="*/ 3 h 67"/>
                <a:gd name="T10" fmla="*/ 19 w 58"/>
                <a:gd name="T11" fmla="*/ 0 h 67"/>
                <a:gd name="T12" fmla="*/ 17 w 58"/>
                <a:gd name="T13" fmla="*/ 4 h 67"/>
                <a:gd name="T14" fmla="*/ 17 w 58"/>
                <a:gd name="T15" fmla="*/ 8 h 67"/>
                <a:gd name="T16" fmla="*/ 10 w 58"/>
                <a:gd name="T17" fmla="*/ 11 h 67"/>
                <a:gd name="T18" fmla="*/ 8 w 58"/>
                <a:gd name="T19" fmla="*/ 15 h 67"/>
                <a:gd name="T20" fmla="*/ 3 w 58"/>
                <a:gd name="T21" fmla="*/ 19 h 67"/>
                <a:gd name="T22" fmla="*/ 3 w 58"/>
                <a:gd name="T23" fmla="*/ 22 h 67"/>
                <a:gd name="T24" fmla="*/ 2 w 58"/>
                <a:gd name="T25" fmla="*/ 25 h 67"/>
                <a:gd name="T26" fmla="*/ 5 w 58"/>
                <a:gd name="T27" fmla="*/ 31 h 67"/>
                <a:gd name="T28" fmla="*/ 0 w 58"/>
                <a:gd name="T29" fmla="*/ 45 h 67"/>
                <a:gd name="T30" fmla="*/ 5 w 58"/>
                <a:gd name="T31" fmla="*/ 50 h 67"/>
                <a:gd name="T32" fmla="*/ 5 w 58"/>
                <a:gd name="T33" fmla="*/ 53 h 67"/>
                <a:gd name="T34" fmla="*/ 10 w 58"/>
                <a:gd name="T35" fmla="*/ 56 h 67"/>
                <a:gd name="T36" fmla="*/ 13 w 58"/>
                <a:gd name="T37" fmla="*/ 59 h 67"/>
                <a:gd name="T38" fmla="*/ 17 w 58"/>
                <a:gd name="T39" fmla="*/ 56 h 67"/>
                <a:gd name="T40" fmla="*/ 16 w 58"/>
                <a:gd name="T41" fmla="*/ 51 h 67"/>
                <a:gd name="T42" fmla="*/ 17 w 58"/>
                <a:gd name="T43" fmla="*/ 45 h 67"/>
                <a:gd name="T44" fmla="*/ 17 w 58"/>
                <a:gd name="T45" fmla="*/ 42 h 67"/>
                <a:gd name="T46" fmla="*/ 17 w 58"/>
                <a:gd name="T47" fmla="*/ 39 h 67"/>
                <a:gd name="T48" fmla="*/ 24 w 58"/>
                <a:gd name="T49" fmla="*/ 42 h 67"/>
                <a:gd name="T50" fmla="*/ 24 w 58"/>
                <a:gd name="T51" fmla="*/ 53 h 67"/>
                <a:gd name="T52" fmla="*/ 27 w 58"/>
                <a:gd name="T53" fmla="*/ 53 h 67"/>
                <a:gd name="T54" fmla="*/ 30 w 58"/>
                <a:gd name="T55" fmla="*/ 62 h 67"/>
                <a:gd name="T56" fmla="*/ 32 w 58"/>
                <a:gd name="T57" fmla="*/ 64 h 67"/>
                <a:gd name="T58" fmla="*/ 38 w 58"/>
                <a:gd name="T59" fmla="*/ 66 h 67"/>
                <a:gd name="T60" fmla="*/ 39 w 58"/>
                <a:gd name="T61" fmla="*/ 66 h 67"/>
                <a:gd name="T62" fmla="*/ 44 w 58"/>
                <a:gd name="T63" fmla="*/ 67 h 67"/>
                <a:gd name="T64" fmla="*/ 47 w 58"/>
                <a:gd name="T65" fmla="*/ 64 h 67"/>
                <a:gd name="T66" fmla="*/ 49 w 58"/>
                <a:gd name="T67" fmla="*/ 67 h 67"/>
                <a:gd name="T68" fmla="*/ 52 w 58"/>
                <a:gd name="T69" fmla="*/ 66 h 67"/>
                <a:gd name="T70" fmla="*/ 54 w 58"/>
                <a:gd name="T71" fmla="*/ 64 h 67"/>
                <a:gd name="T72" fmla="*/ 57 w 58"/>
                <a:gd name="T73" fmla="*/ 62 h 67"/>
                <a:gd name="T74" fmla="*/ 58 w 58"/>
                <a:gd name="T75" fmla="*/ 58 h 67"/>
                <a:gd name="T76" fmla="*/ 57 w 58"/>
                <a:gd name="T77" fmla="*/ 55 h 67"/>
                <a:gd name="T78" fmla="*/ 57 w 58"/>
                <a:gd name="T79" fmla="*/ 40 h 67"/>
                <a:gd name="T80" fmla="*/ 54 w 58"/>
                <a:gd name="T81" fmla="*/ 40 h 67"/>
                <a:gd name="T82" fmla="*/ 54 w 58"/>
                <a:gd name="T83" fmla="*/ 44 h 67"/>
                <a:gd name="T84" fmla="*/ 50 w 58"/>
                <a:gd name="T85" fmla="*/ 39 h 67"/>
                <a:gd name="T86" fmla="*/ 47 w 58"/>
                <a:gd name="T87" fmla="*/ 39 h 67"/>
                <a:gd name="T88" fmla="*/ 46 w 58"/>
                <a:gd name="T89" fmla="*/ 40 h 67"/>
                <a:gd name="T90" fmla="*/ 43 w 58"/>
                <a:gd name="T91" fmla="*/ 34 h 67"/>
                <a:gd name="T92" fmla="*/ 43 w 58"/>
                <a:gd name="T93" fmla="*/ 28 h 67"/>
                <a:gd name="T94" fmla="*/ 38 w 58"/>
                <a:gd name="T95" fmla="*/ 26 h 67"/>
                <a:gd name="T96" fmla="*/ 38 w 58"/>
                <a:gd name="T97" fmla="*/ 20 h 67"/>
                <a:gd name="T98" fmla="*/ 36 w 58"/>
                <a:gd name="T99" fmla="*/ 17 h 67"/>
                <a:gd name="T100" fmla="*/ 38 w 58"/>
                <a:gd name="T101" fmla="*/ 6 h 67"/>
                <a:gd name="T102" fmla="*/ 32 w 58"/>
                <a:gd name="T103" fmla="*/ 8 h 67"/>
                <a:gd name="T104" fmla="*/ 32 w 58"/>
                <a:gd name="T105" fmla="*/ 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" h="67">
                  <a:moveTo>
                    <a:pt x="32" y="6"/>
                  </a:moveTo>
                  <a:lnTo>
                    <a:pt x="30" y="8"/>
                  </a:lnTo>
                  <a:lnTo>
                    <a:pt x="27" y="8"/>
                  </a:lnTo>
                  <a:lnTo>
                    <a:pt x="25" y="3"/>
                  </a:lnTo>
                  <a:lnTo>
                    <a:pt x="22" y="3"/>
                  </a:lnTo>
                  <a:lnTo>
                    <a:pt x="19" y="0"/>
                  </a:lnTo>
                  <a:lnTo>
                    <a:pt x="17" y="4"/>
                  </a:lnTo>
                  <a:lnTo>
                    <a:pt x="17" y="8"/>
                  </a:lnTo>
                  <a:lnTo>
                    <a:pt x="10" y="11"/>
                  </a:lnTo>
                  <a:lnTo>
                    <a:pt x="8" y="15"/>
                  </a:lnTo>
                  <a:lnTo>
                    <a:pt x="3" y="19"/>
                  </a:lnTo>
                  <a:lnTo>
                    <a:pt x="3" y="22"/>
                  </a:lnTo>
                  <a:lnTo>
                    <a:pt x="2" y="25"/>
                  </a:lnTo>
                  <a:lnTo>
                    <a:pt x="5" y="31"/>
                  </a:lnTo>
                  <a:lnTo>
                    <a:pt x="0" y="45"/>
                  </a:lnTo>
                  <a:lnTo>
                    <a:pt x="5" y="50"/>
                  </a:lnTo>
                  <a:lnTo>
                    <a:pt x="5" y="53"/>
                  </a:lnTo>
                  <a:lnTo>
                    <a:pt x="10" y="56"/>
                  </a:lnTo>
                  <a:lnTo>
                    <a:pt x="13" y="59"/>
                  </a:lnTo>
                  <a:lnTo>
                    <a:pt x="17" y="56"/>
                  </a:lnTo>
                  <a:lnTo>
                    <a:pt x="16" y="51"/>
                  </a:lnTo>
                  <a:lnTo>
                    <a:pt x="17" y="45"/>
                  </a:lnTo>
                  <a:lnTo>
                    <a:pt x="17" y="42"/>
                  </a:lnTo>
                  <a:lnTo>
                    <a:pt x="17" y="39"/>
                  </a:lnTo>
                  <a:lnTo>
                    <a:pt x="24" y="42"/>
                  </a:lnTo>
                  <a:lnTo>
                    <a:pt x="24" y="53"/>
                  </a:lnTo>
                  <a:lnTo>
                    <a:pt x="27" y="53"/>
                  </a:lnTo>
                  <a:lnTo>
                    <a:pt x="30" y="62"/>
                  </a:lnTo>
                  <a:lnTo>
                    <a:pt x="32" y="64"/>
                  </a:lnTo>
                  <a:lnTo>
                    <a:pt x="38" y="66"/>
                  </a:lnTo>
                  <a:lnTo>
                    <a:pt x="39" y="66"/>
                  </a:lnTo>
                  <a:lnTo>
                    <a:pt x="44" y="67"/>
                  </a:lnTo>
                  <a:lnTo>
                    <a:pt x="47" y="64"/>
                  </a:lnTo>
                  <a:lnTo>
                    <a:pt x="49" y="67"/>
                  </a:lnTo>
                  <a:lnTo>
                    <a:pt x="52" y="66"/>
                  </a:lnTo>
                  <a:lnTo>
                    <a:pt x="54" y="64"/>
                  </a:lnTo>
                  <a:lnTo>
                    <a:pt x="57" y="62"/>
                  </a:lnTo>
                  <a:lnTo>
                    <a:pt x="58" y="58"/>
                  </a:lnTo>
                  <a:lnTo>
                    <a:pt x="57" y="55"/>
                  </a:lnTo>
                  <a:lnTo>
                    <a:pt x="57" y="40"/>
                  </a:lnTo>
                  <a:lnTo>
                    <a:pt x="54" y="40"/>
                  </a:lnTo>
                  <a:lnTo>
                    <a:pt x="54" y="44"/>
                  </a:lnTo>
                  <a:lnTo>
                    <a:pt x="50" y="39"/>
                  </a:lnTo>
                  <a:lnTo>
                    <a:pt x="47" y="39"/>
                  </a:lnTo>
                  <a:lnTo>
                    <a:pt x="46" y="40"/>
                  </a:lnTo>
                  <a:lnTo>
                    <a:pt x="43" y="34"/>
                  </a:lnTo>
                  <a:lnTo>
                    <a:pt x="43" y="28"/>
                  </a:lnTo>
                  <a:lnTo>
                    <a:pt x="38" y="26"/>
                  </a:lnTo>
                  <a:lnTo>
                    <a:pt x="38" y="20"/>
                  </a:lnTo>
                  <a:lnTo>
                    <a:pt x="36" y="17"/>
                  </a:lnTo>
                  <a:lnTo>
                    <a:pt x="38" y="6"/>
                  </a:lnTo>
                  <a:lnTo>
                    <a:pt x="32" y="8"/>
                  </a:lnTo>
                  <a:lnTo>
                    <a:pt x="32" y="6"/>
                  </a:lnTo>
                </a:path>
              </a:pathLst>
            </a:custGeom>
            <a:solidFill>
              <a:schemeClr val="bg2">
                <a:lumMod val="10000"/>
                <a:lumOff val="90000"/>
              </a:schemeClr>
            </a:solidFill>
            <a:ln w="0">
              <a:solidFill>
                <a:srgbClr val="25221E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algn="ctr" eaLnBrk="0" hangingPunct="0">
                <a:defRPr/>
              </a:pPr>
              <a:endParaRPr lang="es-AR" sz="1200" b="1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41" name="Freeform 15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989305" y="1009004"/>
              <a:ext cx="861431" cy="758521"/>
            </a:xfrm>
            <a:custGeom>
              <a:avLst/>
              <a:gdLst>
                <a:gd name="T0" fmla="*/ 77 w 116"/>
                <a:gd name="T1" fmla="*/ 101 h 107"/>
                <a:gd name="T2" fmla="*/ 80 w 116"/>
                <a:gd name="T3" fmla="*/ 93 h 107"/>
                <a:gd name="T4" fmla="*/ 83 w 116"/>
                <a:gd name="T5" fmla="*/ 90 h 107"/>
                <a:gd name="T6" fmla="*/ 85 w 116"/>
                <a:gd name="T7" fmla="*/ 91 h 107"/>
                <a:gd name="T8" fmla="*/ 96 w 116"/>
                <a:gd name="T9" fmla="*/ 90 h 107"/>
                <a:gd name="T10" fmla="*/ 116 w 116"/>
                <a:gd name="T11" fmla="*/ 58 h 107"/>
                <a:gd name="T12" fmla="*/ 114 w 116"/>
                <a:gd name="T13" fmla="*/ 11 h 107"/>
                <a:gd name="T14" fmla="*/ 111 w 116"/>
                <a:gd name="T15" fmla="*/ 8 h 107"/>
                <a:gd name="T16" fmla="*/ 108 w 116"/>
                <a:gd name="T17" fmla="*/ 5 h 107"/>
                <a:gd name="T18" fmla="*/ 93 w 116"/>
                <a:gd name="T19" fmla="*/ 0 h 107"/>
                <a:gd name="T20" fmla="*/ 91 w 116"/>
                <a:gd name="T21" fmla="*/ 0 h 107"/>
                <a:gd name="T22" fmla="*/ 86 w 116"/>
                <a:gd name="T23" fmla="*/ 4 h 107"/>
                <a:gd name="T24" fmla="*/ 83 w 116"/>
                <a:gd name="T25" fmla="*/ 13 h 107"/>
                <a:gd name="T26" fmla="*/ 80 w 116"/>
                <a:gd name="T27" fmla="*/ 21 h 107"/>
                <a:gd name="T28" fmla="*/ 79 w 116"/>
                <a:gd name="T29" fmla="*/ 16 h 107"/>
                <a:gd name="T30" fmla="*/ 75 w 116"/>
                <a:gd name="T31" fmla="*/ 10 h 107"/>
                <a:gd name="T32" fmla="*/ 71 w 116"/>
                <a:gd name="T33" fmla="*/ 5 h 107"/>
                <a:gd name="T34" fmla="*/ 63 w 116"/>
                <a:gd name="T35" fmla="*/ 2 h 107"/>
                <a:gd name="T36" fmla="*/ 63 w 116"/>
                <a:gd name="T37" fmla="*/ 16 h 107"/>
                <a:gd name="T38" fmla="*/ 68 w 116"/>
                <a:gd name="T39" fmla="*/ 24 h 107"/>
                <a:gd name="T40" fmla="*/ 71 w 116"/>
                <a:gd name="T41" fmla="*/ 36 h 107"/>
                <a:gd name="T42" fmla="*/ 75 w 116"/>
                <a:gd name="T43" fmla="*/ 35 h 107"/>
                <a:gd name="T44" fmla="*/ 79 w 116"/>
                <a:gd name="T45" fmla="*/ 36 h 107"/>
                <a:gd name="T46" fmla="*/ 82 w 116"/>
                <a:gd name="T47" fmla="*/ 51 h 107"/>
                <a:gd name="T48" fmla="*/ 82 w 116"/>
                <a:gd name="T49" fmla="*/ 58 h 107"/>
                <a:gd name="T50" fmla="*/ 77 w 116"/>
                <a:gd name="T51" fmla="*/ 62 h 107"/>
                <a:gd name="T52" fmla="*/ 72 w 116"/>
                <a:gd name="T53" fmla="*/ 60 h 107"/>
                <a:gd name="T54" fmla="*/ 64 w 116"/>
                <a:gd name="T55" fmla="*/ 62 h 107"/>
                <a:gd name="T56" fmla="*/ 57 w 116"/>
                <a:gd name="T57" fmla="*/ 60 h 107"/>
                <a:gd name="T58" fmla="*/ 52 w 116"/>
                <a:gd name="T59" fmla="*/ 49 h 107"/>
                <a:gd name="T60" fmla="*/ 49 w 116"/>
                <a:gd name="T61" fmla="*/ 38 h 107"/>
                <a:gd name="T62" fmla="*/ 42 w 116"/>
                <a:gd name="T63" fmla="*/ 38 h 107"/>
                <a:gd name="T64" fmla="*/ 41 w 116"/>
                <a:gd name="T65" fmla="*/ 47 h 107"/>
                <a:gd name="T66" fmla="*/ 38 w 116"/>
                <a:gd name="T67" fmla="*/ 55 h 107"/>
                <a:gd name="T68" fmla="*/ 30 w 116"/>
                <a:gd name="T69" fmla="*/ 49 h 107"/>
                <a:gd name="T70" fmla="*/ 25 w 116"/>
                <a:gd name="T71" fmla="*/ 41 h 107"/>
                <a:gd name="T72" fmla="*/ 24 w 116"/>
                <a:gd name="T73" fmla="*/ 51 h 107"/>
                <a:gd name="T74" fmla="*/ 5 w 116"/>
                <a:gd name="T75" fmla="*/ 62 h 107"/>
                <a:gd name="T76" fmla="*/ 0 w 116"/>
                <a:gd name="T77" fmla="*/ 69 h 107"/>
                <a:gd name="T78" fmla="*/ 3 w 116"/>
                <a:gd name="T79" fmla="*/ 76 h 107"/>
                <a:gd name="T80" fmla="*/ 13 w 116"/>
                <a:gd name="T81" fmla="*/ 79 h 107"/>
                <a:gd name="T82" fmla="*/ 35 w 116"/>
                <a:gd name="T83" fmla="*/ 87 h 107"/>
                <a:gd name="T84" fmla="*/ 30 w 116"/>
                <a:gd name="T85" fmla="*/ 93 h 107"/>
                <a:gd name="T86" fmla="*/ 38 w 116"/>
                <a:gd name="T87" fmla="*/ 105 h 107"/>
                <a:gd name="T88" fmla="*/ 41 w 116"/>
                <a:gd name="T89" fmla="*/ 104 h 107"/>
                <a:gd name="T90" fmla="*/ 47 w 116"/>
                <a:gd name="T91" fmla="*/ 102 h 107"/>
                <a:gd name="T92" fmla="*/ 55 w 116"/>
                <a:gd name="T93" fmla="*/ 99 h 107"/>
                <a:gd name="T94" fmla="*/ 61 w 116"/>
                <a:gd name="T95" fmla="*/ 98 h 107"/>
                <a:gd name="T96" fmla="*/ 66 w 116"/>
                <a:gd name="T97" fmla="*/ 101 h 107"/>
                <a:gd name="T98" fmla="*/ 69 w 116"/>
                <a:gd name="T99" fmla="*/ 10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6" h="107">
                  <a:moveTo>
                    <a:pt x="71" y="101"/>
                  </a:moveTo>
                  <a:lnTo>
                    <a:pt x="77" y="101"/>
                  </a:lnTo>
                  <a:lnTo>
                    <a:pt x="80" y="94"/>
                  </a:lnTo>
                  <a:lnTo>
                    <a:pt x="80" y="93"/>
                  </a:lnTo>
                  <a:lnTo>
                    <a:pt x="82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5" y="91"/>
                  </a:lnTo>
                  <a:lnTo>
                    <a:pt x="85" y="90"/>
                  </a:lnTo>
                  <a:lnTo>
                    <a:pt x="96" y="90"/>
                  </a:lnTo>
                  <a:lnTo>
                    <a:pt x="96" y="88"/>
                  </a:lnTo>
                  <a:lnTo>
                    <a:pt x="116" y="58"/>
                  </a:lnTo>
                  <a:lnTo>
                    <a:pt x="116" y="11"/>
                  </a:lnTo>
                  <a:lnTo>
                    <a:pt x="114" y="11"/>
                  </a:lnTo>
                  <a:lnTo>
                    <a:pt x="113" y="10"/>
                  </a:lnTo>
                  <a:lnTo>
                    <a:pt x="111" y="8"/>
                  </a:lnTo>
                  <a:lnTo>
                    <a:pt x="110" y="5"/>
                  </a:lnTo>
                  <a:lnTo>
                    <a:pt x="108" y="5"/>
                  </a:lnTo>
                  <a:lnTo>
                    <a:pt x="108" y="0"/>
                  </a:lnTo>
                  <a:lnTo>
                    <a:pt x="93" y="0"/>
                  </a:lnTo>
                  <a:lnTo>
                    <a:pt x="91" y="2"/>
                  </a:lnTo>
                  <a:lnTo>
                    <a:pt x="91" y="0"/>
                  </a:lnTo>
                  <a:lnTo>
                    <a:pt x="86" y="0"/>
                  </a:lnTo>
                  <a:lnTo>
                    <a:pt x="86" y="4"/>
                  </a:lnTo>
                  <a:lnTo>
                    <a:pt x="83" y="8"/>
                  </a:lnTo>
                  <a:lnTo>
                    <a:pt x="83" y="13"/>
                  </a:lnTo>
                  <a:lnTo>
                    <a:pt x="80" y="18"/>
                  </a:lnTo>
                  <a:lnTo>
                    <a:pt x="80" y="21"/>
                  </a:lnTo>
                  <a:lnTo>
                    <a:pt x="79" y="18"/>
                  </a:lnTo>
                  <a:lnTo>
                    <a:pt x="79" y="16"/>
                  </a:lnTo>
                  <a:lnTo>
                    <a:pt x="77" y="13"/>
                  </a:lnTo>
                  <a:lnTo>
                    <a:pt x="75" y="10"/>
                  </a:lnTo>
                  <a:lnTo>
                    <a:pt x="74" y="7"/>
                  </a:lnTo>
                  <a:lnTo>
                    <a:pt x="71" y="5"/>
                  </a:lnTo>
                  <a:lnTo>
                    <a:pt x="68" y="2"/>
                  </a:lnTo>
                  <a:lnTo>
                    <a:pt x="63" y="2"/>
                  </a:lnTo>
                  <a:lnTo>
                    <a:pt x="61" y="13"/>
                  </a:lnTo>
                  <a:lnTo>
                    <a:pt x="63" y="16"/>
                  </a:lnTo>
                  <a:lnTo>
                    <a:pt x="63" y="22"/>
                  </a:lnTo>
                  <a:lnTo>
                    <a:pt x="68" y="24"/>
                  </a:lnTo>
                  <a:lnTo>
                    <a:pt x="68" y="30"/>
                  </a:lnTo>
                  <a:lnTo>
                    <a:pt x="71" y="36"/>
                  </a:lnTo>
                  <a:lnTo>
                    <a:pt x="72" y="35"/>
                  </a:lnTo>
                  <a:lnTo>
                    <a:pt x="75" y="35"/>
                  </a:lnTo>
                  <a:lnTo>
                    <a:pt x="79" y="40"/>
                  </a:lnTo>
                  <a:lnTo>
                    <a:pt x="79" y="36"/>
                  </a:lnTo>
                  <a:lnTo>
                    <a:pt x="82" y="36"/>
                  </a:lnTo>
                  <a:lnTo>
                    <a:pt x="82" y="51"/>
                  </a:lnTo>
                  <a:lnTo>
                    <a:pt x="83" y="54"/>
                  </a:lnTo>
                  <a:lnTo>
                    <a:pt x="82" y="58"/>
                  </a:lnTo>
                  <a:lnTo>
                    <a:pt x="79" y="60"/>
                  </a:lnTo>
                  <a:lnTo>
                    <a:pt x="77" y="62"/>
                  </a:lnTo>
                  <a:lnTo>
                    <a:pt x="74" y="63"/>
                  </a:lnTo>
                  <a:lnTo>
                    <a:pt x="72" y="60"/>
                  </a:lnTo>
                  <a:lnTo>
                    <a:pt x="69" y="63"/>
                  </a:lnTo>
                  <a:lnTo>
                    <a:pt x="64" y="62"/>
                  </a:lnTo>
                  <a:lnTo>
                    <a:pt x="63" y="62"/>
                  </a:lnTo>
                  <a:lnTo>
                    <a:pt x="57" y="60"/>
                  </a:lnTo>
                  <a:lnTo>
                    <a:pt x="55" y="58"/>
                  </a:lnTo>
                  <a:lnTo>
                    <a:pt x="52" y="49"/>
                  </a:lnTo>
                  <a:lnTo>
                    <a:pt x="49" y="49"/>
                  </a:lnTo>
                  <a:lnTo>
                    <a:pt x="49" y="38"/>
                  </a:lnTo>
                  <a:lnTo>
                    <a:pt x="42" y="35"/>
                  </a:lnTo>
                  <a:lnTo>
                    <a:pt x="42" y="38"/>
                  </a:lnTo>
                  <a:lnTo>
                    <a:pt x="42" y="41"/>
                  </a:lnTo>
                  <a:lnTo>
                    <a:pt x="41" y="47"/>
                  </a:lnTo>
                  <a:lnTo>
                    <a:pt x="42" y="52"/>
                  </a:lnTo>
                  <a:lnTo>
                    <a:pt x="38" y="55"/>
                  </a:lnTo>
                  <a:lnTo>
                    <a:pt x="35" y="52"/>
                  </a:lnTo>
                  <a:lnTo>
                    <a:pt x="30" y="49"/>
                  </a:lnTo>
                  <a:lnTo>
                    <a:pt x="30" y="46"/>
                  </a:lnTo>
                  <a:lnTo>
                    <a:pt x="25" y="41"/>
                  </a:lnTo>
                  <a:lnTo>
                    <a:pt x="24" y="47"/>
                  </a:lnTo>
                  <a:lnTo>
                    <a:pt x="24" y="51"/>
                  </a:lnTo>
                  <a:lnTo>
                    <a:pt x="5" y="58"/>
                  </a:lnTo>
                  <a:lnTo>
                    <a:pt x="5" y="62"/>
                  </a:lnTo>
                  <a:lnTo>
                    <a:pt x="2" y="63"/>
                  </a:lnTo>
                  <a:lnTo>
                    <a:pt x="0" y="69"/>
                  </a:lnTo>
                  <a:lnTo>
                    <a:pt x="3" y="73"/>
                  </a:lnTo>
                  <a:lnTo>
                    <a:pt x="3" y="76"/>
                  </a:lnTo>
                  <a:lnTo>
                    <a:pt x="2" y="76"/>
                  </a:lnTo>
                  <a:lnTo>
                    <a:pt x="13" y="79"/>
                  </a:lnTo>
                  <a:lnTo>
                    <a:pt x="35" y="79"/>
                  </a:lnTo>
                  <a:lnTo>
                    <a:pt x="35" y="87"/>
                  </a:lnTo>
                  <a:lnTo>
                    <a:pt x="30" y="87"/>
                  </a:lnTo>
                  <a:lnTo>
                    <a:pt x="30" y="93"/>
                  </a:lnTo>
                  <a:lnTo>
                    <a:pt x="35" y="99"/>
                  </a:lnTo>
                  <a:lnTo>
                    <a:pt x="38" y="105"/>
                  </a:lnTo>
                  <a:lnTo>
                    <a:pt x="41" y="107"/>
                  </a:lnTo>
                  <a:lnTo>
                    <a:pt x="41" y="104"/>
                  </a:lnTo>
                  <a:lnTo>
                    <a:pt x="44" y="99"/>
                  </a:lnTo>
                  <a:lnTo>
                    <a:pt x="47" y="102"/>
                  </a:lnTo>
                  <a:lnTo>
                    <a:pt x="55" y="105"/>
                  </a:lnTo>
                  <a:lnTo>
                    <a:pt x="55" y="99"/>
                  </a:lnTo>
                  <a:lnTo>
                    <a:pt x="60" y="99"/>
                  </a:lnTo>
                  <a:lnTo>
                    <a:pt x="61" y="98"/>
                  </a:lnTo>
                  <a:lnTo>
                    <a:pt x="61" y="101"/>
                  </a:lnTo>
                  <a:lnTo>
                    <a:pt x="66" y="101"/>
                  </a:lnTo>
                  <a:lnTo>
                    <a:pt x="66" y="102"/>
                  </a:lnTo>
                  <a:lnTo>
                    <a:pt x="69" y="104"/>
                  </a:lnTo>
                  <a:lnTo>
                    <a:pt x="71" y="101"/>
                  </a:lnTo>
                </a:path>
              </a:pathLst>
            </a:custGeom>
            <a:solidFill>
              <a:schemeClr val="bg2">
                <a:lumMod val="10000"/>
                <a:lumOff val="90000"/>
              </a:schemeClr>
            </a:solidFill>
            <a:ln w="0">
              <a:solidFill>
                <a:srgbClr val="25221E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algn="ctr" eaLnBrk="0" hangingPunct="0">
                <a:defRPr/>
              </a:pPr>
              <a:endParaRPr lang="es-AR" sz="1200" b="1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42" name="Freeform 16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492657" y="4399062"/>
              <a:ext cx="1193674" cy="680341"/>
            </a:xfrm>
            <a:custGeom>
              <a:avLst/>
              <a:gdLst>
                <a:gd name="T0" fmla="*/ 12 w 161"/>
                <a:gd name="T1" fmla="*/ 93 h 96"/>
                <a:gd name="T2" fmla="*/ 11 w 161"/>
                <a:gd name="T3" fmla="*/ 88 h 96"/>
                <a:gd name="T4" fmla="*/ 16 w 161"/>
                <a:gd name="T5" fmla="*/ 85 h 96"/>
                <a:gd name="T6" fmla="*/ 17 w 161"/>
                <a:gd name="T7" fmla="*/ 80 h 96"/>
                <a:gd name="T8" fmla="*/ 12 w 161"/>
                <a:gd name="T9" fmla="*/ 74 h 96"/>
                <a:gd name="T10" fmla="*/ 5 w 161"/>
                <a:gd name="T11" fmla="*/ 69 h 96"/>
                <a:gd name="T12" fmla="*/ 12 w 161"/>
                <a:gd name="T13" fmla="*/ 68 h 96"/>
                <a:gd name="T14" fmla="*/ 20 w 161"/>
                <a:gd name="T15" fmla="*/ 65 h 96"/>
                <a:gd name="T16" fmla="*/ 19 w 161"/>
                <a:gd name="T17" fmla="*/ 60 h 96"/>
                <a:gd name="T18" fmla="*/ 8 w 161"/>
                <a:gd name="T19" fmla="*/ 58 h 96"/>
                <a:gd name="T20" fmla="*/ 11 w 161"/>
                <a:gd name="T21" fmla="*/ 49 h 96"/>
                <a:gd name="T22" fmla="*/ 12 w 161"/>
                <a:gd name="T23" fmla="*/ 41 h 96"/>
                <a:gd name="T24" fmla="*/ 8 w 161"/>
                <a:gd name="T25" fmla="*/ 33 h 96"/>
                <a:gd name="T26" fmla="*/ 3 w 161"/>
                <a:gd name="T27" fmla="*/ 24 h 96"/>
                <a:gd name="T28" fmla="*/ 2 w 161"/>
                <a:gd name="T29" fmla="*/ 10 h 96"/>
                <a:gd name="T30" fmla="*/ 9 w 161"/>
                <a:gd name="T31" fmla="*/ 0 h 96"/>
                <a:gd name="T32" fmla="*/ 136 w 161"/>
                <a:gd name="T33" fmla="*/ 7 h 96"/>
                <a:gd name="T34" fmla="*/ 139 w 161"/>
                <a:gd name="T35" fmla="*/ 8 h 96"/>
                <a:gd name="T36" fmla="*/ 142 w 161"/>
                <a:gd name="T37" fmla="*/ 10 h 96"/>
                <a:gd name="T38" fmla="*/ 142 w 161"/>
                <a:gd name="T39" fmla="*/ 13 h 96"/>
                <a:gd name="T40" fmla="*/ 149 w 161"/>
                <a:gd name="T41" fmla="*/ 13 h 96"/>
                <a:gd name="T42" fmla="*/ 150 w 161"/>
                <a:gd name="T43" fmla="*/ 8 h 96"/>
                <a:gd name="T44" fmla="*/ 147 w 161"/>
                <a:gd name="T45" fmla="*/ 8 h 96"/>
                <a:gd name="T46" fmla="*/ 155 w 161"/>
                <a:gd name="T47" fmla="*/ 5 h 96"/>
                <a:gd name="T48" fmla="*/ 160 w 161"/>
                <a:gd name="T49" fmla="*/ 8 h 96"/>
                <a:gd name="T50" fmla="*/ 161 w 161"/>
                <a:gd name="T51" fmla="*/ 13 h 96"/>
                <a:gd name="T52" fmla="*/ 161 w 161"/>
                <a:gd name="T53" fmla="*/ 13 h 96"/>
                <a:gd name="T54" fmla="*/ 160 w 161"/>
                <a:gd name="T55" fmla="*/ 13 h 96"/>
                <a:gd name="T56" fmla="*/ 160 w 161"/>
                <a:gd name="T57" fmla="*/ 19 h 96"/>
                <a:gd name="T58" fmla="*/ 152 w 161"/>
                <a:gd name="T59" fmla="*/ 22 h 96"/>
                <a:gd name="T60" fmla="*/ 149 w 161"/>
                <a:gd name="T61" fmla="*/ 19 h 96"/>
                <a:gd name="T62" fmla="*/ 147 w 161"/>
                <a:gd name="T63" fmla="*/ 14 h 96"/>
                <a:gd name="T64" fmla="*/ 141 w 161"/>
                <a:gd name="T65" fmla="*/ 14 h 96"/>
                <a:gd name="T66" fmla="*/ 135 w 161"/>
                <a:gd name="T67" fmla="*/ 18 h 96"/>
                <a:gd name="T68" fmla="*/ 136 w 161"/>
                <a:gd name="T69" fmla="*/ 22 h 96"/>
                <a:gd name="T70" fmla="*/ 142 w 161"/>
                <a:gd name="T71" fmla="*/ 25 h 96"/>
                <a:gd name="T72" fmla="*/ 144 w 161"/>
                <a:gd name="T73" fmla="*/ 27 h 96"/>
                <a:gd name="T74" fmla="*/ 136 w 161"/>
                <a:gd name="T75" fmla="*/ 30 h 96"/>
                <a:gd name="T76" fmla="*/ 131 w 161"/>
                <a:gd name="T77" fmla="*/ 33 h 96"/>
                <a:gd name="T78" fmla="*/ 127 w 161"/>
                <a:gd name="T79" fmla="*/ 43 h 96"/>
                <a:gd name="T80" fmla="*/ 128 w 161"/>
                <a:gd name="T81" fmla="*/ 51 h 96"/>
                <a:gd name="T82" fmla="*/ 130 w 161"/>
                <a:gd name="T83" fmla="*/ 58 h 96"/>
                <a:gd name="T84" fmla="*/ 127 w 161"/>
                <a:gd name="T85" fmla="*/ 62 h 96"/>
                <a:gd name="T86" fmla="*/ 122 w 161"/>
                <a:gd name="T87" fmla="*/ 63 h 96"/>
                <a:gd name="T88" fmla="*/ 122 w 161"/>
                <a:gd name="T89" fmla="*/ 72 h 96"/>
                <a:gd name="T90" fmla="*/ 117 w 161"/>
                <a:gd name="T91" fmla="*/ 72 h 96"/>
                <a:gd name="T92" fmla="*/ 113 w 161"/>
                <a:gd name="T93" fmla="*/ 71 h 96"/>
                <a:gd name="T94" fmla="*/ 109 w 161"/>
                <a:gd name="T95" fmla="*/ 74 h 96"/>
                <a:gd name="T96" fmla="*/ 106 w 161"/>
                <a:gd name="T97" fmla="*/ 77 h 96"/>
                <a:gd name="T98" fmla="*/ 99 w 161"/>
                <a:gd name="T99" fmla="*/ 77 h 96"/>
                <a:gd name="T100" fmla="*/ 95 w 161"/>
                <a:gd name="T101" fmla="*/ 82 h 96"/>
                <a:gd name="T102" fmla="*/ 92 w 161"/>
                <a:gd name="T103" fmla="*/ 87 h 96"/>
                <a:gd name="T104" fmla="*/ 89 w 161"/>
                <a:gd name="T105" fmla="*/ 9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61" h="96">
                  <a:moveTo>
                    <a:pt x="9" y="96"/>
                  </a:moveTo>
                  <a:lnTo>
                    <a:pt x="11" y="94"/>
                  </a:lnTo>
                  <a:lnTo>
                    <a:pt x="11" y="93"/>
                  </a:lnTo>
                  <a:lnTo>
                    <a:pt x="12" y="93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2" y="90"/>
                  </a:lnTo>
                  <a:lnTo>
                    <a:pt x="11" y="88"/>
                  </a:lnTo>
                  <a:lnTo>
                    <a:pt x="12" y="87"/>
                  </a:lnTo>
                  <a:lnTo>
                    <a:pt x="12" y="85"/>
                  </a:lnTo>
                  <a:lnTo>
                    <a:pt x="14" y="85"/>
                  </a:lnTo>
                  <a:lnTo>
                    <a:pt x="16" y="85"/>
                  </a:lnTo>
                  <a:lnTo>
                    <a:pt x="17" y="85"/>
                  </a:lnTo>
                  <a:lnTo>
                    <a:pt x="17" y="83"/>
                  </a:lnTo>
                  <a:lnTo>
                    <a:pt x="16" y="82"/>
                  </a:lnTo>
                  <a:lnTo>
                    <a:pt x="17" y="80"/>
                  </a:lnTo>
                  <a:lnTo>
                    <a:pt x="16" y="79"/>
                  </a:lnTo>
                  <a:lnTo>
                    <a:pt x="14" y="77"/>
                  </a:lnTo>
                  <a:lnTo>
                    <a:pt x="14" y="76"/>
                  </a:lnTo>
                  <a:lnTo>
                    <a:pt x="12" y="74"/>
                  </a:lnTo>
                  <a:lnTo>
                    <a:pt x="11" y="72"/>
                  </a:lnTo>
                  <a:lnTo>
                    <a:pt x="8" y="72"/>
                  </a:lnTo>
                  <a:lnTo>
                    <a:pt x="5" y="71"/>
                  </a:lnTo>
                  <a:lnTo>
                    <a:pt x="5" y="69"/>
                  </a:lnTo>
                  <a:lnTo>
                    <a:pt x="3" y="68"/>
                  </a:lnTo>
                  <a:lnTo>
                    <a:pt x="8" y="68"/>
                  </a:lnTo>
                  <a:lnTo>
                    <a:pt x="11" y="68"/>
                  </a:lnTo>
                  <a:lnTo>
                    <a:pt x="12" y="68"/>
                  </a:lnTo>
                  <a:lnTo>
                    <a:pt x="16" y="66"/>
                  </a:lnTo>
                  <a:lnTo>
                    <a:pt x="19" y="68"/>
                  </a:lnTo>
                  <a:lnTo>
                    <a:pt x="20" y="68"/>
                  </a:lnTo>
                  <a:lnTo>
                    <a:pt x="20" y="65"/>
                  </a:lnTo>
                  <a:lnTo>
                    <a:pt x="22" y="63"/>
                  </a:lnTo>
                  <a:lnTo>
                    <a:pt x="20" y="60"/>
                  </a:lnTo>
                  <a:lnTo>
                    <a:pt x="22" y="60"/>
                  </a:lnTo>
                  <a:lnTo>
                    <a:pt x="19" y="60"/>
                  </a:lnTo>
                  <a:lnTo>
                    <a:pt x="16" y="58"/>
                  </a:lnTo>
                  <a:lnTo>
                    <a:pt x="14" y="58"/>
                  </a:lnTo>
                  <a:lnTo>
                    <a:pt x="11" y="58"/>
                  </a:lnTo>
                  <a:lnTo>
                    <a:pt x="8" y="58"/>
                  </a:lnTo>
                  <a:lnTo>
                    <a:pt x="9" y="55"/>
                  </a:lnTo>
                  <a:lnTo>
                    <a:pt x="9" y="54"/>
                  </a:lnTo>
                  <a:lnTo>
                    <a:pt x="9" y="51"/>
                  </a:lnTo>
                  <a:lnTo>
                    <a:pt x="11" y="49"/>
                  </a:lnTo>
                  <a:lnTo>
                    <a:pt x="11" y="46"/>
                  </a:lnTo>
                  <a:lnTo>
                    <a:pt x="9" y="44"/>
                  </a:lnTo>
                  <a:lnTo>
                    <a:pt x="11" y="43"/>
                  </a:lnTo>
                  <a:lnTo>
                    <a:pt x="12" y="41"/>
                  </a:lnTo>
                  <a:lnTo>
                    <a:pt x="11" y="40"/>
                  </a:lnTo>
                  <a:lnTo>
                    <a:pt x="9" y="38"/>
                  </a:lnTo>
                  <a:lnTo>
                    <a:pt x="8" y="36"/>
                  </a:lnTo>
                  <a:lnTo>
                    <a:pt x="8" y="33"/>
                  </a:lnTo>
                  <a:lnTo>
                    <a:pt x="9" y="33"/>
                  </a:lnTo>
                  <a:lnTo>
                    <a:pt x="9" y="30"/>
                  </a:lnTo>
                  <a:lnTo>
                    <a:pt x="5" y="27"/>
                  </a:lnTo>
                  <a:lnTo>
                    <a:pt x="3" y="24"/>
                  </a:lnTo>
                  <a:lnTo>
                    <a:pt x="2" y="21"/>
                  </a:lnTo>
                  <a:lnTo>
                    <a:pt x="3" y="16"/>
                  </a:lnTo>
                  <a:lnTo>
                    <a:pt x="5" y="13"/>
                  </a:lnTo>
                  <a:lnTo>
                    <a:pt x="2" y="10"/>
                  </a:lnTo>
                  <a:lnTo>
                    <a:pt x="0" y="7"/>
                  </a:lnTo>
                  <a:lnTo>
                    <a:pt x="5" y="5"/>
                  </a:lnTo>
                  <a:lnTo>
                    <a:pt x="8" y="5"/>
                  </a:lnTo>
                  <a:lnTo>
                    <a:pt x="9" y="0"/>
                  </a:lnTo>
                  <a:lnTo>
                    <a:pt x="61" y="0"/>
                  </a:lnTo>
                  <a:lnTo>
                    <a:pt x="133" y="0"/>
                  </a:lnTo>
                  <a:lnTo>
                    <a:pt x="133" y="5"/>
                  </a:lnTo>
                  <a:lnTo>
                    <a:pt x="136" y="7"/>
                  </a:lnTo>
                  <a:lnTo>
                    <a:pt x="136" y="8"/>
                  </a:lnTo>
                  <a:lnTo>
                    <a:pt x="138" y="7"/>
                  </a:lnTo>
                  <a:lnTo>
                    <a:pt x="138" y="8"/>
                  </a:lnTo>
                  <a:lnTo>
                    <a:pt x="139" y="8"/>
                  </a:lnTo>
                  <a:lnTo>
                    <a:pt x="141" y="8"/>
                  </a:lnTo>
                  <a:lnTo>
                    <a:pt x="142" y="8"/>
                  </a:lnTo>
                  <a:lnTo>
                    <a:pt x="144" y="10"/>
                  </a:lnTo>
                  <a:lnTo>
                    <a:pt x="142" y="10"/>
                  </a:lnTo>
                  <a:lnTo>
                    <a:pt x="142" y="11"/>
                  </a:lnTo>
                  <a:lnTo>
                    <a:pt x="141" y="11"/>
                  </a:lnTo>
                  <a:lnTo>
                    <a:pt x="141" y="13"/>
                  </a:lnTo>
                  <a:lnTo>
                    <a:pt x="142" y="13"/>
                  </a:lnTo>
                  <a:lnTo>
                    <a:pt x="144" y="13"/>
                  </a:lnTo>
                  <a:lnTo>
                    <a:pt x="146" y="13"/>
                  </a:lnTo>
                  <a:lnTo>
                    <a:pt x="147" y="13"/>
                  </a:lnTo>
                  <a:lnTo>
                    <a:pt x="149" y="13"/>
                  </a:lnTo>
                  <a:lnTo>
                    <a:pt x="150" y="13"/>
                  </a:lnTo>
                  <a:lnTo>
                    <a:pt x="152" y="11"/>
                  </a:lnTo>
                  <a:lnTo>
                    <a:pt x="152" y="10"/>
                  </a:lnTo>
                  <a:lnTo>
                    <a:pt x="150" y="8"/>
                  </a:lnTo>
                  <a:lnTo>
                    <a:pt x="149" y="10"/>
                  </a:lnTo>
                  <a:lnTo>
                    <a:pt x="147" y="10"/>
                  </a:lnTo>
                  <a:lnTo>
                    <a:pt x="146" y="8"/>
                  </a:lnTo>
                  <a:lnTo>
                    <a:pt x="147" y="8"/>
                  </a:lnTo>
                  <a:lnTo>
                    <a:pt x="149" y="8"/>
                  </a:lnTo>
                  <a:lnTo>
                    <a:pt x="152" y="7"/>
                  </a:lnTo>
                  <a:lnTo>
                    <a:pt x="153" y="7"/>
                  </a:lnTo>
                  <a:lnTo>
                    <a:pt x="155" y="5"/>
                  </a:lnTo>
                  <a:lnTo>
                    <a:pt x="157" y="5"/>
                  </a:lnTo>
                  <a:lnTo>
                    <a:pt x="158" y="5"/>
                  </a:lnTo>
                  <a:lnTo>
                    <a:pt x="160" y="7"/>
                  </a:lnTo>
                  <a:lnTo>
                    <a:pt x="160" y="8"/>
                  </a:lnTo>
                  <a:lnTo>
                    <a:pt x="160" y="10"/>
                  </a:lnTo>
                  <a:lnTo>
                    <a:pt x="161" y="10"/>
                  </a:lnTo>
                  <a:lnTo>
                    <a:pt x="161" y="11"/>
                  </a:lnTo>
                  <a:lnTo>
                    <a:pt x="161" y="13"/>
                  </a:lnTo>
                  <a:lnTo>
                    <a:pt x="161" y="14"/>
                  </a:lnTo>
                  <a:lnTo>
                    <a:pt x="161" y="16"/>
                  </a:lnTo>
                  <a:lnTo>
                    <a:pt x="161" y="14"/>
                  </a:lnTo>
                  <a:lnTo>
                    <a:pt x="161" y="13"/>
                  </a:lnTo>
                  <a:lnTo>
                    <a:pt x="161" y="11"/>
                  </a:lnTo>
                  <a:lnTo>
                    <a:pt x="160" y="10"/>
                  </a:lnTo>
                  <a:lnTo>
                    <a:pt x="160" y="11"/>
                  </a:lnTo>
                  <a:lnTo>
                    <a:pt x="160" y="13"/>
                  </a:lnTo>
                  <a:lnTo>
                    <a:pt x="160" y="14"/>
                  </a:lnTo>
                  <a:lnTo>
                    <a:pt x="160" y="16"/>
                  </a:lnTo>
                  <a:lnTo>
                    <a:pt x="161" y="18"/>
                  </a:lnTo>
                  <a:lnTo>
                    <a:pt x="160" y="19"/>
                  </a:lnTo>
                  <a:lnTo>
                    <a:pt x="160" y="21"/>
                  </a:lnTo>
                  <a:lnTo>
                    <a:pt x="157" y="22"/>
                  </a:lnTo>
                  <a:lnTo>
                    <a:pt x="153" y="22"/>
                  </a:lnTo>
                  <a:lnTo>
                    <a:pt x="152" y="22"/>
                  </a:lnTo>
                  <a:lnTo>
                    <a:pt x="150" y="24"/>
                  </a:lnTo>
                  <a:lnTo>
                    <a:pt x="150" y="22"/>
                  </a:lnTo>
                  <a:lnTo>
                    <a:pt x="149" y="21"/>
                  </a:lnTo>
                  <a:lnTo>
                    <a:pt x="149" y="19"/>
                  </a:lnTo>
                  <a:lnTo>
                    <a:pt x="149" y="16"/>
                  </a:lnTo>
                  <a:lnTo>
                    <a:pt x="149" y="18"/>
                  </a:lnTo>
                  <a:lnTo>
                    <a:pt x="147" y="16"/>
                  </a:lnTo>
                  <a:lnTo>
                    <a:pt x="147" y="14"/>
                  </a:lnTo>
                  <a:lnTo>
                    <a:pt x="146" y="14"/>
                  </a:lnTo>
                  <a:lnTo>
                    <a:pt x="144" y="14"/>
                  </a:lnTo>
                  <a:lnTo>
                    <a:pt x="142" y="14"/>
                  </a:lnTo>
                  <a:lnTo>
                    <a:pt x="141" y="14"/>
                  </a:lnTo>
                  <a:lnTo>
                    <a:pt x="141" y="16"/>
                  </a:lnTo>
                  <a:lnTo>
                    <a:pt x="138" y="16"/>
                  </a:lnTo>
                  <a:lnTo>
                    <a:pt x="136" y="18"/>
                  </a:lnTo>
                  <a:lnTo>
                    <a:pt x="135" y="18"/>
                  </a:lnTo>
                  <a:lnTo>
                    <a:pt x="135" y="19"/>
                  </a:lnTo>
                  <a:lnTo>
                    <a:pt x="133" y="19"/>
                  </a:lnTo>
                  <a:lnTo>
                    <a:pt x="133" y="21"/>
                  </a:lnTo>
                  <a:lnTo>
                    <a:pt x="136" y="22"/>
                  </a:lnTo>
                  <a:lnTo>
                    <a:pt x="138" y="22"/>
                  </a:lnTo>
                  <a:lnTo>
                    <a:pt x="139" y="24"/>
                  </a:lnTo>
                  <a:lnTo>
                    <a:pt x="141" y="25"/>
                  </a:lnTo>
                  <a:lnTo>
                    <a:pt x="142" y="25"/>
                  </a:lnTo>
                  <a:lnTo>
                    <a:pt x="144" y="25"/>
                  </a:lnTo>
                  <a:lnTo>
                    <a:pt x="146" y="25"/>
                  </a:lnTo>
                  <a:lnTo>
                    <a:pt x="146" y="27"/>
                  </a:lnTo>
                  <a:lnTo>
                    <a:pt x="144" y="27"/>
                  </a:lnTo>
                  <a:lnTo>
                    <a:pt x="142" y="29"/>
                  </a:lnTo>
                  <a:lnTo>
                    <a:pt x="141" y="29"/>
                  </a:lnTo>
                  <a:lnTo>
                    <a:pt x="138" y="29"/>
                  </a:lnTo>
                  <a:lnTo>
                    <a:pt x="136" y="30"/>
                  </a:lnTo>
                  <a:lnTo>
                    <a:pt x="135" y="32"/>
                  </a:lnTo>
                  <a:lnTo>
                    <a:pt x="133" y="32"/>
                  </a:lnTo>
                  <a:lnTo>
                    <a:pt x="133" y="33"/>
                  </a:lnTo>
                  <a:lnTo>
                    <a:pt x="131" y="33"/>
                  </a:lnTo>
                  <a:lnTo>
                    <a:pt x="133" y="36"/>
                  </a:lnTo>
                  <a:lnTo>
                    <a:pt x="130" y="36"/>
                  </a:lnTo>
                  <a:lnTo>
                    <a:pt x="128" y="40"/>
                  </a:lnTo>
                  <a:lnTo>
                    <a:pt x="127" y="43"/>
                  </a:lnTo>
                  <a:lnTo>
                    <a:pt x="127" y="46"/>
                  </a:lnTo>
                  <a:lnTo>
                    <a:pt x="128" y="49"/>
                  </a:lnTo>
                  <a:lnTo>
                    <a:pt x="130" y="51"/>
                  </a:lnTo>
                  <a:lnTo>
                    <a:pt x="128" y="51"/>
                  </a:lnTo>
                  <a:lnTo>
                    <a:pt x="130" y="54"/>
                  </a:lnTo>
                  <a:lnTo>
                    <a:pt x="130" y="55"/>
                  </a:lnTo>
                  <a:lnTo>
                    <a:pt x="130" y="57"/>
                  </a:lnTo>
                  <a:lnTo>
                    <a:pt x="130" y="58"/>
                  </a:lnTo>
                  <a:lnTo>
                    <a:pt x="130" y="60"/>
                  </a:lnTo>
                  <a:lnTo>
                    <a:pt x="128" y="60"/>
                  </a:lnTo>
                  <a:lnTo>
                    <a:pt x="128" y="62"/>
                  </a:lnTo>
                  <a:lnTo>
                    <a:pt x="127" y="62"/>
                  </a:lnTo>
                  <a:lnTo>
                    <a:pt x="125" y="62"/>
                  </a:lnTo>
                  <a:lnTo>
                    <a:pt x="125" y="63"/>
                  </a:lnTo>
                  <a:lnTo>
                    <a:pt x="124" y="63"/>
                  </a:lnTo>
                  <a:lnTo>
                    <a:pt x="122" y="63"/>
                  </a:lnTo>
                  <a:lnTo>
                    <a:pt x="122" y="65"/>
                  </a:lnTo>
                  <a:lnTo>
                    <a:pt x="122" y="69"/>
                  </a:lnTo>
                  <a:lnTo>
                    <a:pt x="124" y="71"/>
                  </a:lnTo>
                  <a:lnTo>
                    <a:pt x="122" y="72"/>
                  </a:lnTo>
                  <a:lnTo>
                    <a:pt x="120" y="72"/>
                  </a:lnTo>
                  <a:lnTo>
                    <a:pt x="119" y="74"/>
                  </a:lnTo>
                  <a:lnTo>
                    <a:pt x="119" y="72"/>
                  </a:lnTo>
                  <a:lnTo>
                    <a:pt x="117" y="72"/>
                  </a:lnTo>
                  <a:lnTo>
                    <a:pt x="116" y="72"/>
                  </a:lnTo>
                  <a:lnTo>
                    <a:pt x="114" y="72"/>
                  </a:lnTo>
                  <a:lnTo>
                    <a:pt x="113" y="72"/>
                  </a:lnTo>
                  <a:lnTo>
                    <a:pt x="113" y="71"/>
                  </a:lnTo>
                  <a:lnTo>
                    <a:pt x="111" y="71"/>
                  </a:lnTo>
                  <a:lnTo>
                    <a:pt x="109" y="71"/>
                  </a:lnTo>
                  <a:lnTo>
                    <a:pt x="109" y="72"/>
                  </a:lnTo>
                  <a:lnTo>
                    <a:pt x="109" y="74"/>
                  </a:lnTo>
                  <a:lnTo>
                    <a:pt x="108" y="74"/>
                  </a:lnTo>
                  <a:lnTo>
                    <a:pt x="106" y="74"/>
                  </a:lnTo>
                  <a:lnTo>
                    <a:pt x="106" y="76"/>
                  </a:lnTo>
                  <a:lnTo>
                    <a:pt x="106" y="77"/>
                  </a:lnTo>
                  <a:lnTo>
                    <a:pt x="106" y="76"/>
                  </a:lnTo>
                  <a:lnTo>
                    <a:pt x="106" y="77"/>
                  </a:lnTo>
                  <a:lnTo>
                    <a:pt x="102" y="77"/>
                  </a:lnTo>
                  <a:lnTo>
                    <a:pt x="99" y="77"/>
                  </a:lnTo>
                  <a:lnTo>
                    <a:pt x="97" y="79"/>
                  </a:lnTo>
                  <a:lnTo>
                    <a:pt x="95" y="79"/>
                  </a:lnTo>
                  <a:lnTo>
                    <a:pt x="95" y="80"/>
                  </a:lnTo>
                  <a:lnTo>
                    <a:pt x="95" y="82"/>
                  </a:lnTo>
                  <a:lnTo>
                    <a:pt x="95" y="83"/>
                  </a:lnTo>
                  <a:lnTo>
                    <a:pt x="94" y="83"/>
                  </a:lnTo>
                  <a:lnTo>
                    <a:pt x="95" y="85"/>
                  </a:lnTo>
                  <a:lnTo>
                    <a:pt x="92" y="87"/>
                  </a:lnTo>
                  <a:lnTo>
                    <a:pt x="91" y="88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89" y="93"/>
                  </a:lnTo>
                  <a:lnTo>
                    <a:pt x="88" y="94"/>
                  </a:lnTo>
                  <a:lnTo>
                    <a:pt x="86" y="96"/>
                  </a:lnTo>
                  <a:lnTo>
                    <a:pt x="9" y="96"/>
                  </a:lnTo>
                </a:path>
              </a:pathLst>
            </a:custGeom>
            <a:solidFill>
              <a:schemeClr val="bg2">
                <a:lumMod val="10000"/>
                <a:lumOff val="90000"/>
              </a:schemeClr>
            </a:solidFill>
            <a:ln w="0">
              <a:solidFill>
                <a:srgbClr val="25221E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algn="ctr" eaLnBrk="0" hangingPunct="0">
                <a:defRPr/>
              </a:pPr>
              <a:endParaRPr lang="es-AR" sz="1200" b="1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43" name="Freeform 17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314556" y="5079403"/>
              <a:ext cx="1066942" cy="1097860"/>
            </a:xfrm>
            <a:custGeom>
              <a:avLst/>
              <a:gdLst>
                <a:gd name="T0" fmla="*/ 32 w 144"/>
                <a:gd name="T1" fmla="*/ 6 h 155"/>
                <a:gd name="T2" fmla="*/ 26 w 144"/>
                <a:gd name="T3" fmla="*/ 23 h 155"/>
                <a:gd name="T4" fmla="*/ 27 w 144"/>
                <a:gd name="T5" fmla="*/ 30 h 155"/>
                <a:gd name="T6" fmla="*/ 18 w 144"/>
                <a:gd name="T7" fmla="*/ 48 h 155"/>
                <a:gd name="T8" fmla="*/ 18 w 144"/>
                <a:gd name="T9" fmla="*/ 61 h 155"/>
                <a:gd name="T10" fmla="*/ 15 w 144"/>
                <a:gd name="T11" fmla="*/ 74 h 155"/>
                <a:gd name="T12" fmla="*/ 8 w 144"/>
                <a:gd name="T13" fmla="*/ 80 h 155"/>
                <a:gd name="T14" fmla="*/ 5 w 144"/>
                <a:gd name="T15" fmla="*/ 91 h 155"/>
                <a:gd name="T16" fmla="*/ 4 w 144"/>
                <a:gd name="T17" fmla="*/ 103 h 155"/>
                <a:gd name="T18" fmla="*/ 10 w 144"/>
                <a:gd name="T19" fmla="*/ 119 h 155"/>
                <a:gd name="T20" fmla="*/ 22 w 144"/>
                <a:gd name="T21" fmla="*/ 113 h 155"/>
                <a:gd name="T22" fmla="*/ 27 w 144"/>
                <a:gd name="T23" fmla="*/ 122 h 155"/>
                <a:gd name="T24" fmla="*/ 24 w 144"/>
                <a:gd name="T25" fmla="*/ 130 h 155"/>
                <a:gd name="T26" fmla="*/ 21 w 144"/>
                <a:gd name="T27" fmla="*/ 136 h 155"/>
                <a:gd name="T28" fmla="*/ 35 w 144"/>
                <a:gd name="T29" fmla="*/ 143 h 155"/>
                <a:gd name="T30" fmla="*/ 36 w 144"/>
                <a:gd name="T31" fmla="*/ 144 h 155"/>
                <a:gd name="T32" fmla="*/ 80 w 144"/>
                <a:gd name="T33" fmla="*/ 149 h 155"/>
                <a:gd name="T34" fmla="*/ 90 w 144"/>
                <a:gd name="T35" fmla="*/ 150 h 155"/>
                <a:gd name="T36" fmla="*/ 96 w 144"/>
                <a:gd name="T37" fmla="*/ 152 h 155"/>
                <a:gd name="T38" fmla="*/ 104 w 144"/>
                <a:gd name="T39" fmla="*/ 152 h 155"/>
                <a:gd name="T40" fmla="*/ 85 w 144"/>
                <a:gd name="T41" fmla="*/ 132 h 155"/>
                <a:gd name="T42" fmla="*/ 82 w 144"/>
                <a:gd name="T43" fmla="*/ 114 h 155"/>
                <a:gd name="T44" fmla="*/ 83 w 144"/>
                <a:gd name="T45" fmla="*/ 108 h 155"/>
                <a:gd name="T46" fmla="*/ 88 w 144"/>
                <a:gd name="T47" fmla="*/ 102 h 155"/>
                <a:gd name="T48" fmla="*/ 94 w 144"/>
                <a:gd name="T49" fmla="*/ 99 h 155"/>
                <a:gd name="T50" fmla="*/ 105 w 144"/>
                <a:gd name="T51" fmla="*/ 96 h 155"/>
                <a:gd name="T52" fmla="*/ 107 w 144"/>
                <a:gd name="T53" fmla="*/ 88 h 155"/>
                <a:gd name="T54" fmla="*/ 110 w 144"/>
                <a:gd name="T55" fmla="*/ 81 h 155"/>
                <a:gd name="T56" fmla="*/ 110 w 144"/>
                <a:gd name="T57" fmla="*/ 78 h 155"/>
                <a:gd name="T58" fmla="*/ 109 w 144"/>
                <a:gd name="T59" fmla="*/ 80 h 155"/>
                <a:gd name="T60" fmla="*/ 112 w 144"/>
                <a:gd name="T61" fmla="*/ 75 h 155"/>
                <a:gd name="T62" fmla="*/ 110 w 144"/>
                <a:gd name="T63" fmla="*/ 72 h 155"/>
                <a:gd name="T64" fmla="*/ 115 w 144"/>
                <a:gd name="T65" fmla="*/ 69 h 155"/>
                <a:gd name="T66" fmla="*/ 118 w 144"/>
                <a:gd name="T67" fmla="*/ 66 h 155"/>
                <a:gd name="T68" fmla="*/ 121 w 144"/>
                <a:gd name="T69" fmla="*/ 61 h 155"/>
                <a:gd name="T70" fmla="*/ 130 w 144"/>
                <a:gd name="T71" fmla="*/ 58 h 155"/>
                <a:gd name="T72" fmla="*/ 132 w 144"/>
                <a:gd name="T73" fmla="*/ 55 h 155"/>
                <a:gd name="T74" fmla="*/ 137 w 144"/>
                <a:gd name="T75" fmla="*/ 50 h 155"/>
                <a:gd name="T76" fmla="*/ 140 w 144"/>
                <a:gd name="T77" fmla="*/ 47 h 155"/>
                <a:gd name="T78" fmla="*/ 143 w 144"/>
                <a:gd name="T79" fmla="*/ 47 h 155"/>
                <a:gd name="T80" fmla="*/ 141 w 144"/>
                <a:gd name="T81" fmla="*/ 44 h 155"/>
                <a:gd name="T82" fmla="*/ 144 w 144"/>
                <a:gd name="T83" fmla="*/ 41 h 155"/>
                <a:gd name="T84" fmla="*/ 144 w 144"/>
                <a:gd name="T85" fmla="*/ 34 h 155"/>
                <a:gd name="T86" fmla="*/ 144 w 144"/>
                <a:gd name="T87" fmla="*/ 30 h 155"/>
                <a:gd name="T88" fmla="*/ 138 w 144"/>
                <a:gd name="T89" fmla="*/ 27 h 155"/>
                <a:gd name="T90" fmla="*/ 129 w 144"/>
                <a:gd name="T91" fmla="*/ 25 h 155"/>
                <a:gd name="T92" fmla="*/ 121 w 144"/>
                <a:gd name="T93" fmla="*/ 20 h 155"/>
                <a:gd name="T94" fmla="*/ 115 w 144"/>
                <a:gd name="T95" fmla="*/ 16 h 155"/>
                <a:gd name="T96" fmla="*/ 110 w 144"/>
                <a:gd name="T97" fmla="*/ 6 h 155"/>
                <a:gd name="T98" fmla="*/ 110 w 144"/>
                <a:gd name="T99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44" h="155">
                  <a:moveTo>
                    <a:pt x="33" y="0"/>
                  </a:moveTo>
                  <a:lnTo>
                    <a:pt x="30" y="3"/>
                  </a:lnTo>
                  <a:lnTo>
                    <a:pt x="32" y="6"/>
                  </a:lnTo>
                  <a:lnTo>
                    <a:pt x="32" y="9"/>
                  </a:lnTo>
                  <a:lnTo>
                    <a:pt x="35" y="19"/>
                  </a:lnTo>
                  <a:lnTo>
                    <a:pt x="26" y="23"/>
                  </a:lnTo>
                  <a:lnTo>
                    <a:pt x="27" y="27"/>
                  </a:lnTo>
                  <a:lnTo>
                    <a:pt x="29" y="31"/>
                  </a:lnTo>
                  <a:lnTo>
                    <a:pt x="27" y="30"/>
                  </a:lnTo>
                  <a:lnTo>
                    <a:pt x="27" y="33"/>
                  </a:lnTo>
                  <a:lnTo>
                    <a:pt x="21" y="39"/>
                  </a:lnTo>
                  <a:lnTo>
                    <a:pt x="18" y="48"/>
                  </a:lnTo>
                  <a:lnTo>
                    <a:pt x="22" y="53"/>
                  </a:lnTo>
                  <a:lnTo>
                    <a:pt x="22" y="58"/>
                  </a:lnTo>
                  <a:lnTo>
                    <a:pt x="18" y="61"/>
                  </a:lnTo>
                  <a:lnTo>
                    <a:pt x="19" y="70"/>
                  </a:lnTo>
                  <a:lnTo>
                    <a:pt x="16" y="70"/>
                  </a:lnTo>
                  <a:lnTo>
                    <a:pt x="15" y="74"/>
                  </a:lnTo>
                  <a:lnTo>
                    <a:pt x="11" y="74"/>
                  </a:lnTo>
                  <a:lnTo>
                    <a:pt x="7" y="78"/>
                  </a:lnTo>
                  <a:lnTo>
                    <a:pt x="8" y="80"/>
                  </a:lnTo>
                  <a:lnTo>
                    <a:pt x="5" y="80"/>
                  </a:lnTo>
                  <a:lnTo>
                    <a:pt x="0" y="88"/>
                  </a:lnTo>
                  <a:lnTo>
                    <a:pt x="5" y="91"/>
                  </a:lnTo>
                  <a:lnTo>
                    <a:pt x="4" y="96"/>
                  </a:lnTo>
                  <a:lnTo>
                    <a:pt x="4" y="97"/>
                  </a:lnTo>
                  <a:lnTo>
                    <a:pt x="4" y="103"/>
                  </a:lnTo>
                  <a:lnTo>
                    <a:pt x="4" y="110"/>
                  </a:lnTo>
                  <a:lnTo>
                    <a:pt x="8" y="113"/>
                  </a:lnTo>
                  <a:lnTo>
                    <a:pt x="10" y="119"/>
                  </a:lnTo>
                  <a:lnTo>
                    <a:pt x="18" y="114"/>
                  </a:lnTo>
                  <a:lnTo>
                    <a:pt x="21" y="114"/>
                  </a:lnTo>
                  <a:lnTo>
                    <a:pt x="22" y="113"/>
                  </a:lnTo>
                  <a:lnTo>
                    <a:pt x="26" y="114"/>
                  </a:lnTo>
                  <a:lnTo>
                    <a:pt x="26" y="116"/>
                  </a:lnTo>
                  <a:lnTo>
                    <a:pt x="27" y="122"/>
                  </a:lnTo>
                  <a:lnTo>
                    <a:pt x="22" y="124"/>
                  </a:lnTo>
                  <a:lnTo>
                    <a:pt x="26" y="129"/>
                  </a:lnTo>
                  <a:lnTo>
                    <a:pt x="24" y="130"/>
                  </a:lnTo>
                  <a:lnTo>
                    <a:pt x="22" y="133"/>
                  </a:lnTo>
                  <a:lnTo>
                    <a:pt x="26" y="133"/>
                  </a:lnTo>
                  <a:lnTo>
                    <a:pt x="21" y="136"/>
                  </a:lnTo>
                  <a:lnTo>
                    <a:pt x="27" y="138"/>
                  </a:lnTo>
                  <a:lnTo>
                    <a:pt x="30" y="139"/>
                  </a:lnTo>
                  <a:lnTo>
                    <a:pt x="35" y="143"/>
                  </a:lnTo>
                  <a:lnTo>
                    <a:pt x="33" y="144"/>
                  </a:lnTo>
                  <a:lnTo>
                    <a:pt x="35" y="146"/>
                  </a:lnTo>
                  <a:lnTo>
                    <a:pt x="36" y="144"/>
                  </a:lnTo>
                  <a:lnTo>
                    <a:pt x="66" y="144"/>
                  </a:lnTo>
                  <a:lnTo>
                    <a:pt x="72" y="147"/>
                  </a:lnTo>
                  <a:lnTo>
                    <a:pt x="80" y="149"/>
                  </a:lnTo>
                  <a:lnTo>
                    <a:pt x="83" y="149"/>
                  </a:lnTo>
                  <a:lnTo>
                    <a:pt x="85" y="149"/>
                  </a:lnTo>
                  <a:lnTo>
                    <a:pt x="90" y="150"/>
                  </a:lnTo>
                  <a:lnTo>
                    <a:pt x="93" y="150"/>
                  </a:lnTo>
                  <a:lnTo>
                    <a:pt x="94" y="152"/>
                  </a:lnTo>
                  <a:lnTo>
                    <a:pt x="96" y="152"/>
                  </a:lnTo>
                  <a:lnTo>
                    <a:pt x="101" y="153"/>
                  </a:lnTo>
                  <a:lnTo>
                    <a:pt x="102" y="155"/>
                  </a:lnTo>
                  <a:lnTo>
                    <a:pt x="104" y="152"/>
                  </a:lnTo>
                  <a:lnTo>
                    <a:pt x="85" y="135"/>
                  </a:lnTo>
                  <a:lnTo>
                    <a:pt x="85" y="133"/>
                  </a:lnTo>
                  <a:lnTo>
                    <a:pt x="85" y="132"/>
                  </a:lnTo>
                  <a:lnTo>
                    <a:pt x="80" y="119"/>
                  </a:lnTo>
                  <a:lnTo>
                    <a:pt x="82" y="118"/>
                  </a:lnTo>
                  <a:lnTo>
                    <a:pt x="82" y="114"/>
                  </a:lnTo>
                  <a:lnTo>
                    <a:pt x="82" y="113"/>
                  </a:lnTo>
                  <a:lnTo>
                    <a:pt x="82" y="110"/>
                  </a:lnTo>
                  <a:lnTo>
                    <a:pt x="83" y="108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2"/>
                  </a:lnTo>
                  <a:lnTo>
                    <a:pt x="90" y="102"/>
                  </a:lnTo>
                  <a:lnTo>
                    <a:pt x="93" y="100"/>
                  </a:lnTo>
                  <a:lnTo>
                    <a:pt x="94" y="99"/>
                  </a:lnTo>
                  <a:lnTo>
                    <a:pt x="98" y="99"/>
                  </a:lnTo>
                  <a:lnTo>
                    <a:pt x="102" y="97"/>
                  </a:lnTo>
                  <a:lnTo>
                    <a:pt x="105" y="96"/>
                  </a:lnTo>
                  <a:lnTo>
                    <a:pt x="105" y="92"/>
                  </a:lnTo>
                  <a:lnTo>
                    <a:pt x="107" y="91"/>
                  </a:lnTo>
                  <a:lnTo>
                    <a:pt x="107" y="88"/>
                  </a:lnTo>
                  <a:lnTo>
                    <a:pt x="109" y="85"/>
                  </a:lnTo>
                  <a:lnTo>
                    <a:pt x="110" y="83"/>
                  </a:lnTo>
                  <a:lnTo>
                    <a:pt x="110" y="81"/>
                  </a:lnTo>
                  <a:lnTo>
                    <a:pt x="112" y="78"/>
                  </a:lnTo>
                  <a:lnTo>
                    <a:pt x="112" y="77"/>
                  </a:lnTo>
                  <a:lnTo>
                    <a:pt x="110" y="78"/>
                  </a:lnTo>
                  <a:lnTo>
                    <a:pt x="110" y="80"/>
                  </a:lnTo>
                  <a:lnTo>
                    <a:pt x="109" y="81"/>
                  </a:lnTo>
                  <a:lnTo>
                    <a:pt x="109" y="80"/>
                  </a:lnTo>
                  <a:lnTo>
                    <a:pt x="109" y="78"/>
                  </a:lnTo>
                  <a:lnTo>
                    <a:pt x="110" y="77"/>
                  </a:lnTo>
                  <a:lnTo>
                    <a:pt x="112" y="75"/>
                  </a:lnTo>
                  <a:lnTo>
                    <a:pt x="110" y="75"/>
                  </a:lnTo>
                  <a:lnTo>
                    <a:pt x="110" y="74"/>
                  </a:lnTo>
                  <a:lnTo>
                    <a:pt x="110" y="72"/>
                  </a:lnTo>
                  <a:lnTo>
                    <a:pt x="112" y="70"/>
                  </a:lnTo>
                  <a:lnTo>
                    <a:pt x="113" y="69"/>
                  </a:lnTo>
                  <a:lnTo>
                    <a:pt x="115" y="69"/>
                  </a:lnTo>
                  <a:lnTo>
                    <a:pt x="116" y="67"/>
                  </a:lnTo>
                  <a:lnTo>
                    <a:pt x="116" y="66"/>
                  </a:lnTo>
                  <a:lnTo>
                    <a:pt x="118" y="66"/>
                  </a:lnTo>
                  <a:lnTo>
                    <a:pt x="118" y="64"/>
                  </a:lnTo>
                  <a:lnTo>
                    <a:pt x="119" y="63"/>
                  </a:lnTo>
                  <a:lnTo>
                    <a:pt x="121" y="61"/>
                  </a:lnTo>
                  <a:lnTo>
                    <a:pt x="123" y="61"/>
                  </a:lnTo>
                  <a:lnTo>
                    <a:pt x="126" y="59"/>
                  </a:lnTo>
                  <a:lnTo>
                    <a:pt x="130" y="58"/>
                  </a:lnTo>
                  <a:lnTo>
                    <a:pt x="130" y="56"/>
                  </a:lnTo>
                  <a:lnTo>
                    <a:pt x="132" y="56"/>
                  </a:lnTo>
                  <a:lnTo>
                    <a:pt x="132" y="55"/>
                  </a:lnTo>
                  <a:lnTo>
                    <a:pt x="133" y="53"/>
                  </a:lnTo>
                  <a:lnTo>
                    <a:pt x="137" y="52"/>
                  </a:lnTo>
                  <a:lnTo>
                    <a:pt x="137" y="50"/>
                  </a:lnTo>
                  <a:lnTo>
                    <a:pt x="140" y="50"/>
                  </a:lnTo>
                  <a:lnTo>
                    <a:pt x="140" y="48"/>
                  </a:lnTo>
                  <a:lnTo>
                    <a:pt x="140" y="47"/>
                  </a:lnTo>
                  <a:lnTo>
                    <a:pt x="141" y="47"/>
                  </a:lnTo>
                  <a:lnTo>
                    <a:pt x="143" y="48"/>
                  </a:lnTo>
                  <a:lnTo>
                    <a:pt x="143" y="47"/>
                  </a:lnTo>
                  <a:lnTo>
                    <a:pt x="144" y="47"/>
                  </a:lnTo>
                  <a:lnTo>
                    <a:pt x="141" y="45"/>
                  </a:lnTo>
                  <a:lnTo>
                    <a:pt x="141" y="44"/>
                  </a:lnTo>
                  <a:lnTo>
                    <a:pt x="141" y="42"/>
                  </a:lnTo>
                  <a:lnTo>
                    <a:pt x="143" y="41"/>
                  </a:lnTo>
                  <a:lnTo>
                    <a:pt x="144" y="41"/>
                  </a:lnTo>
                  <a:lnTo>
                    <a:pt x="144" y="38"/>
                  </a:lnTo>
                  <a:lnTo>
                    <a:pt x="144" y="36"/>
                  </a:lnTo>
                  <a:lnTo>
                    <a:pt x="144" y="34"/>
                  </a:lnTo>
                  <a:lnTo>
                    <a:pt x="144" y="33"/>
                  </a:lnTo>
                  <a:lnTo>
                    <a:pt x="144" y="31"/>
                  </a:lnTo>
                  <a:lnTo>
                    <a:pt x="144" y="30"/>
                  </a:lnTo>
                  <a:lnTo>
                    <a:pt x="141" y="27"/>
                  </a:lnTo>
                  <a:lnTo>
                    <a:pt x="140" y="25"/>
                  </a:lnTo>
                  <a:lnTo>
                    <a:pt x="138" y="27"/>
                  </a:lnTo>
                  <a:lnTo>
                    <a:pt x="132" y="25"/>
                  </a:lnTo>
                  <a:lnTo>
                    <a:pt x="130" y="23"/>
                  </a:lnTo>
                  <a:lnTo>
                    <a:pt x="129" y="25"/>
                  </a:lnTo>
                  <a:lnTo>
                    <a:pt x="124" y="23"/>
                  </a:lnTo>
                  <a:lnTo>
                    <a:pt x="123" y="22"/>
                  </a:lnTo>
                  <a:lnTo>
                    <a:pt x="121" y="20"/>
                  </a:lnTo>
                  <a:lnTo>
                    <a:pt x="119" y="17"/>
                  </a:lnTo>
                  <a:lnTo>
                    <a:pt x="116" y="16"/>
                  </a:lnTo>
                  <a:lnTo>
                    <a:pt x="115" y="16"/>
                  </a:lnTo>
                  <a:lnTo>
                    <a:pt x="113" y="14"/>
                  </a:lnTo>
                  <a:lnTo>
                    <a:pt x="112" y="11"/>
                  </a:lnTo>
                  <a:lnTo>
                    <a:pt x="110" y="6"/>
                  </a:lnTo>
                  <a:lnTo>
                    <a:pt x="109" y="3"/>
                  </a:lnTo>
                  <a:lnTo>
                    <a:pt x="109" y="2"/>
                  </a:lnTo>
                  <a:lnTo>
                    <a:pt x="110" y="0"/>
                  </a:lnTo>
                  <a:lnTo>
                    <a:pt x="33" y="0"/>
                  </a:lnTo>
                </a:path>
              </a:pathLst>
            </a:custGeom>
            <a:solidFill>
              <a:schemeClr val="bg2">
                <a:lumMod val="10000"/>
                <a:lumOff val="90000"/>
              </a:schemeClr>
            </a:solidFill>
            <a:ln w="0">
              <a:solidFill>
                <a:srgbClr val="25221E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algn="ctr" eaLnBrk="0" hangingPunct="0">
                <a:defRPr/>
              </a:pPr>
              <a:endParaRPr lang="es-AR" sz="1200" b="1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44" name="Freeform 18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982455" y="6213879"/>
              <a:ext cx="474387" cy="395895"/>
            </a:xfrm>
            <a:custGeom>
              <a:avLst/>
              <a:gdLst>
                <a:gd name="T0" fmla="*/ 4 w 64"/>
                <a:gd name="T1" fmla="*/ 9 h 56"/>
                <a:gd name="T2" fmla="*/ 8 w 64"/>
                <a:gd name="T3" fmla="*/ 8 h 56"/>
                <a:gd name="T4" fmla="*/ 8 w 64"/>
                <a:gd name="T5" fmla="*/ 9 h 56"/>
                <a:gd name="T6" fmla="*/ 8 w 64"/>
                <a:gd name="T7" fmla="*/ 6 h 56"/>
                <a:gd name="T8" fmla="*/ 1 w 64"/>
                <a:gd name="T9" fmla="*/ 0 h 56"/>
                <a:gd name="T10" fmla="*/ 0 w 64"/>
                <a:gd name="T11" fmla="*/ 53 h 56"/>
                <a:gd name="T12" fmla="*/ 28 w 64"/>
                <a:gd name="T13" fmla="*/ 55 h 56"/>
                <a:gd name="T14" fmla="*/ 42 w 64"/>
                <a:gd name="T15" fmla="*/ 56 h 56"/>
                <a:gd name="T16" fmla="*/ 61 w 64"/>
                <a:gd name="T17" fmla="*/ 55 h 56"/>
                <a:gd name="T18" fmla="*/ 64 w 64"/>
                <a:gd name="T19" fmla="*/ 47 h 56"/>
                <a:gd name="T20" fmla="*/ 54 w 64"/>
                <a:gd name="T21" fmla="*/ 47 h 56"/>
                <a:gd name="T22" fmla="*/ 25 w 64"/>
                <a:gd name="T23" fmla="*/ 33 h 56"/>
                <a:gd name="T24" fmla="*/ 11 w 64"/>
                <a:gd name="T25" fmla="*/ 17 h 56"/>
                <a:gd name="T26" fmla="*/ 4 w 64"/>
                <a:gd name="T27" fmla="*/ 15 h 56"/>
                <a:gd name="T28" fmla="*/ 3 w 64"/>
                <a:gd name="T29" fmla="*/ 11 h 56"/>
                <a:gd name="T30" fmla="*/ 4 w 64"/>
                <a:gd name="T31" fmla="*/ 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56">
                  <a:moveTo>
                    <a:pt x="4" y="9"/>
                  </a:moveTo>
                  <a:lnTo>
                    <a:pt x="8" y="8"/>
                  </a:lnTo>
                  <a:lnTo>
                    <a:pt x="8" y="9"/>
                  </a:lnTo>
                  <a:lnTo>
                    <a:pt x="8" y="6"/>
                  </a:lnTo>
                  <a:lnTo>
                    <a:pt x="1" y="0"/>
                  </a:lnTo>
                  <a:lnTo>
                    <a:pt x="0" y="53"/>
                  </a:lnTo>
                  <a:lnTo>
                    <a:pt x="28" y="55"/>
                  </a:lnTo>
                  <a:lnTo>
                    <a:pt x="42" y="56"/>
                  </a:lnTo>
                  <a:lnTo>
                    <a:pt x="61" y="55"/>
                  </a:lnTo>
                  <a:lnTo>
                    <a:pt x="64" y="47"/>
                  </a:lnTo>
                  <a:lnTo>
                    <a:pt x="54" y="47"/>
                  </a:lnTo>
                  <a:lnTo>
                    <a:pt x="25" y="33"/>
                  </a:lnTo>
                  <a:lnTo>
                    <a:pt x="11" y="17"/>
                  </a:lnTo>
                  <a:lnTo>
                    <a:pt x="4" y="15"/>
                  </a:lnTo>
                  <a:lnTo>
                    <a:pt x="3" y="11"/>
                  </a:lnTo>
                  <a:lnTo>
                    <a:pt x="4" y="9"/>
                  </a:lnTo>
                </a:path>
              </a:pathLst>
            </a:custGeom>
            <a:solidFill>
              <a:schemeClr val="bg2">
                <a:lumMod val="10000"/>
                <a:lumOff val="90000"/>
              </a:schemeClr>
            </a:solidFill>
            <a:ln w="0">
              <a:solidFill>
                <a:srgbClr val="25221E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algn="ctr" eaLnBrk="0" hangingPunct="0">
                <a:defRPr/>
              </a:pPr>
              <a:endParaRPr lang="es-AR" sz="1200" b="1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45" name="Freeform 91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922515" y="1547953"/>
              <a:ext cx="594267" cy="843357"/>
            </a:xfrm>
            <a:custGeom>
              <a:avLst/>
              <a:gdLst>
                <a:gd name="T0" fmla="*/ 73 w 80"/>
                <a:gd name="T1" fmla="*/ 84 h 119"/>
                <a:gd name="T2" fmla="*/ 73 w 80"/>
                <a:gd name="T3" fmla="*/ 70 h 119"/>
                <a:gd name="T4" fmla="*/ 69 w 80"/>
                <a:gd name="T5" fmla="*/ 65 h 119"/>
                <a:gd name="T6" fmla="*/ 64 w 80"/>
                <a:gd name="T7" fmla="*/ 67 h 119"/>
                <a:gd name="T8" fmla="*/ 61 w 80"/>
                <a:gd name="T9" fmla="*/ 67 h 119"/>
                <a:gd name="T10" fmla="*/ 58 w 80"/>
                <a:gd name="T11" fmla="*/ 54 h 119"/>
                <a:gd name="T12" fmla="*/ 61 w 80"/>
                <a:gd name="T13" fmla="*/ 45 h 119"/>
                <a:gd name="T14" fmla="*/ 61 w 80"/>
                <a:gd name="T15" fmla="*/ 39 h 119"/>
                <a:gd name="T16" fmla="*/ 55 w 80"/>
                <a:gd name="T17" fmla="*/ 36 h 119"/>
                <a:gd name="T18" fmla="*/ 56 w 80"/>
                <a:gd name="T19" fmla="*/ 26 h 119"/>
                <a:gd name="T20" fmla="*/ 50 w 80"/>
                <a:gd name="T21" fmla="*/ 28 h 119"/>
                <a:gd name="T22" fmla="*/ 47 w 80"/>
                <a:gd name="T23" fmla="*/ 29 h 119"/>
                <a:gd name="T24" fmla="*/ 39 w 80"/>
                <a:gd name="T25" fmla="*/ 17 h 119"/>
                <a:gd name="T26" fmla="*/ 44 w 80"/>
                <a:gd name="T27" fmla="*/ 11 h 119"/>
                <a:gd name="T28" fmla="*/ 22 w 80"/>
                <a:gd name="T29" fmla="*/ 3 h 119"/>
                <a:gd name="T30" fmla="*/ 6 w 80"/>
                <a:gd name="T31" fmla="*/ 7 h 119"/>
                <a:gd name="T32" fmla="*/ 8 w 80"/>
                <a:gd name="T33" fmla="*/ 12 h 119"/>
                <a:gd name="T34" fmla="*/ 11 w 80"/>
                <a:gd name="T35" fmla="*/ 23 h 119"/>
                <a:gd name="T36" fmla="*/ 8 w 80"/>
                <a:gd name="T37" fmla="*/ 29 h 119"/>
                <a:gd name="T38" fmla="*/ 12 w 80"/>
                <a:gd name="T39" fmla="*/ 42 h 119"/>
                <a:gd name="T40" fmla="*/ 3 w 80"/>
                <a:gd name="T41" fmla="*/ 47 h 119"/>
                <a:gd name="T42" fmla="*/ 3 w 80"/>
                <a:gd name="T43" fmla="*/ 50 h 119"/>
                <a:gd name="T44" fmla="*/ 1 w 80"/>
                <a:gd name="T45" fmla="*/ 56 h 119"/>
                <a:gd name="T46" fmla="*/ 0 w 80"/>
                <a:gd name="T47" fmla="*/ 65 h 119"/>
                <a:gd name="T48" fmla="*/ 6 w 80"/>
                <a:gd name="T49" fmla="*/ 64 h 119"/>
                <a:gd name="T50" fmla="*/ 9 w 80"/>
                <a:gd name="T51" fmla="*/ 62 h 119"/>
                <a:gd name="T52" fmla="*/ 9 w 80"/>
                <a:gd name="T53" fmla="*/ 70 h 119"/>
                <a:gd name="T54" fmla="*/ 12 w 80"/>
                <a:gd name="T55" fmla="*/ 72 h 119"/>
                <a:gd name="T56" fmla="*/ 22 w 80"/>
                <a:gd name="T57" fmla="*/ 78 h 119"/>
                <a:gd name="T58" fmla="*/ 36 w 80"/>
                <a:gd name="T59" fmla="*/ 78 h 119"/>
                <a:gd name="T60" fmla="*/ 45 w 80"/>
                <a:gd name="T61" fmla="*/ 75 h 119"/>
                <a:gd name="T62" fmla="*/ 50 w 80"/>
                <a:gd name="T63" fmla="*/ 84 h 119"/>
                <a:gd name="T64" fmla="*/ 59 w 80"/>
                <a:gd name="T65" fmla="*/ 95 h 119"/>
                <a:gd name="T66" fmla="*/ 61 w 80"/>
                <a:gd name="T67" fmla="*/ 98 h 119"/>
                <a:gd name="T68" fmla="*/ 69 w 80"/>
                <a:gd name="T69" fmla="*/ 119 h 119"/>
                <a:gd name="T70" fmla="*/ 77 w 80"/>
                <a:gd name="T71" fmla="*/ 114 h 119"/>
                <a:gd name="T72" fmla="*/ 78 w 80"/>
                <a:gd name="T73" fmla="*/ 106 h 119"/>
                <a:gd name="T74" fmla="*/ 78 w 80"/>
                <a:gd name="T75" fmla="*/ 100 h 119"/>
                <a:gd name="T76" fmla="*/ 78 w 80"/>
                <a:gd name="T77" fmla="*/ 98 h 119"/>
                <a:gd name="T78" fmla="*/ 77 w 80"/>
                <a:gd name="T79" fmla="*/ 86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19">
                  <a:moveTo>
                    <a:pt x="75" y="84"/>
                  </a:moveTo>
                  <a:lnTo>
                    <a:pt x="73" y="84"/>
                  </a:lnTo>
                  <a:lnTo>
                    <a:pt x="75" y="80"/>
                  </a:lnTo>
                  <a:lnTo>
                    <a:pt x="73" y="70"/>
                  </a:lnTo>
                  <a:lnTo>
                    <a:pt x="72" y="67"/>
                  </a:lnTo>
                  <a:lnTo>
                    <a:pt x="69" y="65"/>
                  </a:lnTo>
                  <a:lnTo>
                    <a:pt x="66" y="69"/>
                  </a:lnTo>
                  <a:lnTo>
                    <a:pt x="64" y="67"/>
                  </a:lnTo>
                  <a:lnTo>
                    <a:pt x="62" y="65"/>
                  </a:lnTo>
                  <a:lnTo>
                    <a:pt x="61" y="67"/>
                  </a:lnTo>
                  <a:lnTo>
                    <a:pt x="59" y="61"/>
                  </a:lnTo>
                  <a:lnTo>
                    <a:pt x="58" y="54"/>
                  </a:lnTo>
                  <a:lnTo>
                    <a:pt x="56" y="53"/>
                  </a:lnTo>
                  <a:lnTo>
                    <a:pt x="61" y="45"/>
                  </a:lnTo>
                  <a:lnTo>
                    <a:pt x="61" y="42"/>
                  </a:lnTo>
                  <a:lnTo>
                    <a:pt x="61" y="39"/>
                  </a:lnTo>
                  <a:lnTo>
                    <a:pt x="58" y="36"/>
                  </a:lnTo>
                  <a:lnTo>
                    <a:pt x="55" y="36"/>
                  </a:lnTo>
                  <a:lnTo>
                    <a:pt x="55" y="34"/>
                  </a:lnTo>
                  <a:lnTo>
                    <a:pt x="56" y="26"/>
                  </a:lnTo>
                  <a:lnTo>
                    <a:pt x="53" y="23"/>
                  </a:lnTo>
                  <a:lnTo>
                    <a:pt x="50" y="28"/>
                  </a:lnTo>
                  <a:lnTo>
                    <a:pt x="50" y="31"/>
                  </a:lnTo>
                  <a:lnTo>
                    <a:pt x="47" y="29"/>
                  </a:lnTo>
                  <a:lnTo>
                    <a:pt x="44" y="23"/>
                  </a:lnTo>
                  <a:lnTo>
                    <a:pt x="39" y="17"/>
                  </a:lnTo>
                  <a:lnTo>
                    <a:pt x="39" y="11"/>
                  </a:lnTo>
                  <a:lnTo>
                    <a:pt x="44" y="11"/>
                  </a:lnTo>
                  <a:lnTo>
                    <a:pt x="44" y="3"/>
                  </a:lnTo>
                  <a:lnTo>
                    <a:pt x="22" y="3"/>
                  </a:lnTo>
                  <a:lnTo>
                    <a:pt x="11" y="0"/>
                  </a:lnTo>
                  <a:lnTo>
                    <a:pt x="6" y="7"/>
                  </a:lnTo>
                  <a:lnTo>
                    <a:pt x="8" y="9"/>
                  </a:lnTo>
                  <a:lnTo>
                    <a:pt x="8" y="12"/>
                  </a:lnTo>
                  <a:lnTo>
                    <a:pt x="9" y="14"/>
                  </a:lnTo>
                  <a:lnTo>
                    <a:pt x="11" y="23"/>
                  </a:lnTo>
                  <a:lnTo>
                    <a:pt x="11" y="25"/>
                  </a:lnTo>
                  <a:lnTo>
                    <a:pt x="8" y="29"/>
                  </a:lnTo>
                  <a:lnTo>
                    <a:pt x="8" y="34"/>
                  </a:lnTo>
                  <a:lnTo>
                    <a:pt x="12" y="42"/>
                  </a:lnTo>
                  <a:lnTo>
                    <a:pt x="12" y="47"/>
                  </a:lnTo>
                  <a:lnTo>
                    <a:pt x="3" y="47"/>
                  </a:lnTo>
                  <a:lnTo>
                    <a:pt x="5" y="48"/>
                  </a:lnTo>
                  <a:lnTo>
                    <a:pt x="3" y="50"/>
                  </a:lnTo>
                  <a:lnTo>
                    <a:pt x="3" y="53"/>
                  </a:lnTo>
                  <a:lnTo>
                    <a:pt x="1" y="56"/>
                  </a:lnTo>
                  <a:lnTo>
                    <a:pt x="0" y="58"/>
                  </a:lnTo>
                  <a:lnTo>
                    <a:pt x="0" y="65"/>
                  </a:lnTo>
                  <a:lnTo>
                    <a:pt x="3" y="65"/>
                  </a:lnTo>
                  <a:lnTo>
                    <a:pt x="6" y="64"/>
                  </a:lnTo>
                  <a:lnTo>
                    <a:pt x="8" y="62"/>
                  </a:lnTo>
                  <a:lnTo>
                    <a:pt x="9" y="62"/>
                  </a:lnTo>
                  <a:lnTo>
                    <a:pt x="9" y="65"/>
                  </a:lnTo>
                  <a:lnTo>
                    <a:pt x="9" y="70"/>
                  </a:lnTo>
                  <a:lnTo>
                    <a:pt x="11" y="69"/>
                  </a:lnTo>
                  <a:lnTo>
                    <a:pt x="12" y="72"/>
                  </a:lnTo>
                  <a:lnTo>
                    <a:pt x="19" y="72"/>
                  </a:lnTo>
                  <a:lnTo>
                    <a:pt x="22" y="78"/>
                  </a:lnTo>
                  <a:lnTo>
                    <a:pt x="25" y="76"/>
                  </a:lnTo>
                  <a:lnTo>
                    <a:pt x="36" y="78"/>
                  </a:lnTo>
                  <a:lnTo>
                    <a:pt x="37" y="75"/>
                  </a:lnTo>
                  <a:lnTo>
                    <a:pt x="45" y="75"/>
                  </a:lnTo>
                  <a:lnTo>
                    <a:pt x="45" y="81"/>
                  </a:lnTo>
                  <a:lnTo>
                    <a:pt x="50" y="84"/>
                  </a:lnTo>
                  <a:lnTo>
                    <a:pt x="48" y="87"/>
                  </a:lnTo>
                  <a:lnTo>
                    <a:pt x="59" y="95"/>
                  </a:lnTo>
                  <a:lnTo>
                    <a:pt x="59" y="97"/>
                  </a:lnTo>
                  <a:lnTo>
                    <a:pt x="61" y="98"/>
                  </a:lnTo>
                  <a:lnTo>
                    <a:pt x="61" y="100"/>
                  </a:lnTo>
                  <a:lnTo>
                    <a:pt x="69" y="119"/>
                  </a:lnTo>
                  <a:lnTo>
                    <a:pt x="73" y="119"/>
                  </a:lnTo>
                  <a:lnTo>
                    <a:pt x="77" y="114"/>
                  </a:lnTo>
                  <a:lnTo>
                    <a:pt x="77" y="108"/>
                  </a:lnTo>
                  <a:lnTo>
                    <a:pt x="78" y="106"/>
                  </a:lnTo>
                  <a:lnTo>
                    <a:pt x="80" y="103"/>
                  </a:lnTo>
                  <a:lnTo>
                    <a:pt x="78" y="100"/>
                  </a:lnTo>
                  <a:lnTo>
                    <a:pt x="80" y="98"/>
                  </a:lnTo>
                  <a:lnTo>
                    <a:pt x="78" y="98"/>
                  </a:lnTo>
                  <a:lnTo>
                    <a:pt x="78" y="87"/>
                  </a:lnTo>
                  <a:lnTo>
                    <a:pt x="77" y="86"/>
                  </a:lnTo>
                  <a:lnTo>
                    <a:pt x="75" y="84"/>
                  </a:lnTo>
                </a:path>
              </a:pathLst>
            </a:custGeom>
            <a:solidFill>
              <a:schemeClr val="bg2">
                <a:lumMod val="10000"/>
                <a:lumOff val="90000"/>
              </a:schemeClr>
            </a:solidFill>
            <a:ln w="0">
              <a:solidFill>
                <a:srgbClr val="25221E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algn="ctr" eaLnBrk="0" hangingPunct="0">
                <a:defRPr/>
              </a:pPr>
              <a:endParaRPr lang="es-AR" sz="1200" b="1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46" name="Freeform 92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374648" y="2291504"/>
              <a:ext cx="556590" cy="929854"/>
            </a:xfrm>
            <a:custGeom>
              <a:avLst/>
              <a:gdLst>
                <a:gd name="T0" fmla="*/ 19 w 75"/>
                <a:gd name="T1" fmla="*/ 1 h 131"/>
                <a:gd name="T2" fmla="*/ 33 w 75"/>
                <a:gd name="T3" fmla="*/ 0 h 131"/>
                <a:gd name="T4" fmla="*/ 36 w 75"/>
                <a:gd name="T5" fmla="*/ 1 h 131"/>
                <a:gd name="T6" fmla="*/ 36 w 75"/>
                <a:gd name="T7" fmla="*/ 3 h 131"/>
                <a:gd name="T8" fmla="*/ 38 w 75"/>
                <a:gd name="T9" fmla="*/ 1 h 131"/>
                <a:gd name="T10" fmla="*/ 41 w 75"/>
                <a:gd name="T11" fmla="*/ 3 h 131"/>
                <a:gd name="T12" fmla="*/ 45 w 75"/>
                <a:gd name="T13" fmla="*/ 3 h 131"/>
                <a:gd name="T14" fmla="*/ 45 w 75"/>
                <a:gd name="T15" fmla="*/ 6 h 131"/>
                <a:gd name="T16" fmla="*/ 58 w 75"/>
                <a:gd name="T17" fmla="*/ 8 h 131"/>
                <a:gd name="T18" fmla="*/ 58 w 75"/>
                <a:gd name="T19" fmla="*/ 11 h 131"/>
                <a:gd name="T20" fmla="*/ 59 w 75"/>
                <a:gd name="T21" fmla="*/ 11 h 131"/>
                <a:gd name="T22" fmla="*/ 62 w 75"/>
                <a:gd name="T23" fmla="*/ 12 h 131"/>
                <a:gd name="T24" fmla="*/ 61 w 75"/>
                <a:gd name="T25" fmla="*/ 17 h 131"/>
                <a:gd name="T26" fmla="*/ 62 w 75"/>
                <a:gd name="T27" fmla="*/ 20 h 131"/>
                <a:gd name="T28" fmla="*/ 67 w 75"/>
                <a:gd name="T29" fmla="*/ 18 h 131"/>
                <a:gd name="T30" fmla="*/ 69 w 75"/>
                <a:gd name="T31" fmla="*/ 23 h 131"/>
                <a:gd name="T32" fmla="*/ 73 w 75"/>
                <a:gd name="T33" fmla="*/ 31 h 131"/>
                <a:gd name="T34" fmla="*/ 69 w 75"/>
                <a:gd name="T35" fmla="*/ 51 h 131"/>
                <a:gd name="T36" fmla="*/ 67 w 75"/>
                <a:gd name="T37" fmla="*/ 54 h 131"/>
                <a:gd name="T38" fmla="*/ 67 w 75"/>
                <a:gd name="T39" fmla="*/ 56 h 131"/>
                <a:gd name="T40" fmla="*/ 69 w 75"/>
                <a:gd name="T41" fmla="*/ 59 h 131"/>
                <a:gd name="T42" fmla="*/ 67 w 75"/>
                <a:gd name="T43" fmla="*/ 62 h 131"/>
                <a:gd name="T44" fmla="*/ 69 w 75"/>
                <a:gd name="T45" fmla="*/ 65 h 131"/>
                <a:gd name="T46" fmla="*/ 70 w 75"/>
                <a:gd name="T47" fmla="*/ 69 h 131"/>
                <a:gd name="T48" fmla="*/ 75 w 75"/>
                <a:gd name="T49" fmla="*/ 78 h 131"/>
                <a:gd name="T50" fmla="*/ 75 w 75"/>
                <a:gd name="T51" fmla="*/ 81 h 131"/>
                <a:gd name="T52" fmla="*/ 75 w 75"/>
                <a:gd name="T53" fmla="*/ 84 h 131"/>
                <a:gd name="T54" fmla="*/ 72 w 75"/>
                <a:gd name="T55" fmla="*/ 86 h 131"/>
                <a:gd name="T56" fmla="*/ 55 w 75"/>
                <a:gd name="T57" fmla="*/ 116 h 131"/>
                <a:gd name="T58" fmla="*/ 45 w 75"/>
                <a:gd name="T59" fmla="*/ 116 h 131"/>
                <a:gd name="T60" fmla="*/ 45 w 75"/>
                <a:gd name="T61" fmla="*/ 131 h 131"/>
                <a:gd name="T62" fmla="*/ 12 w 75"/>
                <a:gd name="T63" fmla="*/ 131 h 131"/>
                <a:gd name="T64" fmla="*/ 12 w 75"/>
                <a:gd name="T65" fmla="*/ 89 h 131"/>
                <a:gd name="T66" fmla="*/ 14 w 75"/>
                <a:gd name="T67" fmla="*/ 87 h 131"/>
                <a:gd name="T68" fmla="*/ 16 w 75"/>
                <a:gd name="T69" fmla="*/ 84 h 131"/>
                <a:gd name="T70" fmla="*/ 17 w 75"/>
                <a:gd name="T71" fmla="*/ 73 h 131"/>
                <a:gd name="T72" fmla="*/ 16 w 75"/>
                <a:gd name="T73" fmla="*/ 69 h 131"/>
                <a:gd name="T74" fmla="*/ 17 w 75"/>
                <a:gd name="T75" fmla="*/ 67 h 131"/>
                <a:gd name="T76" fmla="*/ 11 w 75"/>
                <a:gd name="T77" fmla="*/ 67 h 131"/>
                <a:gd name="T78" fmla="*/ 11 w 75"/>
                <a:gd name="T79" fmla="*/ 61 h 131"/>
                <a:gd name="T80" fmla="*/ 0 w 75"/>
                <a:gd name="T81" fmla="*/ 56 h 131"/>
                <a:gd name="T82" fmla="*/ 1 w 75"/>
                <a:gd name="T83" fmla="*/ 37 h 131"/>
                <a:gd name="T84" fmla="*/ 8 w 75"/>
                <a:gd name="T85" fmla="*/ 14 h 131"/>
                <a:gd name="T86" fmla="*/ 12 w 75"/>
                <a:gd name="T87" fmla="*/ 14 h 131"/>
                <a:gd name="T88" fmla="*/ 16 w 75"/>
                <a:gd name="T89" fmla="*/ 9 h 131"/>
                <a:gd name="T90" fmla="*/ 16 w 75"/>
                <a:gd name="T91" fmla="*/ 3 h 131"/>
                <a:gd name="T92" fmla="*/ 17 w 75"/>
                <a:gd name="T93" fmla="*/ 1 h 131"/>
                <a:gd name="T94" fmla="*/ 19 w 75"/>
                <a:gd name="T95" fmla="*/ 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5" h="131">
                  <a:moveTo>
                    <a:pt x="19" y="1"/>
                  </a:moveTo>
                  <a:lnTo>
                    <a:pt x="33" y="0"/>
                  </a:lnTo>
                  <a:lnTo>
                    <a:pt x="36" y="1"/>
                  </a:lnTo>
                  <a:lnTo>
                    <a:pt x="36" y="3"/>
                  </a:lnTo>
                  <a:lnTo>
                    <a:pt x="38" y="1"/>
                  </a:lnTo>
                  <a:lnTo>
                    <a:pt x="41" y="3"/>
                  </a:lnTo>
                  <a:lnTo>
                    <a:pt x="45" y="3"/>
                  </a:lnTo>
                  <a:lnTo>
                    <a:pt x="45" y="6"/>
                  </a:lnTo>
                  <a:lnTo>
                    <a:pt x="58" y="8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62" y="12"/>
                  </a:lnTo>
                  <a:lnTo>
                    <a:pt x="61" y="17"/>
                  </a:lnTo>
                  <a:lnTo>
                    <a:pt x="62" y="20"/>
                  </a:lnTo>
                  <a:lnTo>
                    <a:pt x="67" y="18"/>
                  </a:lnTo>
                  <a:lnTo>
                    <a:pt x="69" y="23"/>
                  </a:lnTo>
                  <a:lnTo>
                    <a:pt x="73" y="31"/>
                  </a:lnTo>
                  <a:lnTo>
                    <a:pt x="69" y="51"/>
                  </a:lnTo>
                  <a:lnTo>
                    <a:pt x="67" y="54"/>
                  </a:lnTo>
                  <a:lnTo>
                    <a:pt x="67" y="56"/>
                  </a:lnTo>
                  <a:lnTo>
                    <a:pt x="69" y="59"/>
                  </a:lnTo>
                  <a:lnTo>
                    <a:pt x="67" y="62"/>
                  </a:lnTo>
                  <a:lnTo>
                    <a:pt x="69" y="65"/>
                  </a:lnTo>
                  <a:lnTo>
                    <a:pt x="70" y="69"/>
                  </a:lnTo>
                  <a:lnTo>
                    <a:pt x="75" y="78"/>
                  </a:lnTo>
                  <a:lnTo>
                    <a:pt x="75" y="81"/>
                  </a:lnTo>
                  <a:lnTo>
                    <a:pt x="75" y="84"/>
                  </a:lnTo>
                  <a:lnTo>
                    <a:pt x="72" y="86"/>
                  </a:lnTo>
                  <a:lnTo>
                    <a:pt x="55" y="116"/>
                  </a:lnTo>
                  <a:lnTo>
                    <a:pt x="45" y="116"/>
                  </a:lnTo>
                  <a:lnTo>
                    <a:pt x="45" y="131"/>
                  </a:lnTo>
                  <a:lnTo>
                    <a:pt x="12" y="131"/>
                  </a:lnTo>
                  <a:lnTo>
                    <a:pt x="12" y="89"/>
                  </a:lnTo>
                  <a:lnTo>
                    <a:pt x="14" y="87"/>
                  </a:lnTo>
                  <a:lnTo>
                    <a:pt x="16" y="84"/>
                  </a:lnTo>
                  <a:lnTo>
                    <a:pt x="17" y="73"/>
                  </a:lnTo>
                  <a:lnTo>
                    <a:pt x="16" y="69"/>
                  </a:lnTo>
                  <a:lnTo>
                    <a:pt x="17" y="67"/>
                  </a:lnTo>
                  <a:lnTo>
                    <a:pt x="11" y="67"/>
                  </a:lnTo>
                  <a:lnTo>
                    <a:pt x="11" y="61"/>
                  </a:lnTo>
                  <a:lnTo>
                    <a:pt x="0" y="56"/>
                  </a:lnTo>
                  <a:lnTo>
                    <a:pt x="1" y="37"/>
                  </a:lnTo>
                  <a:lnTo>
                    <a:pt x="8" y="14"/>
                  </a:lnTo>
                  <a:lnTo>
                    <a:pt x="12" y="14"/>
                  </a:lnTo>
                  <a:lnTo>
                    <a:pt x="16" y="9"/>
                  </a:lnTo>
                  <a:lnTo>
                    <a:pt x="16" y="3"/>
                  </a:lnTo>
                  <a:lnTo>
                    <a:pt x="17" y="1"/>
                  </a:lnTo>
                  <a:lnTo>
                    <a:pt x="19" y="1"/>
                  </a:lnTo>
                </a:path>
              </a:pathLst>
            </a:custGeom>
            <a:solidFill>
              <a:schemeClr val="bg2">
                <a:lumMod val="10000"/>
                <a:lumOff val="90000"/>
              </a:schemeClr>
            </a:solidFill>
            <a:ln w="0">
              <a:solidFill>
                <a:srgbClr val="25221E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algn="ctr" eaLnBrk="0" hangingPunct="0">
                <a:defRPr/>
              </a:pPr>
              <a:endParaRPr lang="es-AR" sz="1200" b="1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47" name="Freeform 93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1456843" y="1632788"/>
              <a:ext cx="488086" cy="823396"/>
            </a:xfrm>
            <a:custGeom>
              <a:avLst/>
              <a:gdLst>
                <a:gd name="T0" fmla="*/ 17 w 66"/>
                <a:gd name="T1" fmla="*/ 6 h 116"/>
                <a:gd name="T2" fmla="*/ 14 w 66"/>
                <a:gd name="T3" fmla="*/ 13 h 116"/>
                <a:gd name="T4" fmla="*/ 14 w 66"/>
                <a:gd name="T5" fmla="*/ 14 h 116"/>
                <a:gd name="T6" fmla="*/ 14 w 66"/>
                <a:gd name="T7" fmla="*/ 16 h 116"/>
                <a:gd name="T8" fmla="*/ 12 w 66"/>
                <a:gd name="T9" fmla="*/ 17 h 116"/>
                <a:gd name="T10" fmla="*/ 14 w 66"/>
                <a:gd name="T11" fmla="*/ 25 h 116"/>
                <a:gd name="T12" fmla="*/ 12 w 66"/>
                <a:gd name="T13" fmla="*/ 25 h 116"/>
                <a:gd name="T14" fmla="*/ 12 w 66"/>
                <a:gd name="T15" fmla="*/ 30 h 116"/>
                <a:gd name="T16" fmla="*/ 9 w 66"/>
                <a:gd name="T17" fmla="*/ 30 h 116"/>
                <a:gd name="T18" fmla="*/ 6 w 66"/>
                <a:gd name="T19" fmla="*/ 42 h 116"/>
                <a:gd name="T20" fmla="*/ 5 w 66"/>
                <a:gd name="T21" fmla="*/ 42 h 116"/>
                <a:gd name="T22" fmla="*/ 3 w 66"/>
                <a:gd name="T23" fmla="*/ 44 h 116"/>
                <a:gd name="T24" fmla="*/ 6 w 66"/>
                <a:gd name="T25" fmla="*/ 49 h 116"/>
                <a:gd name="T26" fmla="*/ 3 w 66"/>
                <a:gd name="T27" fmla="*/ 49 h 116"/>
                <a:gd name="T28" fmla="*/ 5 w 66"/>
                <a:gd name="T29" fmla="*/ 53 h 116"/>
                <a:gd name="T30" fmla="*/ 1 w 66"/>
                <a:gd name="T31" fmla="*/ 53 h 116"/>
                <a:gd name="T32" fmla="*/ 0 w 66"/>
                <a:gd name="T33" fmla="*/ 55 h 116"/>
                <a:gd name="T34" fmla="*/ 1 w 66"/>
                <a:gd name="T35" fmla="*/ 58 h 116"/>
                <a:gd name="T36" fmla="*/ 3 w 66"/>
                <a:gd name="T37" fmla="*/ 68 h 116"/>
                <a:gd name="T38" fmla="*/ 1 w 66"/>
                <a:gd name="T39" fmla="*/ 72 h 116"/>
                <a:gd name="T40" fmla="*/ 3 w 66"/>
                <a:gd name="T41" fmla="*/ 72 h 116"/>
                <a:gd name="T42" fmla="*/ 5 w 66"/>
                <a:gd name="T43" fmla="*/ 74 h 116"/>
                <a:gd name="T44" fmla="*/ 6 w 66"/>
                <a:gd name="T45" fmla="*/ 75 h 116"/>
                <a:gd name="T46" fmla="*/ 6 w 66"/>
                <a:gd name="T47" fmla="*/ 86 h 116"/>
                <a:gd name="T48" fmla="*/ 8 w 66"/>
                <a:gd name="T49" fmla="*/ 86 h 116"/>
                <a:gd name="T50" fmla="*/ 6 w 66"/>
                <a:gd name="T51" fmla="*/ 88 h 116"/>
                <a:gd name="T52" fmla="*/ 8 w 66"/>
                <a:gd name="T53" fmla="*/ 91 h 116"/>
                <a:gd name="T54" fmla="*/ 6 w 66"/>
                <a:gd name="T55" fmla="*/ 94 h 116"/>
                <a:gd name="T56" fmla="*/ 8 w 66"/>
                <a:gd name="T57" fmla="*/ 94 h 116"/>
                <a:gd name="T58" fmla="*/ 22 w 66"/>
                <a:gd name="T59" fmla="*/ 93 h 116"/>
                <a:gd name="T60" fmla="*/ 25 w 66"/>
                <a:gd name="T61" fmla="*/ 94 h 116"/>
                <a:gd name="T62" fmla="*/ 25 w 66"/>
                <a:gd name="T63" fmla="*/ 96 h 116"/>
                <a:gd name="T64" fmla="*/ 27 w 66"/>
                <a:gd name="T65" fmla="*/ 94 h 116"/>
                <a:gd name="T66" fmla="*/ 30 w 66"/>
                <a:gd name="T67" fmla="*/ 96 h 116"/>
                <a:gd name="T68" fmla="*/ 34 w 66"/>
                <a:gd name="T69" fmla="*/ 96 h 116"/>
                <a:gd name="T70" fmla="*/ 34 w 66"/>
                <a:gd name="T71" fmla="*/ 99 h 116"/>
                <a:gd name="T72" fmla="*/ 47 w 66"/>
                <a:gd name="T73" fmla="*/ 101 h 116"/>
                <a:gd name="T74" fmla="*/ 47 w 66"/>
                <a:gd name="T75" fmla="*/ 104 h 116"/>
                <a:gd name="T76" fmla="*/ 48 w 66"/>
                <a:gd name="T77" fmla="*/ 104 h 116"/>
                <a:gd name="T78" fmla="*/ 51 w 66"/>
                <a:gd name="T79" fmla="*/ 105 h 116"/>
                <a:gd name="T80" fmla="*/ 50 w 66"/>
                <a:gd name="T81" fmla="*/ 110 h 116"/>
                <a:gd name="T82" fmla="*/ 51 w 66"/>
                <a:gd name="T83" fmla="*/ 113 h 116"/>
                <a:gd name="T84" fmla="*/ 56 w 66"/>
                <a:gd name="T85" fmla="*/ 111 h 116"/>
                <a:gd name="T86" fmla="*/ 58 w 66"/>
                <a:gd name="T87" fmla="*/ 116 h 116"/>
                <a:gd name="T88" fmla="*/ 66 w 66"/>
                <a:gd name="T89" fmla="*/ 57 h 116"/>
                <a:gd name="T90" fmla="*/ 66 w 66"/>
                <a:gd name="T91" fmla="*/ 0 h 116"/>
                <a:gd name="T92" fmla="*/ 33 w 66"/>
                <a:gd name="T93" fmla="*/ 0 h 116"/>
                <a:gd name="T94" fmla="*/ 33 w 66"/>
                <a:gd name="T95" fmla="*/ 2 h 116"/>
                <a:gd name="T96" fmla="*/ 22 w 66"/>
                <a:gd name="T97" fmla="*/ 2 h 116"/>
                <a:gd name="T98" fmla="*/ 22 w 66"/>
                <a:gd name="T99" fmla="*/ 3 h 116"/>
                <a:gd name="T100" fmla="*/ 20 w 66"/>
                <a:gd name="T101" fmla="*/ 3 h 116"/>
                <a:gd name="T102" fmla="*/ 20 w 66"/>
                <a:gd name="T103" fmla="*/ 2 h 116"/>
                <a:gd name="T104" fmla="*/ 19 w 66"/>
                <a:gd name="T105" fmla="*/ 2 h 116"/>
                <a:gd name="T106" fmla="*/ 17 w 66"/>
                <a:gd name="T107" fmla="*/ 5 h 116"/>
                <a:gd name="T108" fmla="*/ 17 w 66"/>
                <a:gd name="T109" fmla="*/ 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6" h="116">
                  <a:moveTo>
                    <a:pt x="17" y="6"/>
                  </a:moveTo>
                  <a:lnTo>
                    <a:pt x="14" y="13"/>
                  </a:lnTo>
                  <a:lnTo>
                    <a:pt x="14" y="14"/>
                  </a:lnTo>
                  <a:lnTo>
                    <a:pt x="14" y="16"/>
                  </a:lnTo>
                  <a:lnTo>
                    <a:pt x="12" y="17"/>
                  </a:lnTo>
                  <a:lnTo>
                    <a:pt x="14" y="25"/>
                  </a:lnTo>
                  <a:lnTo>
                    <a:pt x="12" y="25"/>
                  </a:lnTo>
                  <a:lnTo>
                    <a:pt x="12" y="30"/>
                  </a:lnTo>
                  <a:lnTo>
                    <a:pt x="9" y="30"/>
                  </a:lnTo>
                  <a:lnTo>
                    <a:pt x="6" y="42"/>
                  </a:lnTo>
                  <a:lnTo>
                    <a:pt x="5" y="42"/>
                  </a:lnTo>
                  <a:lnTo>
                    <a:pt x="3" y="44"/>
                  </a:lnTo>
                  <a:lnTo>
                    <a:pt x="6" y="49"/>
                  </a:lnTo>
                  <a:lnTo>
                    <a:pt x="3" y="49"/>
                  </a:lnTo>
                  <a:lnTo>
                    <a:pt x="5" y="53"/>
                  </a:lnTo>
                  <a:lnTo>
                    <a:pt x="1" y="53"/>
                  </a:lnTo>
                  <a:lnTo>
                    <a:pt x="0" y="55"/>
                  </a:lnTo>
                  <a:lnTo>
                    <a:pt x="1" y="58"/>
                  </a:lnTo>
                  <a:lnTo>
                    <a:pt x="3" y="68"/>
                  </a:lnTo>
                  <a:lnTo>
                    <a:pt x="1" y="72"/>
                  </a:lnTo>
                  <a:lnTo>
                    <a:pt x="3" y="72"/>
                  </a:lnTo>
                  <a:lnTo>
                    <a:pt x="5" y="74"/>
                  </a:lnTo>
                  <a:lnTo>
                    <a:pt x="6" y="75"/>
                  </a:lnTo>
                  <a:lnTo>
                    <a:pt x="6" y="86"/>
                  </a:lnTo>
                  <a:lnTo>
                    <a:pt x="8" y="86"/>
                  </a:lnTo>
                  <a:lnTo>
                    <a:pt x="6" y="88"/>
                  </a:lnTo>
                  <a:lnTo>
                    <a:pt x="8" y="91"/>
                  </a:lnTo>
                  <a:lnTo>
                    <a:pt x="6" y="94"/>
                  </a:lnTo>
                  <a:lnTo>
                    <a:pt x="8" y="94"/>
                  </a:lnTo>
                  <a:lnTo>
                    <a:pt x="22" y="93"/>
                  </a:lnTo>
                  <a:lnTo>
                    <a:pt x="25" y="94"/>
                  </a:lnTo>
                  <a:lnTo>
                    <a:pt x="25" y="96"/>
                  </a:lnTo>
                  <a:lnTo>
                    <a:pt x="27" y="94"/>
                  </a:lnTo>
                  <a:lnTo>
                    <a:pt x="30" y="96"/>
                  </a:lnTo>
                  <a:lnTo>
                    <a:pt x="34" y="96"/>
                  </a:lnTo>
                  <a:lnTo>
                    <a:pt x="34" y="99"/>
                  </a:lnTo>
                  <a:lnTo>
                    <a:pt x="47" y="101"/>
                  </a:lnTo>
                  <a:lnTo>
                    <a:pt x="47" y="104"/>
                  </a:lnTo>
                  <a:lnTo>
                    <a:pt x="48" y="104"/>
                  </a:lnTo>
                  <a:lnTo>
                    <a:pt x="51" y="105"/>
                  </a:lnTo>
                  <a:lnTo>
                    <a:pt x="50" y="110"/>
                  </a:lnTo>
                  <a:lnTo>
                    <a:pt x="51" y="113"/>
                  </a:lnTo>
                  <a:lnTo>
                    <a:pt x="56" y="111"/>
                  </a:lnTo>
                  <a:lnTo>
                    <a:pt x="58" y="116"/>
                  </a:lnTo>
                  <a:lnTo>
                    <a:pt x="66" y="57"/>
                  </a:lnTo>
                  <a:lnTo>
                    <a:pt x="66" y="0"/>
                  </a:lnTo>
                  <a:lnTo>
                    <a:pt x="33" y="0"/>
                  </a:lnTo>
                  <a:lnTo>
                    <a:pt x="33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19" y="2"/>
                  </a:lnTo>
                  <a:lnTo>
                    <a:pt x="17" y="5"/>
                  </a:lnTo>
                  <a:lnTo>
                    <a:pt x="17" y="6"/>
                  </a:lnTo>
                </a:path>
              </a:pathLst>
            </a:custGeom>
            <a:solidFill>
              <a:schemeClr val="bg2">
                <a:lumMod val="10000"/>
                <a:lumOff val="90000"/>
              </a:schemeClr>
            </a:solidFill>
            <a:ln w="0">
              <a:solidFill>
                <a:srgbClr val="25221E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algn="ctr" eaLnBrk="0" hangingPunct="0">
                <a:defRPr/>
              </a:pPr>
              <a:endParaRPr lang="es-AR" sz="1200" b="1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48" name="Freeform 94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1330111" y="1704315"/>
              <a:ext cx="229487" cy="332685"/>
            </a:xfrm>
            <a:custGeom>
              <a:avLst/>
              <a:gdLst>
                <a:gd name="T0" fmla="*/ 18 w 31"/>
                <a:gd name="T1" fmla="*/ 43 h 47"/>
                <a:gd name="T2" fmla="*/ 17 w 31"/>
                <a:gd name="T3" fmla="*/ 45 h 47"/>
                <a:gd name="T4" fmla="*/ 14 w 31"/>
                <a:gd name="T5" fmla="*/ 43 h 47"/>
                <a:gd name="T6" fmla="*/ 11 w 31"/>
                <a:gd name="T7" fmla="*/ 47 h 47"/>
                <a:gd name="T8" fmla="*/ 9 w 31"/>
                <a:gd name="T9" fmla="*/ 45 h 47"/>
                <a:gd name="T10" fmla="*/ 7 w 31"/>
                <a:gd name="T11" fmla="*/ 43 h 47"/>
                <a:gd name="T12" fmla="*/ 6 w 31"/>
                <a:gd name="T13" fmla="*/ 45 h 47"/>
                <a:gd name="T14" fmla="*/ 4 w 31"/>
                <a:gd name="T15" fmla="*/ 39 h 47"/>
                <a:gd name="T16" fmla="*/ 3 w 31"/>
                <a:gd name="T17" fmla="*/ 32 h 47"/>
                <a:gd name="T18" fmla="*/ 1 w 31"/>
                <a:gd name="T19" fmla="*/ 31 h 47"/>
                <a:gd name="T20" fmla="*/ 6 w 31"/>
                <a:gd name="T21" fmla="*/ 23 h 47"/>
                <a:gd name="T22" fmla="*/ 6 w 31"/>
                <a:gd name="T23" fmla="*/ 20 h 47"/>
                <a:gd name="T24" fmla="*/ 6 w 31"/>
                <a:gd name="T25" fmla="*/ 17 h 47"/>
                <a:gd name="T26" fmla="*/ 3 w 31"/>
                <a:gd name="T27" fmla="*/ 14 h 47"/>
                <a:gd name="T28" fmla="*/ 0 w 31"/>
                <a:gd name="T29" fmla="*/ 14 h 47"/>
                <a:gd name="T30" fmla="*/ 0 w 31"/>
                <a:gd name="T31" fmla="*/ 12 h 47"/>
                <a:gd name="T32" fmla="*/ 1 w 31"/>
                <a:gd name="T33" fmla="*/ 4 h 47"/>
                <a:gd name="T34" fmla="*/ 9 w 31"/>
                <a:gd name="T35" fmla="*/ 7 h 47"/>
                <a:gd name="T36" fmla="*/ 9 w 31"/>
                <a:gd name="T37" fmla="*/ 1 h 47"/>
                <a:gd name="T38" fmla="*/ 14 w 31"/>
                <a:gd name="T39" fmla="*/ 1 h 47"/>
                <a:gd name="T40" fmla="*/ 15 w 31"/>
                <a:gd name="T41" fmla="*/ 0 h 47"/>
                <a:gd name="T42" fmla="*/ 15 w 31"/>
                <a:gd name="T43" fmla="*/ 3 h 47"/>
                <a:gd name="T44" fmla="*/ 20 w 31"/>
                <a:gd name="T45" fmla="*/ 3 h 47"/>
                <a:gd name="T46" fmla="*/ 20 w 31"/>
                <a:gd name="T47" fmla="*/ 4 h 47"/>
                <a:gd name="T48" fmla="*/ 23 w 31"/>
                <a:gd name="T49" fmla="*/ 6 h 47"/>
                <a:gd name="T50" fmla="*/ 25 w 31"/>
                <a:gd name="T51" fmla="*/ 3 h 47"/>
                <a:gd name="T52" fmla="*/ 31 w 31"/>
                <a:gd name="T53" fmla="*/ 3 h 47"/>
                <a:gd name="T54" fmla="*/ 31 w 31"/>
                <a:gd name="T55" fmla="*/ 4 h 47"/>
                <a:gd name="T56" fmla="*/ 31 w 31"/>
                <a:gd name="T57" fmla="*/ 6 h 47"/>
                <a:gd name="T58" fmla="*/ 29 w 31"/>
                <a:gd name="T59" fmla="*/ 7 h 47"/>
                <a:gd name="T60" fmla="*/ 31 w 31"/>
                <a:gd name="T61" fmla="*/ 15 h 47"/>
                <a:gd name="T62" fmla="*/ 29 w 31"/>
                <a:gd name="T63" fmla="*/ 15 h 47"/>
                <a:gd name="T64" fmla="*/ 29 w 31"/>
                <a:gd name="T65" fmla="*/ 20 h 47"/>
                <a:gd name="T66" fmla="*/ 26 w 31"/>
                <a:gd name="T67" fmla="*/ 20 h 47"/>
                <a:gd name="T68" fmla="*/ 23 w 31"/>
                <a:gd name="T69" fmla="*/ 32 h 47"/>
                <a:gd name="T70" fmla="*/ 22 w 31"/>
                <a:gd name="T71" fmla="*/ 32 h 47"/>
                <a:gd name="T72" fmla="*/ 20 w 31"/>
                <a:gd name="T73" fmla="*/ 34 h 47"/>
                <a:gd name="T74" fmla="*/ 23 w 31"/>
                <a:gd name="T75" fmla="*/ 39 h 47"/>
                <a:gd name="T76" fmla="*/ 20 w 31"/>
                <a:gd name="T77" fmla="*/ 39 h 47"/>
                <a:gd name="T78" fmla="*/ 22 w 31"/>
                <a:gd name="T79" fmla="*/ 43 h 47"/>
                <a:gd name="T80" fmla="*/ 18 w 31"/>
                <a:gd name="T81" fmla="*/ 4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" h="47">
                  <a:moveTo>
                    <a:pt x="18" y="43"/>
                  </a:moveTo>
                  <a:lnTo>
                    <a:pt x="17" y="45"/>
                  </a:lnTo>
                  <a:lnTo>
                    <a:pt x="14" y="43"/>
                  </a:lnTo>
                  <a:lnTo>
                    <a:pt x="11" y="47"/>
                  </a:lnTo>
                  <a:lnTo>
                    <a:pt x="9" y="45"/>
                  </a:lnTo>
                  <a:lnTo>
                    <a:pt x="7" y="43"/>
                  </a:lnTo>
                  <a:lnTo>
                    <a:pt x="6" y="45"/>
                  </a:lnTo>
                  <a:lnTo>
                    <a:pt x="4" y="39"/>
                  </a:lnTo>
                  <a:lnTo>
                    <a:pt x="3" y="32"/>
                  </a:lnTo>
                  <a:lnTo>
                    <a:pt x="1" y="31"/>
                  </a:lnTo>
                  <a:lnTo>
                    <a:pt x="6" y="23"/>
                  </a:lnTo>
                  <a:lnTo>
                    <a:pt x="6" y="20"/>
                  </a:lnTo>
                  <a:lnTo>
                    <a:pt x="6" y="17"/>
                  </a:lnTo>
                  <a:lnTo>
                    <a:pt x="3" y="14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1" y="4"/>
                  </a:lnTo>
                  <a:lnTo>
                    <a:pt x="9" y="7"/>
                  </a:lnTo>
                  <a:lnTo>
                    <a:pt x="9" y="1"/>
                  </a:lnTo>
                  <a:lnTo>
                    <a:pt x="14" y="1"/>
                  </a:lnTo>
                  <a:lnTo>
                    <a:pt x="15" y="0"/>
                  </a:lnTo>
                  <a:lnTo>
                    <a:pt x="15" y="3"/>
                  </a:lnTo>
                  <a:lnTo>
                    <a:pt x="20" y="3"/>
                  </a:lnTo>
                  <a:lnTo>
                    <a:pt x="20" y="4"/>
                  </a:lnTo>
                  <a:lnTo>
                    <a:pt x="23" y="6"/>
                  </a:lnTo>
                  <a:lnTo>
                    <a:pt x="25" y="3"/>
                  </a:lnTo>
                  <a:lnTo>
                    <a:pt x="31" y="3"/>
                  </a:lnTo>
                  <a:lnTo>
                    <a:pt x="31" y="4"/>
                  </a:lnTo>
                  <a:lnTo>
                    <a:pt x="31" y="6"/>
                  </a:lnTo>
                  <a:lnTo>
                    <a:pt x="29" y="7"/>
                  </a:lnTo>
                  <a:lnTo>
                    <a:pt x="31" y="15"/>
                  </a:lnTo>
                  <a:lnTo>
                    <a:pt x="29" y="15"/>
                  </a:lnTo>
                  <a:lnTo>
                    <a:pt x="29" y="20"/>
                  </a:lnTo>
                  <a:lnTo>
                    <a:pt x="26" y="20"/>
                  </a:lnTo>
                  <a:lnTo>
                    <a:pt x="23" y="32"/>
                  </a:lnTo>
                  <a:lnTo>
                    <a:pt x="22" y="32"/>
                  </a:lnTo>
                  <a:lnTo>
                    <a:pt x="20" y="34"/>
                  </a:lnTo>
                  <a:lnTo>
                    <a:pt x="23" y="39"/>
                  </a:lnTo>
                  <a:lnTo>
                    <a:pt x="20" y="39"/>
                  </a:lnTo>
                  <a:lnTo>
                    <a:pt x="22" y="43"/>
                  </a:lnTo>
                  <a:lnTo>
                    <a:pt x="18" y="43"/>
                  </a:lnTo>
                </a:path>
              </a:pathLst>
            </a:custGeom>
            <a:solidFill>
              <a:schemeClr val="bg2">
                <a:lumMod val="10000"/>
                <a:lumOff val="90000"/>
              </a:schemeClr>
            </a:solidFill>
            <a:ln w="0">
              <a:solidFill>
                <a:srgbClr val="25221E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algn="ctr" eaLnBrk="0" hangingPunct="0">
                <a:defRPr/>
              </a:pPr>
              <a:endParaRPr lang="es-AR" sz="1200" b="1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49" name="Freeform 95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2385073" y="3143196"/>
              <a:ext cx="20551" cy="21624"/>
            </a:xfrm>
            <a:custGeom>
              <a:avLst/>
              <a:gdLst>
                <a:gd name="T0" fmla="*/ 86664797 w 3"/>
                <a:gd name="T1" fmla="*/ 147203728 h 3"/>
                <a:gd name="T2" fmla="*/ 86664797 w 3"/>
                <a:gd name="T3" fmla="*/ 98135810 h 3"/>
                <a:gd name="T4" fmla="*/ 86664797 w 3"/>
                <a:gd name="T5" fmla="*/ 147203728 h 3"/>
                <a:gd name="T6" fmla="*/ 86664797 w 3"/>
                <a:gd name="T7" fmla="*/ 98135810 h 3"/>
                <a:gd name="T8" fmla="*/ 86664797 w 3"/>
                <a:gd name="T9" fmla="*/ 147203728 h 3"/>
                <a:gd name="T10" fmla="*/ 86664797 w 3"/>
                <a:gd name="T11" fmla="*/ 98135810 h 3"/>
                <a:gd name="T12" fmla="*/ 129997208 w 3"/>
                <a:gd name="T13" fmla="*/ 98135810 h 3"/>
                <a:gd name="T14" fmla="*/ 129997208 w 3"/>
                <a:gd name="T15" fmla="*/ 0 h 3"/>
                <a:gd name="T16" fmla="*/ 86664797 w 3"/>
                <a:gd name="T17" fmla="*/ 0 h 3"/>
                <a:gd name="T18" fmla="*/ 0 w 3"/>
                <a:gd name="T19" fmla="*/ 0 h 3"/>
                <a:gd name="T20" fmla="*/ 0 w 3"/>
                <a:gd name="T21" fmla="*/ 98135810 h 3"/>
                <a:gd name="T22" fmla="*/ 0 w 3"/>
                <a:gd name="T23" fmla="*/ 147203728 h 3"/>
                <a:gd name="T24" fmla="*/ 86664797 w 3"/>
                <a:gd name="T25" fmla="*/ 147203728 h 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"/>
                <a:gd name="T40" fmla="*/ 0 h 3"/>
                <a:gd name="T41" fmla="*/ 3 w 3"/>
                <a:gd name="T42" fmla="*/ 3 h 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" h="3">
                  <a:moveTo>
                    <a:pt x="2" y="3"/>
                  </a:moveTo>
                  <a:lnTo>
                    <a:pt x="2" y="2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3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2" y="3"/>
                  </a:lnTo>
                </a:path>
              </a:pathLst>
            </a:custGeom>
            <a:solidFill>
              <a:srgbClr val="99CC00"/>
            </a:solidFill>
            <a:ln w="0">
              <a:solidFill>
                <a:srgbClr val="99CC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50" name="Freeform 96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1708601" y="2923624"/>
              <a:ext cx="935072" cy="1319095"/>
            </a:xfrm>
            <a:custGeom>
              <a:avLst/>
              <a:gdLst>
                <a:gd name="T0" fmla="*/ 93 w 126"/>
                <a:gd name="T1" fmla="*/ 30 h 186"/>
                <a:gd name="T2" fmla="*/ 94 w 126"/>
                <a:gd name="T3" fmla="*/ 19 h 186"/>
                <a:gd name="T4" fmla="*/ 88 w 126"/>
                <a:gd name="T5" fmla="*/ 19 h 186"/>
                <a:gd name="T6" fmla="*/ 78 w 126"/>
                <a:gd name="T7" fmla="*/ 14 h 186"/>
                <a:gd name="T8" fmla="*/ 75 w 126"/>
                <a:gd name="T9" fmla="*/ 11 h 186"/>
                <a:gd name="T10" fmla="*/ 68 w 126"/>
                <a:gd name="T11" fmla="*/ 8 h 186"/>
                <a:gd name="T12" fmla="*/ 58 w 126"/>
                <a:gd name="T13" fmla="*/ 0 h 186"/>
                <a:gd name="T14" fmla="*/ 52 w 126"/>
                <a:gd name="T15" fmla="*/ 8 h 186"/>
                <a:gd name="T16" fmla="*/ 32 w 126"/>
                <a:gd name="T17" fmla="*/ 27 h 186"/>
                <a:gd name="T18" fmla="*/ 0 w 126"/>
                <a:gd name="T19" fmla="*/ 27 h 186"/>
                <a:gd name="T20" fmla="*/ 0 w 126"/>
                <a:gd name="T21" fmla="*/ 146 h 186"/>
                <a:gd name="T22" fmla="*/ 5 w 126"/>
                <a:gd name="T23" fmla="*/ 179 h 186"/>
                <a:gd name="T24" fmla="*/ 10 w 126"/>
                <a:gd name="T25" fmla="*/ 183 h 186"/>
                <a:gd name="T26" fmla="*/ 17 w 126"/>
                <a:gd name="T27" fmla="*/ 180 h 186"/>
                <a:gd name="T28" fmla="*/ 24 w 126"/>
                <a:gd name="T29" fmla="*/ 176 h 186"/>
                <a:gd name="T30" fmla="*/ 14 w 126"/>
                <a:gd name="T31" fmla="*/ 166 h 186"/>
                <a:gd name="T32" fmla="*/ 17 w 126"/>
                <a:gd name="T33" fmla="*/ 161 h 186"/>
                <a:gd name="T34" fmla="*/ 22 w 126"/>
                <a:gd name="T35" fmla="*/ 155 h 186"/>
                <a:gd name="T36" fmla="*/ 22 w 126"/>
                <a:gd name="T37" fmla="*/ 147 h 186"/>
                <a:gd name="T38" fmla="*/ 19 w 126"/>
                <a:gd name="T39" fmla="*/ 144 h 186"/>
                <a:gd name="T40" fmla="*/ 22 w 126"/>
                <a:gd name="T41" fmla="*/ 146 h 186"/>
                <a:gd name="T42" fmla="*/ 21 w 126"/>
                <a:gd name="T43" fmla="*/ 143 h 186"/>
                <a:gd name="T44" fmla="*/ 17 w 126"/>
                <a:gd name="T45" fmla="*/ 138 h 186"/>
                <a:gd name="T46" fmla="*/ 17 w 126"/>
                <a:gd name="T47" fmla="*/ 133 h 186"/>
                <a:gd name="T48" fmla="*/ 24 w 126"/>
                <a:gd name="T49" fmla="*/ 135 h 186"/>
                <a:gd name="T50" fmla="*/ 33 w 126"/>
                <a:gd name="T51" fmla="*/ 138 h 186"/>
                <a:gd name="T52" fmla="*/ 46 w 126"/>
                <a:gd name="T53" fmla="*/ 138 h 186"/>
                <a:gd name="T54" fmla="*/ 63 w 126"/>
                <a:gd name="T55" fmla="*/ 135 h 186"/>
                <a:gd name="T56" fmla="*/ 78 w 126"/>
                <a:gd name="T57" fmla="*/ 130 h 186"/>
                <a:gd name="T58" fmla="*/ 93 w 126"/>
                <a:gd name="T59" fmla="*/ 125 h 186"/>
                <a:gd name="T60" fmla="*/ 104 w 126"/>
                <a:gd name="T61" fmla="*/ 122 h 186"/>
                <a:gd name="T62" fmla="*/ 113 w 126"/>
                <a:gd name="T63" fmla="*/ 110 h 186"/>
                <a:gd name="T64" fmla="*/ 116 w 126"/>
                <a:gd name="T65" fmla="*/ 100 h 186"/>
                <a:gd name="T66" fmla="*/ 122 w 126"/>
                <a:gd name="T67" fmla="*/ 94 h 186"/>
                <a:gd name="T68" fmla="*/ 126 w 126"/>
                <a:gd name="T69" fmla="*/ 81 h 186"/>
                <a:gd name="T70" fmla="*/ 121 w 126"/>
                <a:gd name="T71" fmla="*/ 75 h 186"/>
                <a:gd name="T72" fmla="*/ 115 w 126"/>
                <a:gd name="T73" fmla="*/ 70 h 186"/>
                <a:gd name="T74" fmla="*/ 113 w 126"/>
                <a:gd name="T75" fmla="*/ 61 h 186"/>
                <a:gd name="T76" fmla="*/ 118 w 126"/>
                <a:gd name="T77" fmla="*/ 53 h 186"/>
                <a:gd name="T78" fmla="*/ 113 w 126"/>
                <a:gd name="T79" fmla="*/ 45 h 186"/>
                <a:gd name="T80" fmla="*/ 102 w 126"/>
                <a:gd name="T81" fmla="*/ 38 h 186"/>
                <a:gd name="T82" fmla="*/ 97 w 126"/>
                <a:gd name="T83" fmla="*/ 36 h 186"/>
                <a:gd name="T84" fmla="*/ 94 w 126"/>
                <a:gd name="T85" fmla="*/ 34 h 186"/>
                <a:gd name="T86" fmla="*/ 93 w 126"/>
                <a:gd name="T87" fmla="*/ 33 h 186"/>
                <a:gd name="T88" fmla="*/ 93 w 126"/>
                <a:gd name="T89" fmla="*/ 33 h 186"/>
                <a:gd name="T90" fmla="*/ 93 w 126"/>
                <a:gd name="T91" fmla="*/ 33 h 186"/>
                <a:gd name="T92" fmla="*/ 91 w 126"/>
                <a:gd name="T93" fmla="*/ 34 h 186"/>
                <a:gd name="T94" fmla="*/ 91 w 126"/>
                <a:gd name="T95" fmla="*/ 31 h 186"/>
                <a:gd name="T96" fmla="*/ 94 w 126"/>
                <a:gd name="T97" fmla="*/ 31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6" h="186">
                  <a:moveTo>
                    <a:pt x="94" y="31"/>
                  </a:moveTo>
                  <a:lnTo>
                    <a:pt x="93" y="30"/>
                  </a:lnTo>
                  <a:lnTo>
                    <a:pt x="96" y="25"/>
                  </a:lnTo>
                  <a:lnTo>
                    <a:pt x="94" y="19"/>
                  </a:lnTo>
                  <a:lnTo>
                    <a:pt x="91" y="17"/>
                  </a:lnTo>
                  <a:lnTo>
                    <a:pt x="88" y="19"/>
                  </a:lnTo>
                  <a:lnTo>
                    <a:pt x="82" y="17"/>
                  </a:lnTo>
                  <a:lnTo>
                    <a:pt x="78" y="14"/>
                  </a:lnTo>
                  <a:lnTo>
                    <a:pt x="77" y="14"/>
                  </a:lnTo>
                  <a:lnTo>
                    <a:pt x="75" y="11"/>
                  </a:lnTo>
                  <a:lnTo>
                    <a:pt x="71" y="9"/>
                  </a:lnTo>
                  <a:lnTo>
                    <a:pt x="68" y="8"/>
                  </a:lnTo>
                  <a:lnTo>
                    <a:pt x="65" y="5"/>
                  </a:lnTo>
                  <a:lnTo>
                    <a:pt x="58" y="0"/>
                  </a:lnTo>
                  <a:lnTo>
                    <a:pt x="54" y="11"/>
                  </a:lnTo>
                  <a:lnTo>
                    <a:pt x="52" y="8"/>
                  </a:lnTo>
                  <a:lnTo>
                    <a:pt x="49" y="8"/>
                  </a:lnTo>
                  <a:lnTo>
                    <a:pt x="32" y="27"/>
                  </a:lnTo>
                  <a:lnTo>
                    <a:pt x="10" y="27"/>
                  </a:lnTo>
                  <a:lnTo>
                    <a:pt x="0" y="27"/>
                  </a:lnTo>
                  <a:lnTo>
                    <a:pt x="0" y="42"/>
                  </a:lnTo>
                  <a:lnTo>
                    <a:pt x="0" y="146"/>
                  </a:lnTo>
                  <a:lnTo>
                    <a:pt x="0" y="179"/>
                  </a:lnTo>
                  <a:lnTo>
                    <a:pt x="5" y="179"/>
                  </a:lnTo>
                  <a:lnTo>
                    <a:pt x="8" y="180"/>
                  </a:lnTo>
                  <a:lnTo>
                    <a:pt x="10" y="183"/>
                  </a:lnTo>
                  <a:lnTo>
                    <a:pt x="11" y="186"/>
                  </a:lnTo>
                  <a:lnTo>
                    <a:pt x="17" y="180"/>
                  </a:lnTo>
                  <a:lnTo>
                    <a:pt x="21" y="177"/>
                  </a:lnTo>
                  <a:lnTo>
                    <a:pt x="24" y="176"/>
                  </a:lnTo>
                  <a:lnTo>
                    <a:pt x="16" y="171"/>
                  </a:lnTo>
                  <a:lnTo>
                    <a:pt x="14" y="166"/>
                  </a:lnTo>
                  <a:lnTo>
                    <a:pt x="17" y="165"/>
                  </a:lnTo>
                  <a:lnTo>
                    <a:pt x="17" y="161"/>
                  </a:lnTo>
                  <a:lnTo>
                    <a:pt x="17" y="155"/>
                  </a:lnTo>
                  <a:lnTo>
                    <a:pt x="22" y="155"/>
                  </a:lnTo>
                  <a:lnTo>
                    <a:pt x="22" y="149"/>
                  </a:lnTo>
                  <a:lnTo>
                    <a:pt x="22" y="147"/>
                  </a:lnTo>
                  <a:lnTo>
                    <a:pt x="21" y="146"/>
                  </a:lnTo>
                  <a:lnTo>
                    <a:pt x="19" y="144"/>
                  </a:lnTo>
                  <a:lnTo>
                    <a:pt x="21" y="144"/>
                  </a:lnTo>
                  <a:lnTo>
                    <a:pt x="22" y="146"/>
                  </a:lnTo>
                  <a:lnTo>
                    <a:pt x="24" y="144"/>
                  </a:lnTo>
                  <a:lnTo>
                    <a:pt x="21" y="143"/>
                  </a:lnTo>
                  <a:lnTo>
                    <a:pt x="17" y="143"/>
                  </a:lnTo>
                  <a:lnTo>
                    <a:pt x="17" y="138"/>
                  </a:lnTo>
                  <a:lnTo>
                    <a:pt x="17" y="135"/>
                  </a:lnTo>
                  <a:lnTo>
                    <a:pt x="17" y="133"/>
                  </a:lnTo>
                  <a:lnTo>
                    <a:pt x="21" y="133"/>
                  </a:lnTo>
                  <a:lnTo>
                    <a:pt x="24" y="135"/>
                  </a:lnTo>
                  <a:lnTo>
                    <a:pt x="30" y="138"/>
                  </a:lnTo>
                  <a:lnTo>
                    <a:pt x="33" y="138"/>
                  </a:lnTo>
                  <a:lnTo>
                    <a:pt x="39" y="138"/>
                  </a:lnTo>
                  <a:lnTo>
                    <a:pt x="46" y="138"/>
                  </a:lnTo>
                  <a:lnTo>
                    <a:pt x="52" y="136"/>
                  </a:lnTo>
                  <a:lnTo>
                    <a:pt x="63" y="135"/>
                  </a:lnTo>
                  <a:lnTo>
                    <a:pt x="71" y="132"/>
                  </a:lnTo>
                  <a:lnTo>
                    <a:pt x="78" y="130"/>
                  </a:lnTo>
                  <a:lnTo>
                    <a:pt x="86" y="128"/>
                  </a:lnTo>
                  <a:lnTo>
                    <a:pt x="93" y="125"/>
                  </a:lnTo>
                  <a:lnTo>
                    <a:pt x="100" y="122"/>
                  </a:lnTo>
                  <a:lnTo>
                    <a:pt x="104" y="122"/>
                  </a:lnTo>
                  <a:lnTo>
                    <a:pt x="110" y="116"/>
                  </a:lnTo>
                  <a:lnTo>
                    <a:pt x="113" y="110"/>
                  </a:lnTo>
                  <a:lnTo>
                    <a:pt x="115" y="103"/>
                  </a:lnTo>
                  <a:lnTo>
                    <a:pt x="116" y="100"/>
                  </a:lnTo>
                  <a:lnTo>
                    <a:pt x="119" y="97"/>
                  </a:lnTo>
                  <a:lnTo>
                    <a:pt x="122" y="94"/>
                  </a:lnTo>
                  <a:lnTo>
                    <a:pt x="126" y="86"/>
                  </a:lnTo>
                  <a:lnTo>
                    <a:pt x="126" y="81"/>
                  </a:lnTo>
                  <a:lnTo>
                    <a:pt x="124" y="74"/>
                  </a:lnTo>
                  <a:lnTo>
                    <a:pt x="121" y="75"/>
                  </a:lnTo>
                  <a:lnTo>
                    <a:pt x="118" y="74"/>
                  </a:lnTo>
                  <a:lnTo>
                    <a:pt x="115" y="70"/>
                  </a:lnTo>
                  <a:lnTo>
                    <a:pt x="111" y="66"/>
                  </a:lnTo>
                  <a:lnTo>
                    <a:pt x="113" y="61"/>
                  </a:lnTo>
                  <a:lnTo>
                    <a:pt x="118" y="56"/>
                  </a:lnTo>
                  <a:lnTo>
                    <a:pt x="118" y="53"/>
                  </a:lnTo>
                  <a:lnTo>
                    <a:pt x="116" y="49"/>
                  </a:lnTo>
                  <a:lnTo>
                    <a:pt x="113" y="45"/>
                  </a:lnTo>
                  <a:lnTo>
                    <a:pt x="108" y="41"/>
                  </a:lnTo>
                  <a:lnTo>
                    <a:pt x="102" y="38"/>
                  </a:lnTo>
                  <a:lnTo>
                    <a:pt x="99" y="36"/>
                  </a:lnTo>
                  <a:lnTo>
                    <a:pt x="97" y="36"/>
                  </a:lnTo>
                  <a:lnTo>
                    <a:pt x="96" y="34"/>
                  </a:lnTo>
                  <a:lnTo>
                    <a:pt x="94" y="34"/>
                  </a:lnTo>
                  <a:lnTo>
                    <a:pt x="94" y="33"/>
                  </a:lnTo>
                  <a:lnTo>
                    <a:pt x="93" y="33"/>
                  </a:lnTo>
                  <a:lnTo>
                    <a:pt x="93" y="34"/>
                  </a:lnTo>
                  <a:lnTo>
                    <a:pt x="93" y="33"/>
                  </a:lnTo>
                  <a:lnTo>
                    <a:pt x="93" y="34"/>
                  </a:lnTo>
                  <a:lnTo>
                    <a:pt x="93" y="33"/>
                  </a:lnTo>
                  <a:lnTo>
                    <a:pt x="93" y="34"/>
                  </a:lnTo>
                  <a:lnTo>
                    <a:pt x="91" y="34"/>
                  </a:lnTo>
                  <a:lnTo>
                    <a:pt x="91" y="33"/>
                  </a:lnTo>
                  <a:lnTo>
                    <a:pt x="91" y="31"/>
                  </a:lnTo>
                  <a:lnTo>
                    <a:pt x="93" y="31"/>
                  </a:lnTo>
                  <a:lnTo>
                    <a:pt x="94" y="31"/>
                  </a:lnTo>
                </a:path>
              </a:pathLst>
            </a:custGeom>
            <a:solidFill>
              <a:schemeClr val="bg2">
                <a:lumMod val="10000"/>
                <a:lumOff val="90000"/>
              </a:schemeClr>
            </a:solidFill>
            <a:ln w="0">
              <a:solidFill>
                <a:srgbClr val="25221E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algn="ctr" eaLnBrk="0" hangingPunct="0">
                <a:defRPr/>
              </a:pPr>
              <a:endParaRPr lang="es-AR" sz="1200" b="1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51" name="Freeform 97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2220656" y="1902267"/>
              <a:ext cx="554878" cy="588852"/>
            </a:xfrm>
            <a:custGeom>
              <a:avLst/>
              <a:gdLst>
                <a:gd name="T0" fmla="*/ 30 w 75"/>
                <a:gd name="T1" fmla="*/ 81 h 83"/>
                <a:gd name="T2" fmla="*/ 27 w 75"/>
                <a:gd name="T3" fmla="*/ 72 h 83"/>
                <a:gd name="T4" fmla="*/ 16 w 75"/>
                <a:gd name="T5" fmla="*/ 70 h 83"/>
                <a:gd name="T6" fmla="*/ 8 w 75"/>
                <a:gd name="T7" fmla="*/ 73 h 83"/>
                <a:gd name="T8" fmla="*/ 0 w 75"/>
                <a:gd name="T9" fmla="*/ 73 h 83"/>
                <a:gd name="T10" fmla="*/ 0 w 75"/>
                <a:gd name="T11" fmla="*/ 61 h 83"/>
                <a:gd name="T12" fmla="*/ 5 w 75"/>
                <a:gd name="T13" fmla="*/ 47 h 83"/>
                <a:gd name="T14" fmla="*/ 9 w 75"/>
                <a:gd name="T15" fmla="*/ 36 h 83"/>
                <a:gd name="T16" fmla="*/ 14 w 75"/>
                <a:gd name="T17" fmla="*/ 26 h 83"/>
                <a:gd name="T18" fmla="*/ 16 w 75"/>
                <a:gd name="T19" fmla="*/ 19 h 83"/>
                <a:gd name="T20" fmla="*/ 16 w 75"/>
                <a:gd name="T21" fmla="*/ 6 h 83"/>
                <a:gd name="T22" fmla="*/ 20 w 75"/>
                <a:gd name="T23" fmla="*/ 1 h 83"/>
                <a:gd name="T24" fmla="*/ 28 w 75"/>
                <a:gd name="T25" fmla="*/ 0 h 83"/>
                <a:gd name="T26" fmla="*/ 38 w 75"/>
                <a:gd name="T27" fmla="*/ 3 h 83"/>
                <a:gd name="T28" fmla="*/ 44 w 75"/>
                <a:gd name="T29" fmla="*/ 4 h 83"/>
                <a:gd name="T30" fmla="*/ 50 w 75"/>
                <a:gd name="T31" fmla="*/ 4 h 83"/>
                <a:gd name="T32" fmla="*/ 58 w 75"/>
                <a:gd name="T33" fmla="*/ 6 h 83"/>
                <a:gd name="T34" fmla="*/ 63 w 75"/>
                <a:gd name="T35" fmla="*/ 6 h 83"/>
                <a:gd name="T36" fmla="*/ 69 w 75"/>
                <a:gd name="T37" fmla="*/ 1 h 83"/>
                <a:gd name="T38" fmla="*/ 69 w 75"/>
                <a:gd name="T39" fmla="*/ 9 h 83"/>
                <a:gd name="T40" fmla="*/ 72 w 75"/>
                <a:gd name="T41" fmla="*/ 20 h 83"/>
                <a:gd name="T42" fmla="*/ 74 w 75"/>
                <a:gd name="T43" fmla="*/ 26 h 83"/>
                <a:gd name="T44" fmla="*/ 74 w 75"/>
                <a:gd name="T45" fmla="*/ 31 h 83"/>
                <a:gd name="T46" fmla="*/ 71 w 75"/>
                <a:gd name="T47" fmla="*/ 33 h 83"/>
                <a:gd name="T48" fmla="*/ 67 w 75"/>
                <a:gd name="T49" fmla="*/ 34 h 83"/>
                <a:gd name="T50" fmla="*/ 63 w 75"/>
                <a:gd name="T51" fmla="*/ 39 h 83"/>
                <a:gd name="T52" fmla="*/ 60 w 75"/>
                <a:gd name="T53" fmla="*/ 47 h 83"/>
                <a:gd name="T54" fmla="*/ 57 w 75"/>
                <a:gd name="T55" fmla="*/ 48 h 83"/>
                <a:gd name="T56" fmla="*/ 53 w 75"/>
                <a:gd name="T57" fmla="*/ 55 h 83"/>
                <a:gd name="T58" fmla="*/ 46 w 75"/>
                <a:gd name="T59" fmla="*/ 63 h 83"/>
                <a:gd name="T60" fmla="*/ 42 w 75"/>
                <a:gd name="T61" fmla="*/ 64 h 83"/>
                <a:gd name="T62" fmla="*/ 41 w 75"/>
                <a:gd name="T63" fmla="*/ 72 h 83"/>
                <a:gd name="T64" fmla="*/ 36 w 75"/>
                <a:gd name="T65" fmla="*/ 75 h 83"/>
                <a:gd name="T66" fmla="*/ 36 w 75"/>
                <a:gd name="T67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5" h="83">
                  <a:moveTo>
                    <a:pt x="35" y="83"/>
                  </a:moveTo>
                  <a:lnTo>
                    <a:pt x="30" y="81"/>
                  </a:lnTo>
                  <a:lnTo>
                    <a:pt x="30" y="77"/>
                  </a:lnTo>
                  <a:lnTo>
                    <a:pt x="27" y="72"/>
                  </a:lnTo>
                  <a:lnTo>
                    <a:pt x="20" y="70"/>
                  </a:lnTo>
                  <a:lnTo>
                    <a:pt x="16" y="70"/>
                  </a:lnTo>
                  <a:lnTo>
                    <a:pt x="11" y="70"/>
                  </a:lnTo>
                  <a:lnTo>
                    <a:pt x="8" y="73"/>
                  </a:lnTo>
                  <a:lnTo>
                    <a:pt x="2" y="73"/>
                  </a:lnTo>
                  <a:lnTo>
                    <a:pt x="0" y="73"/>
                  </a:lnTo>
                  <a:lnTo>
                    <a:pt x="2" y="66"/>
                  </a:lnTo>
                  <a:lnTo>
                    <a:pt x="0" y="61"/>
                  </a:lnTo>
                  <a:lnTo>
                    <a:pt x="2" y="56"/>
                  </a:lnTo>
                  <a:lnTo>
                    <a:pt x="5" y="47"/>
                  </a:lnTo>
                  <a:lnTo>
                    <a:pt x="9" y="41"/>
                  </a:lnTo>
                  <a:lnTo>
                    <a:pt x="9" y="36"/>
                  </a:lnTo>
                  <a:lnTo>
                    <a:pt x="13" y="30"/>
                  </a:lnTo>
                  <a:lnTo>
                    <a:pt x="14" y="26"/>
                  </a:lnTo>
                  <a:lnTo>
                    <a:pt x="13" y="23"/>
                  </a:lnTo>
                  <a:lnTo>
                    <a:pt x="16" y="19"/>
                  </a:lnTo>
                  <a:lnTo>
                    <a:pt x="17" y="9"/>
                  </a:lnTo>
                  <a:lnTo>
                    <a:pt x="16" y="6"/>
                  </a:lnTo>
                  <a:lnTo>
                    <a:pt x="19" y="4"/>
                  </a:lnTo>
                  <a:lnTo>
                    <a:pt x="20" y="1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1" y="1"/>
                  </a:lnTo>
                  <a:lnTo>
                    <a:pt x="38" y="3"/>
                  </a:lnTo>
                  <a:lnTo>
                    <a:pt x="41" y="6"/>
                  </a:lnTo>
                  <a:lnTo>
                    <a:pt x="44" y="4"/>
                  </a:lnTo>
                  <a:lnTo>
                    <a:pt x="50" y="8"/>
                  </a:lnTo>
                  <a:lnTo>
                    <a:pt x="50" y="4"/>
                  </a:lnTo>
                  <a:lnTo>
                    <a:pt x="55" y="6"/>
                  </a:lnTo>
                  <a:lnTo>
                    <a:pt x="58" y="6"/>
                  </a:lnTo>
                  <a:lnTo>
                    <a:pt x="61" y="6"/>
                  </a:lnTo>
                  <a:lnTo>
                    <a:pt x="63" y="6"/>
                  </a:lnTo>
                  <a:lnTo>
                    <a:pt x="66" y="3"/>
                  </a:lnTo>
                  <a:lnTo>
                    <a:pt x="69" y="1"/>
                  </a:lnTo>
                  <a:lnTo>
                    <a:pt x="67" y="4"/>
                  </a:lnTo>
                  <a:lnTo>
                    <a:pt x="69" y="9"/>
                  </a:lnTo>
                  <a:lnTo>
                    <a:pt x="72" y="15"/>
                  </a:lnTo>
                  <a:lnTo>
                    <a:pt x="72" y="20"/>
                  </a:lnTo>
                  <a:lnTo>
                    <a:pt x="75" y="22"/>
                  </a:lnTo>
                  <a:lnTo>
                    <a:pt x="74" y="26"/>
                  </a:lnTo>
                  <a:lnTo>
                    <a:pt x="75" y="30"/>
                  </a:lnTo>
                  <a:lnTo>
                    <a:pt x="74" y="31"/>
                  </a:lnTo>
                  <a:lnTo>
                    <a:pt x="71" y="30"/>
                  </a:lnTo>
                  <a:lnTo>
                    <a:pt x="71" y="33"/>
                  </a:lnTo>
                  <a:lnTo>
                    <a:pt x="69" y="34"/>
                  </a:lnTo>
                  <a:lnTo>
                    <a:pt x="67" y="34"/>
                  </a:lnTo>
                  <a:lnTo>
                    <a:pt x="66" y="39"/>
                  </a:lnTo>
                  <a:lnTo>
                    <a:pt x="63" y="39"/>
                  </a:lnTo>
                  <a:lnTo>
                    <a:pt x="61" y="44"/>
                  </a:lnTo>
                  <a:lnTo>
                    <a:pt x="60" y="47"/>
                  </a:lnTo>
                  <a:lnTo>
                    <a:pt x="58" y="47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53" y="55"/>
                  </a:lnTo>
                  <a:lnTo>
                    <a:pt x="49" y="59"/>
                  </a:lnTo>
                  <a:lnTo>
                    <a:pt x="46" y="63"/>
                  </a:lnTo>
                  <a:lnTo>
                    <a:pt x="44" y="61"/>
                  </a:lnTo>
                  <a:lnTo>
                    <a:pt x="42" y="64"/>
                  </a:lnTo>
                  <a:lnTo>
                    <a:pt x="42" y="66"/>
                  </a:lnTo>
                  <a:lnTo>
                    <a:pt x="41" y="72"/>
                  </a:lnTo>
                  <a:lnTo>
                    <a:pt x="38" y="73"/>
                  </a:lnTo>
                  <a:lnTo>
                    <a:pt x="36" y="75"/>
                  </a:lnTo>
                  <a:lnTo>
                    <a:pt x="35" y="77"/>
                  </a:lnTo>
                  <a:lnTo>
                    <a:pt x="36" y="83"/>
                  </a:lnTo>
                  <a:lnTo>
                    <a:pt x="35" y="83"/>
                  </a:lnTo>
                </a:path>
              </a:pathLst>
            </a:custGeom>
            <a:solidFill>
              <a:schemeClr val="bg2">
                <a:lumMod val="10000"/>
                <a:lumOff val="90000"/>
              </a:schemeClr>
            </a:solidFill>
            <a:ln w="0">
              <a:solidFill>
                <a:srgbClr val="25221E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algn="ctr" eaLnBrk="0" hangingPunct="0">
                <a:defRPr/>
              </a:pPr>
              <a:endParaRPr lang="es-AR" sz="1200" b="1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52" name="Freeform 98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2071669" y="2397982"/>
              <a:ext cx="407595" cy="660379"/>
            </a:xfrm>
            <a:custGeom>
              <a:avLst/>
              <a:gdLst>
                <a:gd name="T0" fmla="*/ 22 w 55"/>
                <a:gd name="T1" fmla="*/ 83 h 93"/>
                <a:gd name="T2" fmla="*/ 19 w 55"/>
                <a:gd name="T3" fmla="*/ 82 h 93"/>
                <a:gd name="T4" fmla="*/ 16 w 55"/>
                <a:gd name="T5" fmla="*/ 79 h 93"/>
                <a:gd name="T6" fmla="*/ 9 w 55"/>
                <a:gd name="T7" fmla="*/ 74 h 93"/>
                <a:gd name="T8" fmla="*/ 3 w 55"/>
                <a:gd name="T9" fmla="*/ 68 h 93"/>
                <a:gd name="T10" fmla="*/ 1 w 55"/>
                <a:gd name="T11" fmla="*/ 65 h 93"/>
                <a:gd name="T12" fmla="*/ 1 w 55"/>
                <a:gd name="T13" fmla="*/ 58 h 93"/>
                <a:gd name="T14" fmla="*/ 0 w 55"/>
                <a:gd name="T15" fmla="*/ 55 h 93"/>
                <a:gd name="T16" fmla="*/ 1 w 55"/>
                <a:gd name="T17" fmla="*/ 46 h 93"/>
                <a:gd name="T18" fmla="*/ 1 w 55"/>
                <a:gd name="T19" fmla="*/ 39 h 93"/>
                <a:gd name="T20" fmla="*/ 5 w 55"/>
                <a:gd name="T21" fmla="*/ 36 h 93"/>
                <a:gd name="T22" fmla="*/ 8 w 55"/>
                <a:gd name="T23" fmla="*/ 36 h 93"/>
                <a:gd name="T24" fmla="*/ 6 w 55"/>
                <a:gd name="T25" fmla="*/ 32 h 93"/>
                <a:gd name="T26" fmla="*/ 11 w 55"/>
                <a:gd name="T27" fmla="*/ 30 h 93"/>
                <a:gd name="T28" fmla="*/ 14 w 55"/>
                <a:gd name="T29" fmla="*/ 24 h 93"/>
                <a:gd name="T30" fmla="*/ 17 w 55"/>
                <a:gd name="T31" fmla="*/ 16 h 93"/>
                <a:gd name="T32" fmla="*/ 20 w 55"/>
                <a:gd name="T33" fmla="*/ 3 h 93"/>
                <a:gd name="T34" fmla="*/ 22 w 55"/>
                <a:gd name="T35" fmla="*/ 3 h 93"/>
                <a:gd name="T36" fmla="*/ 28 w 55"/>
                <a:gd name="T37" fmla="*/ 3 h 93"/>
                <a:gd name="T38" fmla="*/ 31 w 55"/>
                <a:gd name="T39" fmla="*/ 0 h 93"/>
                <a:gd name="T40" fmla="*/ 36 w 55"/>
                <a:gd name="T41" fmla="*/ 0 h 93"/>
                <a:gd name="T42" fmla="*/ 40 w 55"/>
                <a:gd name="T43" fmla="*/ 0 h 93"/>
                <a:gd name="T44" fmla="*/ 47 w 55"/>
                <a:gd name="T45" fmla="*/ 2 h 93"/>
                <a:gd name="T46" fmla="*/ 50 w 55"/>
                <a:gd name="T47" fmla="*/ 7 h 93"/>
                <a:gd name="T48" fmla="*/ 50 w 55"/>
                <a:gd name="T49" fmla="*/ 11 h 93"/>
                <a:gd name="T50" fmla="*/ 55 w 55"/>
                <a:gd name="T51" fmla="*/ 13 h 93"/>
                <a:gd name="T52" fmla="*/ 55 w 55"/>
                <a:gd name="T53" fmla="*/ 16 h 93"/>
                <a:gd name="T54" fmla="*/ 55 w 55"/>
                <a:gd name="T55" fmla="*/ 19 h 93"/>
                <a:gd name="T56" fmla="*/ 55 w 55"/>
                <a:gd name="T57" fmla="*/ 21 h 93"/>
                <a:gd name="T58" fmla="*/ 55 w 55"/>
                <a:gd name="T59" fmla="*/ 24 h 93"/>
                <a:gd name="T60" fmla="*/ 51 w 55"/>
                <a:gd name="T61" fmla="*/ 28 h 93"/>
                <a:gd name="T62" fmla="*/ 51 w 55"/>
                <a:gd name="T63" fmla="*/ 32 h 93"/>
                <a:gd name="T64" fmla="*/ 51 w 55"/>
                <a:gd name="T65" fmla="*/ 36 h 93"/>
                <a:gd name="T66" fmla="*/ 50 w 55"/>
                <a:gd name="T67" fmla="*/ 39 h 93"/>
                <a:gd name="T68" fmla="*/ 47 w 55"/>
                <a:gd name="T69" fmla="*/ 39 h 93"/>
                <a:gd name="T70" fmla="*/ 48 w 55"/>
                <a:gd name="T71" fmla="*/ 44 h 93"/>
                <a:gd name="T72" fmla="*/ 47 w 55"/>
                <a:gd name="T73" fmla="*/ 46 h 93"/>
                <a:gd name="T74" fmla="*/ 50 w 55"/>
                <a:gd name="T75" fmla="*/ 47 h 93"/>
                <a:gd name="T76" fmla="*/ 48 w 55"/>
                <a:gd name="T77" fmla="*/ 55 h 93"/>
                <a:gd name="T78" fmla="*/ 48 w 55"/>
                <a:gd name="T79" fmla="*/ 63 h 93"/>
                <a:gd name="T80" fmla="*/ 50 w 55"/>
                <a:gd name="T81" fmla="*/ 69 h 93"/>
                <a:gd name="T82" fmla="*/ 48 w 55"/>
                <a:gd name="T83" fmla="*/ 76 h 93"/>
                <a:gd name="T84" fmla="*/ 42 w 55"/>
                <a:gd name="T85" fmla="*/ 76 h 93"/>
                <a:gd name="T86" fmla="*/ 40 w 55"/>
                <a:gd name="T87" fmla="*/ 79 h 93"/>
                <a:gd name="T88" fmla="*/ 40 w 55"/>
                <a:gd name="T89" fmla="*/ 83 h 93"/>
                <a:gd name="T90" fmla="*/ 40 w 55"/>
                <a:gd name="T91" fmla="*/ 90 h 93"/>
                <a:gd name="T92" fmla="*/ 42 w 55"/>
                <a:gd name="T93" fmla="*/ 91 h 93"/>
                <a:gd name="T94" fmla="*/ 39 w 55"/>
                <a:gd name="T95" fmla="*/ 93 h 93"/>
                <a:gd name="T96" fmla="*/ 33 w 55"/>
                <a:gd name="T97" fmla="*/ 91 h 93"/>
                <a:gd name="T98" fmla="*/ 29 w 55"/>
                <a:gd name="T99" fmla="*/ 88 h 93"/>
                <a:gd name="T100" fmla="*/ 28 w 55"/>
                <a:gd name="T101" fmla="*/ 88 h 93"/>
                <a:gd name="T102" fmla="*/ 26 w 55"/>
                <a:gd name="T103" fmla="*/ 85 h 93"/>
                <a:gd name="T104" fmla="*/ 22 w 55"/>
                <a:gd name="T105" fmla="*/ 8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5" h="93">
                  <a:moveTo>
                    <a:pt x="22" y="83"/>
                  </a:moveTo>
                  <a:lnTo>
                    <a:pt x="19" y="82"/>
                  </a:lnTo>
                  <a:lnTo>
                    <a:pt x="16" y="79"/>
                  </a:lnTo>
                  <a:lnTo>
                    <a:pt x="9" y="74"/>
                  </a:lnTo>
                  <a:lnTo>
                    <a:pt x="3" y="68"/>
                  </a:lnTo>
                  <a:lnTo>
                    <a:pt x="1" y="65"/>
                  </a:lnTo>
                  <a:lnTo>
                    <a:pt x="1" y="58"/>
                  </a:lnTo>
                  <a:lnTo>
                    <a:pt x="0" y="55"/>
                  </a:lnTo>
                  <a:lnTo>
                    <a:pt x="1" y="46"/>
                  </a:lnTo>
                  <a:lnTo>
                    <a:pt x="1" y="39"/>
                  </a:lnTo>
                  <a:lnTo>
                    <a:pt x="5" y="36"/>
                  </a:lnTo>
                  <a:lnTo>
                    <a:pt x="8" y="36"/>
                  </a:lnTo>
                  <a:lnTo>
                    <a:pt x="6" y="32"/>
                  </a:lnTo>
                  <a:lnTo>
                    <a:pt x="11" y="30"/>
                  </a:lnTo>
                  <a:lnTo>
                    <a:pt x="14" y="24"/>
                  </a:lnTo>
                  <a:lnTo>
                    <a:pt x="17" y="16"/>
                  </a:lnTo>
                  <a:lnTo>
                    <a:pt x="20" y="3"/>
                  </a:lnTo>
                  <a:lnTo>
                    <a:pt x="22" y="3"/>
                  </a:lnTo>
                  <a:lnTo>
                    <a:pt x="28" y="3"/>
                  </a:lnTo>
                  <a:lnTo>
                    <a:pt x="31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7" y="2"/>
                  </a:lnTo>
                  <a:lnTo>
                    <a:pt x="50" y="7"/>
                  </a:lnTo>
                  <a:lnTo>
                    <a:pt x="50" y="11"/>
                  </a:lnTo>
                  <a:lnTo>
                    <a:pt x="55" y="13"/>
                  </a:lnTo>
                  <a:lnTo>
                    <a:pt x="55" y="16"/>
                  </a:lnTo>
                  <a:lnTo>
                    <a:pt x="55" y="19"/>
                  </a:lnTo>
                  <a:lnTo>
                    <a:pt x="55" y="21"/>
                  </a:lnTo>
                  <a:lnTo>
                    <a:pt x="55" y="24"/>
                  </a:lnTo>
                  <a:lnTo>
                    <a:pt x="51" y="28"/>
                  </a:lnTo>
                  <a:lnTo>
                    <a:pt x="51" y="32"/>
                  </a:lnTo>
                  <a:lnTo>
                    <a:pt x="51" y="36"/>
                  </a:lnTo>
                  <a:lnTo>
                    <a:pt x="50" y="39"/>
                  </a:lnTo>
                  <a:lnTo>
                    <a:pt x="47" y="39"/>
                  </a:lnTo>
                  <a:lnTo>
                    <a:pt x="48" y="44"/>
                  </a:lnTo>
                  <a:lnTo>
                    <a:pt x="47" y="46"/>
                  </a:lnTo>
                  <a:lnTo>
                    <a:pt x="50" y="47"/>
                  </a:lnTo>
                  <a:lnTo>
                    <a:pt x="48" y="55"/>
                  </a:lnTo>
                  <a:lnTo>
                    <a:pt x="48" y="63"/>
                  </a:lnTo>
                  <a:lnTo>
                    <a:pt x="50" y="69"/>
                  </a:lnTo>
                  <a:lnTo>
                    <a:pt x="48" y="76"/>
                  </a:lnTo>
                  <a:lnTo>
                    <a:pt x="42" y="76"/>
                  </a:lnTo>
                  <a:lnTo>
                    <a:pt x="40" y="79"/>
                  </a:lnTo>
                  <a:lnTo>
                    <a:pt x="40" y="83"/>
                  </a:lnTo>
                  <a:lnTo>
                    <a:pt x="40" y="90"/>
                  </a:lnTo>
                  <a:lnTo>
                    <a:pt x="42" y="91"/>
                  </a:lnTo>
                  <a:lnTo>
                    <a:pt x="39" y="93"/>
                  </a:lnTo>
                  <a:lnTo>
                    <a:pt x="33" y="91"/>
                  </a:lnTo>
                  <a:lnTo>
                    <a:pt x="29" y="88"/>
                  </a:lnTo>
                  <a:lnTo>
                    <a:pt x="28" y="88"/>
                  </a:lnTo>
                  <a:lnTo>
                    <a:pt x="26" y="85"/>
                  </a:lnTo>
                  <a:lnTo>
                    <a:pt x="22" y="83"/>
                  </a:lnTo>
                </a:path>
              </a:pathLst>
            </a:custGeom>
            <a:solidFill>
              <a:schemeClr val="bg2">
                <a:lumMod val="10000"/>
                <a:lumOff val="90000"/>
              </a:schemeClr>
            </a:solidFill>
            <a:ln w="0">
              <a:solidFill>
                <a:srgbClr val="25221E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algn="ctr" eaLnBrk="0" hangingPunct="0">
                <a:defRPr/>
              </a:pPr>
              <a:endParaRPr lang="es-AR" sz="1200" b="1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53" name="Freeform 99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1782243" y="2037000"/>
              <a:ext cx="556590" cy="1077899"/>
            </a:xfrm>
            <a:custGeom>
              <a:avLst/>
              <a:gdLst>
                <a:gd name="T0" fmla="*/ 42 w 75"/>
                <a:gd name="T1" fmla="*/ 119 h 152"/>
                <a:gd name="T2" fmla="*/ 48 w 75"/>
                <a:gd name="T3" fmla="*/ 125 h 152"/>
                <a:gd name="T4" fmla="*/ 44 w 75"/>
                <a:gd name="T5" fmla="*/ 136 h 152"/>
                <a:gd name="T6" fmla="*/ 42 w 75"/>
                <a:gd name="T7" fmla="*/ 133 h 152"/>
                <a:gd name="T8" fmla="*/ 39 w 75"/>
                <a:gd name="T9" fmla="*/ 133 h 152"/>
                <a:gd name="T10" fmla="*/ 22 w 75"/>
                <a:gd name="T11" fmla="*/ 152 h 152"/>
                <a:gd name="T12" fmla="*/ 0 w 75"/>
                <a:gd name="T13" fmla="*/ 152 h 152"/>
                <a:gd name="T14" fmla="*/ 17 w 75"/>
                <a:gd name="T15" fmla="*/ 122 h 152"/>
                <a:gd name="T16" fmla="*/ 20 w 75"/>
                <a:gd name="T17" fmla="*/ 120 h 152"/>
                <a:gd name="T18" fmla="*/ 20 w 75"/>
                <a:gd name="T19" fmla="*/ 117 h 152"/>
                <a:gd name="T20" fmla="*/ 20 w 75"/>
                <a:gd name="T21" fmla="*/ 114 h 152"/>
                <a:gd name="T22" fmla="*/ 15 w 75"/>
                <a:gd name="T23" fmla="*/ 105 h 152"/>
                <a:gd name="T24" fmla="*/ 14 w 75"/>
                <a:gd name="T25" fmla="*/ 101 h 152"/>
                <a:gd name="T26" fmla="*/ 12 w 75"/>
                <a:gd name="T27" fmla="*/ 98 h 152"/>
                <a:gd name="T28" fmla="*/ 14 w 75"/>
                <a:gd name="T29" fmla="*/ 95 h 152"/>
                <a:gd name="T30" fmla="*/ 12 w 75"/>
                <a:gd name="T31" fmla="*/ 92 h 152"/>
                <a:gd name="T32" fmla="*/ 12 w 75"/>
                <a:gd name="T33" fmla="*/ 90 h 152"/>
                <a:gd name="T34" fmla="*/ 14 w 75"/>
                <a:gd name="T35" fmla="*/ 87 h 152"/>
                <a:gd name="T36" fmla="*/ 18 w 75"/>
                <a:gd name="T37" fmla="*/ 67 h 152"/>
                <a:gd name="T38" fmla="*/ 14 w 75"/>
                <a:gd name="T39" fmla="*/ 59 h 152"/>
                <a:gd name="T40" fmla="*/ 22 w 75"/>
                <a:gd name="T41" fmla="*/ 0 h 152"/>
                <a:gd name="T42" fmla="*/ 73 w 75"/>
                <a:gd name="T43" fmla="*/ 0 h 152"/>
                <a:gd name="T44" fmla="*/ 75 w 75"/>
                <a:gd name="T45" fmla="*/ 0 h 152"/>
                <a:gd name="T46" fmla="*/ 72 w 75"/>
                <a:gd name="T47" fmla="*/ 4 h 152"/>
                <a:gd name="T48" fmla="*/ 73 w 75"/>
                <a:gd name="T49" fmla="*/ 7 h 152"/>
                <a:gd name="T50" fmla="*/ 72 w 75"/>
                <a:gd name="T51" fmla="*/ 11 h 152"/>
                <a:gd name="T52" fmla="*/ 68 w 75"/>
                <a:gd name="T53" fmla="*/ 17 h 152"/>
                <a:gd name="T54" fmla="*/ 68 w 75"/>
                <a:gd name="T55" fmla="*/ 22 h 152"/>
                <a:gd name="T56" fmla="*/ 64 w 75"/>
                <a:gd name="T57" fmla="*/ 28 h 152"/>
                <a:gd name="T58" fmla="*/ 61 w 75"/>
                <a:gd name="T59" fmla="*/ 37 h 152"/>
                <a:gd name="T60" fmla="*/ 59 w 75"/>
                <a:gd name="T61" fmla="*/ 42 h 152"/>
                <a:gd name="T62" fmla="*/ 61 w 75"/>
                <a:gd name="T63" fmla="*/ 47 h 152"/>
                <a:gd name="T64" fmla="*/ 59 w 75"/>
                <a:gd name="T65" fmla="*/ 54 h 152"/>
                <a:gd name="T66" fmla="*/ 56 w 75"/>
                <a:gd name="T67" fmla="*/ 67 h 152"/>
                <a:gd name="T68" fmla="*/ 53 w 75"/>
                <a:gd name="T69" fmla="*/ 75 h 152"/>
                <a:gd name="T70" fmla="*/ 50 w 75"/>
                <a:gd name="T71" fmla="*/ 81 h 152"/>
                <a:gd name="T72" fmla="*/ 45 w 75"/>
                <a:gd name="T73" fmla="*/ 83 h 152"/>
                <a:gd name="T74" fmla="*/ 47 w 75"/>
                <a:gd name="T75" fmla="*/ 87 h 152"/>
                <a:gd name="T76" fmla="*/ 44 w 75"/>
                <a:gd name="T77" fmla="*/ 87 h 152"/>
                <a:gd name="T78" fmla="*/ 40 w 75"/>
                <a:gd name="T79" fmla="*/ 90 h 152"/>
                <a:gd name="T80" fmla="*/ 40 w 75"/>
                <a:gd name="T81" fmla="*/ 97 h 152"/>
                <a:gd name="T82" fmla="*/ 39 w 75"/>
                <a:gd name="T83" fmla="*/ 106 h 152"/>
                <a:gd name="T84" fmla="*/ 40 w 75"/>
                <a:gd name="T85" fmla="*/ 109 h 152"/>
                <a:gd name="T86" fmla="*/ 40 w 75"/>
                <a:gd name="T87" fmla="*/ 116 h 152"/>
                <a:gd name="T88" fmla="*/ 42 w 75"/>
                <a:gd name="T89" fmla="*/ 11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5" h="152">
                  <a:moveTo>
                    <a:pt x="42" y="119"/>
                  </a:moveTo>
                  <a:lnTo>
                    <a:pt x="48" y="125"/>
                  </a:lnTo>
                  <a:lnTo>
                    <a:pt x="44" y="136"/>
                  </a:lnTo>
                  <a:lnTo>
                    <a:pt x="42" y="133"/>
                  </a:lnTo>
                  <a:lnTo>
                    <a:pt x="39" y="133"/>
                  </a:lnTo>
                  <a:lnTo>
                    <a:pt x="22" y="152"/>
                  </a:lnTo>
                  <a:lnTo>
                    <a:pt x="0" y="152"/>
                  </a:lnTo>
                  <a:lnTo>
                    <a:pt x="17" y="122"/>
                  </a:lnTo>
                  <a:lnTo>
                    <a:pt x="20" y="120"/>
                  </a:lnTo>
                  <a:lnTo>
                    <a:pt x="20" y="117"/>
                  </a:lnTo>
                  <a:lnTo>
                    <a:pt x="20" y="114"/>
                  </a:lnTo>
                  <a:lnTo>
                    <a:pt x="15" y="105"/>
                  </a:lnTo>
                  <a:lnTo>
                    <a:pt x="14" y="101"/>
                  </a:lnTo>
                  <a:lnTo>
                    <a:pt x="12" y="98"/>
                  </a:lnTo>
                  <a:lnTo>
                    <a:pt x="14" y="95"/>
                  </a:lnTo>
                  <a:lnTo>
                    <a:pt x="12" y="92"/>
                  </a:lnTo>
                  <a:lnTo>
                    <a:pt x="12" y="90"/>
                  </a:lnTo>
                  <a:lnTo>
                    <a:pt x="14" y="87"/>
                  </a:lnTo>
                  <a:lnTo>
                    <a:pt x="18" y="67"/>
                  </a:lnTo>
                  <a:lnTo>
                    <a:pt x="14" y="59"/>
                  </a:lnTo>
                  <a:lnTo>
                    <a:pt x="22" y="0"/>
                  </a:lnTo>
                  <a:lnTo>
                    <a:pt x="73" y="0"/>
                  </a:lnTo>
                  <a:lnTo>
                    <a:pt x="75" y="0"/>
                  </a:lnTo>
                  <a:lnTo>
                    <a:pt x="72" y="4"/>
                  </a:lnTo>
                  <a:lnTo>
                    <a:pt x="73" y="7"/>
                  </a:lnTo>
                  <a:lnTo>
                    <a:pt x="72" y="11"/>
                  </a:lnTo>
                  <a:lnTo>
                    <a:pt x="68" y="17"/>
                  </a:lnTo>
                  <a:lnTo>
                    <a:pt x="68" y="22"/>
                  </a:lnTo>
                  <a:lnTo>
                    <a:pt x="64" y="28"/>
                  </a:lnTo>
                  <a:lnTo>
                    <a:pt x="61" y="37"/>
                  </a:lnTo>
                  <a:lnTo>
                    <a:pt x="59" y="42"/>
                  </a:lnTo>
                  <a:lnTo>
                    <a:pt x="61" y="47"/>
                  </a:lnTo>
                  <a:lnTo>
                    <a:pt x="59" y="54"/>
                  </a:lnTo>
                  <a:lnTo>
                    <a:pt x="56" y="67"/>
                  </a:lnTo>
                  <a:lnTo>
                    <a:pt x="53" y="75"/>
                  </a:lnTo>
                  <a:lnTo>
                    <a:pt x="50" y="81"/>
                  </a:lnTo>
                  <a:lnTo>
                    <a:pt x="45" y="83"/>
                  </a:lnTo>
                  <a:lnTo>
                    <a:pt x="47" y="87"/>
                  </a:lnTo>
                  <a:lnTo>
                    <a:pt x="44" y="87"/>
                  </a:lnTo>
                  <a:lnTo>
                    <a:pt x="40" y="90"/>
                  </a:lnTo>
                  <a:lnTo>
                    <a:pt x="40" y="97"/>
                  </a:lnTo>
                  <a:lnTo>
                    <a:pt x="39" y="106"/>
                  </a:lnTo>
                  <a:lnTo>
                    <a:pt x="40" y="109"/>
                  </a:lnTo>
                  <a:lnTo>
                    <a:pt x="40" y="116"/>
                  </a:lnTo>
                  <a:lnTo>
                    <a:pt x="42" y="119"/>
                  </a:lnTo>
                </a:path>
              </a:pathLst>
            </a:custGeom>
            <a:solidFill>
              <a:schemeClr val="bg2">
                <a:lumMod val="10000"/>
                <a:lumOff val="90000"/>
              </a:schemeClr>
            </a:solidFill>
            <a:ln w="0">
              <a:solidFill>
                <a:srgbClr val="25221E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algn="ctr" eaLnBrk="0" hangingPunct="0">
                <a:defRPr/>
              </a:pPr>
              <a:endParaRPr lang="es-AR" sz="1200" b="1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54" name="Freeform 100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1701741" y="1378284"/>
              <a:ext cx="703873" cy="658716"/>
            </a:xfrm>
            <a:custGeom>
              <a:avLst/>
              <a:gdLst>
                <a:gd name="T0" fmla="*/ 33 w 95"/>
                <a:gd name="T1" fmla="*/ 36 h 93"/>
                <a:gd name="T2" fmla="*/ 0 w 95"/>
                <a:gd name="T3" fmla="*/ 36 h 93"/>
                <a:gd name="T4" fmla="*/ 20 w 95"/>
                <a:gd name="T5" fmla="*/ 6 h 93"/>
                <a:gd name="T6" fmla="*/ 20 w 95"/>
                <a:gd name="T7" fmla="*/ 0 h 93"/>
                <a:gd name="T8" fmla="*/ 23 w 95"/>
                <a:gd name="T9" fmla="*/ 2 h 93"/>
                <a:gd name="T10" fmla="*/ 26 w 95"/>
                <a:gd name="T11" fmla="*/ 3 h 93"/>
                <a:gd name="T12" fmla="*/ 29 w 95"/>
                <a:gd name="T13" fmla="*/ 5 h 93"/>
                <a:gd name="T14" fmla="*/ 33 w 95"/>
                <a:gd name="T15" fmla="*/ 8 h 93"/>
                <a:gd name="T16" fmla="*/ 36 w 95"/>
                <a:gd name="T17" fmla="*/ 8 h 93"/>
                <a:gd name="T18" fmla="*/ 37 w 95"/>
                <a:gd name="T19" fmla="*/ 11 h 93"/>
                <a:gd name="T20" fmla="*/ 39 w 95"/>
                <a:gd name="T21" fmla="*/ 13 h 93"/>
                <a:gd name="T22" fmla="*/ 40 w 95"/>
                <a:gd name="T23" fmla="*/ 13 h 93"/>
                <a:gd name="T24" fmla="*/ 42 w 95"/>
                <a:gd name="T25" fmla="*/ 14 h 93"/>
                <a:gd name="T26" fmla="*/ 44 w 95"/>
                <a:gd name="T27" fmla="*/ 19 h 93"/>
                <a:gd name="T28" fmla="*/ 47 w 95"/>
                <a:gd name="T29" fmla="*/ 21 h 93"/>
                <a:gd name="T30" fmla="*/ 50 w 95"/>
                <a:gd name="T31" fmla="*/ 24 h 93"/>
                <a:gd name="T32" fmla="*/ 53 w 95"/>
                <a:gd name="T33" fmla="*/ 25 h 93"/>
                <a:gd name="T34" fmla="*/ 55 w 95"/>
                <a:gd name="T35" fmla="*/ 25 h 93"/>
                <a:gd name="T36" fmla="*/ 56 w 95"/>
                <a:gd name="T37" fmla="*/ 28 h 93"/>
                <a:gd name="T38" fmla="*/ 58 w 95"/>
                <a:gd name="T39" fmla="*/ 30 h 93"/>
                <a:gd name="T40" fmla="*/ 59 w 95"/>
                <a:gd name="T41" fmla="*/ 31 h 93"/>
                <a:gd name="T42" fmla="*/ 59 w 95"/>
                <a:gd name="T43" fmla="*/ 35 h 93"/>
                <a:gd name="T44" fmla="*/ 61 w 95"/>
                <a:gd name="T45" fmla="*/ 36 h 93"/>
                <a:gd name="T46" fmla="*/ 64 w 95"/>
                <a:gd name="T47" fmla="*/ 36 h 93"/>
                <a:gd name="T48" fmla="*/ 66 w 95"/>
                <a:gd name="T49" fmla="*/ 39 h 93"/>
                <a:gd name="T50" fmla="*/ 67 w 95"/>
                <a:gd name="T51" fmla="*/ 42 h 93"/>
                <a:gd name="T52" fmla="*/ 69 w 95"/>
                <a:gd name="T53" fmla="*/ 44 h 93"/>
                <a:gd name="T54" fmla="*/ 69 w 95"/>
                <a:gd name="T55" fmla="*/ 46 h 93"/>
                <a:gd name="T56" fmla="*/ 70 w 95"/>
                <a:gd name="T57" fmla="*/ 47 h 93"/>
                <a:gd name="T58" fmla="*/ 73 w 95"/>
                <a:gd name="T59" fmla="*/ 47 h 93"/>
                <a:gd name="T60" fmla="*/ 73 w 95"/>
                <a:gd name="T61" fmla="*/ 50 h 93"/>
                <a:gd name="T62" fmla="*/ 76 w 95"/>
                <a:gd name="T63" fmla="*/ 52 h 93"/>
                <a:gd name="T64" fmla="*/ 78 w 95"/>
                <a:gd name="T65" fmla="*/ 52 h 93"/>
                <a:gd name="T66" fmla="*/ 78 w 95"/>
                <a:gd name="T67" fmla="*/ 53 h 93"/>
                <a:gd name="T68" fmla="*/ 81 w 95"/>
                <a:gd name="T69" fmla="*/ 53 h 93"/>
                <a:gd name="T70" fmla="*/ 84 w 95"/>
                <a:gd name="T71" fmla="*/ 56 h 93"/>
                <a:gd name="T72" fmla="*/ 87 w 95"/>
                <a:gd name="T73" fmla="*/ 58 h 93"/>
                <a:gd name="T74" fmla="*/ 89 w 95"/>
                <a:gd name="T75" fmla="*/ 61 h 93"/>
                <a:gd name="T76" fmla="*/ 92 w 95"/>
                <a:gd name="T77" fmla="*/ 64 h 93"/>
                <a:gd name="T78" fmla="*/ 95 w 95"/>
                <a:gd name="T79" fmla="*/ 66 h 93"/>
                <a:gd name="T80" fmla="*/ 94 w 95"/>
                <a:gd name="T81" fmla="*/ 69 h 93"/>
                <a:gd name="T82" fmla="*/ 90 w 95"/>
                <a:gd name="T83" fmla="*/ 72 h 93"/>
                <a:gd name="T84" fmla="*/ 90 w 95"/>
                <a:gd name="T85" fmla="*/ 75 h 93"/>
                <a:gd name="T86" fmla="*/ 89 w 95"/>
                <a:gd name="T87" fmla="*/ 78 h 93"/>
                <a:gd name="T88" fmla="*/ 86 w 95"/>
                <a:gd name="T89" fmla="*/ 80 h 93"/>
                <a:gd name="T90" fmla="*/ 87 w 95"/>
                <a:gd name="T91" fmla="*/ 83 h 93"/>
                <a:gd name="T92" fmla="*/ 86 w 95"/>
                <a:gd name="T93" fmla="*/ 93 h 93"/>
                <a:gd name="T94" fmla="*/ 84 w 95"/>
                <a:gd name="T95" fmla="*/ 93 h 93"/>
                <a:gd name="T96" fmla="*/ 33 w 95"/>
                <a:gd name="T97" fmla="*/ 93 h 93"/>
                <a:gd name="T98" fmla="*/ 33 w 95"/>
                <a:gd name="T99" fmla="*/ 3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5" h="93">
                  <a:moveTo>
                    <a:pt x="33" y="36"/>
                  </a:moveTo>
                  <a:lnTo>
                    <a:pt x="0" y="36"/>
                  </a:lnTo>
                  <a:lnTo>
                    <a:pt x="20" y="6"/>
                  </a:lnTo>
                  <a:lnTo>
                    <a:pt x="20" y="0"/>
                  </a:lnTo>
                  <a:lnTo>
                    <a:pt x="23" y="2"/>
                  </a:lnTo>
                  <a:lnTo>
                    <a:pt x="26" y="3"/>
                  </a:lnTo>
                  <a:lnTo>
                    <a:pt x="29" y="5"/>
                  </a:lnTo>
                  <a:lnTo>
                    <a:pt x="33" y="8"/>
                  </a:lnTo>
                  <a:lnTo>
                    <a:pt x="36" y="8"/>
                  </a:lnTo>
                  <a:lnTo>
                    <a:pt x="37" y="11"/>
                  </a:lnTo>
                  <a:lnTo>
                    <a:pt x="39" y="13"/>
                  </a:lnTo>
                  <a:lnTo>
                    <a:pt x="40" y="13"/>
                  </a:lnTo>
                  <a:lnTo>
                    <a:pt x="42" y="14"/>
                  </a:lnTo>
                  <a:lnTo>
                    <a:pt x="44" y="19"/>
                  </a:lnTo>
                  <a:lnTo>
                    <a:pt x="47" y="21"/>
                  </a:lnTo>
                  <a:lnTo>
                    <a:pt x="50" y="24"/>
                  </a:lnTo>
                  <a:lnTo>
                    <a:pt x="53" y="25"/>
                  </a:lnTo>
                  <a:lnTo>
                    <a:pt x="55" y="25"/>
                  </a:lnTo>
                  <a:lnTo>
                    <a:pt x="56" y="28"/>
                  </a:lnTo>
                  <a:lnTo>
                    <a:pt x="58" y="30"/>
                  </a:lnTo>
                  <a:lnTo>
                    <a:pt x="59" y="31"/>
                  </a:lnTo>
                  <a:lnTo>
                    <a:pt x="59" y="35"/>
                  </a:lnTo>
                  <a:lnTo>
                    <a:pt x="61" y="36"/>
                  </a:lnTo>
                  <a:lnTo>
                    <a:pt x="64" y="36"/>
                  </a:lnTo>
                  <a:lnTo>
                    <a:pt x="66" y="39"/>
                  </a:lnTo>
                  <a:lnTo>
                    <a:pt x="67" y="42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70" y="47"/>
                  </a:lnTo>
                  <a:lnTo>
                    <a:pt x="73" y="47"/>
                  </a:lnTo>
                  <a:lnTo>
                    <a:pt x="73" y="50"/>
                  </a:lnTo>
                  <a:lnTo>
                    <a:pt x="76" y="52"/>
                  </a:lnTo>
                  <a:lnTo>
                    <a:pt x="78" y="52"/>
                  </a:lnTo>
                  <a:lnTo>
                    <a:pt x="78" y="53"/>
                  </a:lnTo>
                  <a:lnTo>
                    <a:pt x="81" y="53"/>
                  </a:lnTo>
                  <a:lnTo>
                    <a:pt x="84" y="56"/>
                  </a:lnTo>
                  <a:lnTo>
                    <a:pt x="87" y="58"/>
                  </a:lnTo>
                  <a:lnTo>
                    <a:pt x="89" y="61"/>
                  </a:lnTo>
                  <a:lnTo>
                    <a:pt x="92" y="64"/>
                  </a:lnTo>
                  <a:lnTo>
                    <a:pt x="95" y="66"/>
                  </a:lnTo>
                  <a:lnTo>
                    <a:pt x="94" y="69"/>
                  </a:lnTo>
                  <a:lnTo>
                    <a:pt x="90" y="72"/>
                  </a:lnTo>
                  <a:lnTo>
                    <a:pt x="90" y="75"/>
                  </a:lnTo>
                  <a:lnTo>
                    <a:pt x="89" y="78"/>
                  </a:lnTo>
                  <a:lnTo>
                    <a:pt x="86" y="80"/>
                  </a:lnTo>
                  <a:lnTo>
                    <a:pt x="87" y="83"/>
                  </a:lnTo>
                  <a:lnTo>
                    <a:pt x="86" y="93"/>
                  </a:lnTo>
                  <a:lnTo>
                    <a:pt x="84" y="93"/>
                  </a:lnTo>
                  <a:lnTo>
                    <a:pt x="33" y="93"/>
                  </a:lnTo>
                  <a:lnTo>
                    <a:pt x="33" y="36"/>
                  </a:lnTo>
                </a:path>
              </a:pathLst>
            </a:custGeom>
            <a:solidFill>
              <a:schemeClr val="bg2">
                <a:lumMod val="10000"/>
                <a:lumOff val="90000"/>
              </a:schemeClr>
            </a:solidFill>
            <a:ln w="0">
              <a:solidFill>
                <a:srgbClr val="25221E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algn="ctr" eaLnBrk="0" hangingPunct="0">
                <a:defRPr/>
              </a:pPr>
              <a:endParaRPr lang="es-AR" sz="1200" b="1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55" name="Freeform 101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1850746" y="1085521"/>
              <a:ext cx="659345" cy="760185"/>
            </a:xfrm>
            <a:custGeom>
              <a:avLst/>
              <a:gdLst>
                <a:gd name="T0" fmla="*/ 6 w 89"/>
                <a:gd name="T1" fmla="*/ 44 h 107"/>
                <a:gd name="T2" fmla="*/ 13 w 89"/>
                <a:gd name="T3" fmla="*/ 49 h 107"/>
                <a:gd name="T4" fmla="*/ 17 w 89"/>
                <a:gd name="T5" fmla="*/ 52 h 107"/>
                <a:gd name="T6" fmla="*/ 20 w 89"/>
                <a:gd name="T7" fmla="*/ 54 h 107"/>
                <a:gd name="T8" fmla="*/ 24 w 89"/>
                <a:gd name="T9" fmla="*/ 60 h 107"/>
                <a:gd name="T10" fmla="*/ 30 w 89"/>
                <a:gd name="T11" fmla="*/ 65 h 107"/>
                <a:gd name="T12" fmla="*/ 35 w 89"/>
                <a:gd name="T13" fmla="*/ 66 h 107"/>
                <a:gd name="T14" fmla="*/ 38 w 89"/>
                <a:gd name="T15" fmla="*/ 71 h 107"/>
                <a:gd name="T16" fmla="*/ 39 w 89"/>
                <a:gd name="T17" fmla="*/ 76 h 107"/>
                <a:gd name="T18" fmla="*/ 44 w 89"/>
                <a:gd name="T19" fmla="*/ 77 h 107"/>
                <a:gd name="T20" fmla="*/ 47 w 89"/>
                <a:gd name="T21" fmla="*/ 83 h 107"/>
                <a:gd name="T22" fmla="*/ 49 w 89"/>
                <a:gd name="T23" fmla="*/ 87 h 107"/>
                <a:gd name="T24" fmla="*/ 53 w 89"/>
                <a:gd name="T25" fmla="*/ 88 h 107"/>
                <a:gd name="T26" fmla="*/ 56 w 89"/>
                <a:gd name="T27" fmla="*/ 93 h 107"/>
                <a:gd name="T28" fmla="*/ 58 w 89"/>
                <a:gd name="T29" fmla="*/ 94 h 107"/>
                <a:gd name="T30" fmla="*/ 64 w 89"/>
                <a:gd name="T31" fmla="*/ 97 h 107"/>
                <a:gd name="T32" fmla="*/ 69 w 89"/>
                <a:gd name="T33" fmla="*/ 102 h 107"/>
                <a:gd name="T34" fmla="*/ 75 w 89"/>
                <a:gd name="T35" fmla="*/ 107 h 107"/>
                <a:gd name="T36" fmla="*/ 75 w 89"/>
                <a:gd name="T37" fmla="*/ 101 h 107"/>
                <a:gd name="T38" fmla="*/ 77 w 89"/>
                <a:gd name="T39" fmla="*/ 99 h 107"/>
                <a:gd name="T40" fmla="*/ 77 w 89"/>
                <a:gd name="T41" fmla="*/ 94 h 107"/>
                <a:gd name="T42" fmla="*/ 78 w 89"/>
                <a:gd name="T43" fmla="*/ 91 h 107"/>
                <a:gd name="T44" fmla="*/ 80 w 89"/>
                <a:gd name="T45" fmla="*/ 90 h 107"/>
                <a:gd name="T46" fmla="*/ 83 w 89"/>
                <a:gd name="T47" fmla="*/ 87 h 107"/>
                <a:gd name="T48" fmla="*/ 85 w 89"/>
                <a:gd name="T49" fmla="*/ 83 h 107"/>
                <a:gd name="T50" fmla="*/ 86 w 89"/>
                <a:gd name="T51" fmla="*/ 79 h 107"/>
                <a:gd name="T52" fmla="*/ 89 w 89"/>
                <a:gd name="T53" fmla="*/ 72 h 107"/>
                <a:gd name="T54" fmla="*/ 88 w 89"/>
                <a:gd name="T55" fmla="*/ 69 h 107"/>
                <a:gd name="T56" fmla="*/ 85 w 89"/>
                <a:gd name="T57" fmla="*/ 63 h 107"/>
                <a:gd name="T58" fmla="*/ 81 w 89"/>
                <a:gd name="T59" fmla="*/ 62 h 107"/>
                <a:gd name="T60" fmla="*/ 77 w 89"/>
                <a:gd name="T61" fmla="*/ 58 h 107"/>
                <a:gd name="T62" fmla="*/ 72 w 89"/>
                <a:gd name="T63" fmla="*/ 60 h 107"/>
                <a:gd name="T64" fmla="*/ 70 w 89"/>
                <a:gd name="T65" fmla="*/ 57 h 107"/>
                <a:gd name="T66" fmla="*/ 55 w 89"/>
                <a:gd name="T67" fmla="*/ 49 h 107"/>
                <a:gd name="T68" fmla="*/ 44 w 89"/>
                <a:gd name="T69" fmla="*/ 38 h 107"/>
                <a:gd name="T70" fmla="*/ 36 w 89"/>
                <a:gd name="T71" fmla="*/ 35 h 107"/>
                <a:gd name="T72" fmla="*/ 28 w 89"/>
                <a:gd name="T73" fmla="*/ 32 h 107"/>
                <a:gd name="T74" fmla="*/ 24 w 89"/>
                <a:gd name="T75" fmla="*/ 29 h 107"/>
                <a:gd name="T76" fmla="*/ 19 w 89"/>
                <a:gd name="T77" fmla="*/ 25 h 107"/>
                <a:gd name="T78" fmla="*/ 16 w 89"/>
                <a:gd name="T79" fmla="*/ 22 h 107"/>
                <a:gd name="T80" fmla="*/ 11 w 89"/>
                <a:gd name="T81" fmla="*/ 18 h 107"/>
                <a:gd name="T82" fmla="*/ 6 w 89"/>
                <a:gd name="T83" fmla="*/ 13 h 107"/>
                <a:gd name="T84" fmla="*/ 5 w 89"/>
                <a:gd name="T85" fmla="*/ 8 h 107"/>
                <a:gd name="T86" fmla="*/ 0 w 89"/>
                <a:gd name="T87" fmla="*/ 0 h 107"/>
                <a:gd name="T88" fmla="*/ 3 w 89"/>
                <a:gd name="T89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9" h="107">
                  <a:moveTo>
                    <a:pt x="3" y="43"/>
                  </a:moveTo>
                  <a:lnTo>
                    <a:pt x="6" y="44"/>
                  </a:lnTo>
                  <a:lnTo>
                    <a:pt x="9" y="46"/>
                  </a:lnTo>
                  <a:lnTo>
                    <a:pt x="13" y="49"/>
                  </a:lnTo>
                  <a:lnTo>
                    <a:pt x="16" y="49"/>
                  </a:lnTo>
                  <a:lnTo>
                    <a:pt x="17" y="52"/>
                  </a:lnTo>
                  <a:lnTo>
                    <a:pt x="19" y="54"/>
                  </a:lnTo>
                  <a:lnTo>
                    <a:pt x="20" y="54"/>
                  </a:lnTo>
                  <a:lnTo>
                    <a:pt x="22" y="55"/>
                  </a:lnTo>
                  <a:lnTo>
                    <a:pt x="24" y="60"/>
                  </a:lnTo>
                  <a:lnTo>
                    <a:pt x="27" y="62"/>
                  </a:lnTo>
                  <a:lnTo>
                    <a:pt x="30" y="65"/>
                  </a:lnTo>
                  <a:lnTo>
                    <a:pt x="33" y="66"/>
                  </a:lnTo>
                  <a:lnTo>
                    <a:pt x="35" y="66"/>
                  </a:lnTo>
                  <a:lnTo>
                    <a:pt x="36" y="69"/>
                  </a:lnTo>
                  <a:lnTo>
                    <a:pt x="38" y="71"/>
                  </a:lnTo>
                  <a:lnTo>
                    <a:pt x="39" y="72"/>
                  </a:lnTo>
                  <a:lnTo>
                    <a:pt x="39" y="76"/>
                  </a:lnTo>
                  <a:lnTo>
                    <a:pt x="41" y="77"/>
                  </a:lnTo>
                  <a:lnTo>
                    <a:pt x="44" y="77"/>
                  </a:lnTo>
                  <a:lnTo>
                    <a:pt x="46" y="80"/>
                  </a:lnTo>
                  <a:lnTo>
                    <a:pt x="47" y="83"/>
                  </a:lnTo>
                  <a:lnTo>
                    <a:pt x="49" y="85"/>
                  </a:lnTo>
                  <a:lnTo>
                    <a:pt x="49" y="87"/>
                  </a:lnTo>
                  <a:lnTo>
                    <a:pt x="50" y="88"/>
                  </a:lnTo>
                  <a:lnTo>
                    <a:pt x="53" y="88"/>
                  </a:lnTo>
                  <a:lnTo>
                    <a:pt x="53" y="91"/>
                  </a:lnTo>
                  <a:lnTo>
                    <a:pt x="56" y="93"/>
                  </a:lnTo>
                  <a:lnTo>
                    <a:pt x="58" y="93"/>
                  </a:lnTo>
                  <a:lnTo>
                    <a:pt x="58" y="94"/>
                  </a:lnTo>
                  <a:lnTo>
                    <a:pt x="61" y="94"/>
                  </a:lnTo>
                  <a:lnTo>
                    <a:pt x="64" y="97"/>
                  </a:lnTo>
                  <a:lnTo>
                    <a:pt x="67" y="99"/>
                  </a:lnTo>
                  <a:lnTo>
                    <a:pt x="69" y="102"/>
                  </a:lnTo>
                  <a:lnTo>
                    <a:pt x="72" y="105"/>
                  </a:lnTo>
                  <a:lnTo>
                    <a:pt x="75" y="107"/>
                  </a:lnTo>
                  <a:lnTo>
                    <a:pt x="75" y="105"/>
                  </a:lnTo>
                  <a:lnTo>
                    <a:pt x="75" y="101"/>
                  </a:lnTo>
                  <a:lnTo>
                    <a:pt x="77" y="101"/>
                  </a:lnTo>
                  <a:lnTo>
                    <a:pt x="77" y="99"/>
                  </a:lnTo>
                  <a:lnTo>
                    <a:pt x="75" y="97"/>
                  </a:lnTo>
                  <a:lnTo>
                    <a:pt x="77" y="94"/>
                  </a:lnTo>
                  <a:lnTo>
                    <a:pt x="77" y="93"/>
                  </a:lnTo>
                  <a:lnTo>
                    <a:pt x="78" y="91"/>
                  </a:lnTo>
                  <a:lnTo>
                    <a:pt x="78" y="90"/>
                  </a:lnTo>
                  <a:lnTo>
                    <a:pt x="80" y="90"/>
                  </a:lnTo>
                  <a:lnTo>
                    <a:pt x="81" y="88"/>
                  </a:lnTo>
                  <a:lnTo>
                    <a:pt x="83" y="87"/>
                  </a:lnTo>
                  <a:lnTo>
                    <a:pt x="83" y="85"/>
                  </a:lnTo>
                  <a:lnTo>
                    <a:pt x="85" y="83"/>
                  </a:lnTo>
                  <a:lnTo>
                    <a:pt x="86" y="80"/>
                  </a:lnTo>
                  <a:lnTo>
                    <a:pt x="86" y="79"/>
                  </a:lnTo>
                  <a:lnTo>
                    <a:pt x="88" y="77"/>
                  </a:lnTo>
                  <a:lnTo>
                    <a:pt x="89" y="72"/>
                  </a:lnTo>
                  <a:lnTo>
                    <a:pt x="89" y="71"/>
                  </a:lnTo>
                  <a:lnTo>
                    <a:pt x="88" y="69"/>
                  </a:lnTo>
                  <a:lnTo>
                    <a:pt x="86" y="68"/>
                  </a:lnTo>
                  <a:lnTo>
                    <a:pt x="85" y="63"/>
                  </a:lnTo>
                  <a:lnTo>
                    <a:pt x="81" y="63"/>
                  </a:lnTo>
                  <a:lnTo>
                    <a:pt x="81" y="62"/>
                  </a:lnTo>
                  <a:lnTo>
                    <a:pt x="80" y="60"/>
                  </a:lnTo>
                  <a:lnTo>
                    <a:pt x="77" y="58"/>
                  </a:lnTo>
                  <a:lnTo>
                    <a:pt x="75" y="62"/>
                  </a:lnTo>
                  <a:lnTo>
                    <a:pt x="72" y="60"/>
                  </a:lnTo>
                  <a:lnTo>
                    <a:pt x="72" y="57"/>
                  </a:lnTo>
                  <a:lnTo>
                    <a:pt x="70" y="57"/>
                  </a:lnTo>
                  <a:lnTo>
                    <a:pt x="67" y="57"/>
                  </a:lnTo>
                  <a:lnTo>
                    <a:pt x="55" y="49"/>
                  </a:lnTo>
                  <a:lnTo>
                    <a:pt x="55" y="44"/>
                  </a:lnTo>
                  <a:lnTo>
                    <a:pt x="44" y="38"/>
                  </a:lnTo>
                  <a:lnTo>
                    <a:pt x="39" y="38"/>
                  </a:lnTo>
                  <a:lnTo>
                    <a:pt x="36" y="35"/>
                  </a:lnTo>
                  <a:lnTo>
                    <a:pt x="33" y="33"/>
                  </a:lnTo>
                  <a:lnTo>
                    <a:pt x="28" y="32"/>
                  </a:lnTo>
                  <a:lnTo>
                    <a:pt x="25" y="30"/>
                  </a:lnTo>
                  <a:lnTo>
                    <a:pt x="24" y="29"/>
                  </a:lnTo>
                  <a:lnTo>
                    <a:pt x="22" y="27"/>
                  </a:lnTo>
                  <a:lnTo>
                    <a:pt x="19" y="25"/>
                  </a:lnTo>
                  <a:lnTo>
                    <a:pt x="19" y="22"/>
                  </a:lnTo>
                  <a:lnTo>
                    <a:pt x="16" y="22"/>
                  </a:lnTo>
                  <a:lnTo>
                    <a:pt x="14" y="19"/>
                  </a:lnTo>
                  <a:lnTo>
                    <a:pt x="11" y="18"/>
                  </a:lnTo>
                  <a:lnTo>
                    <a:pt x="9" y="16"/>
                  </a:lnTo>
                  <a:lnTo>
                    <a:pt x="6" y="13"/>
                  </a:lnTo>
                  <a:lnTo>
                    <a:pt x="6" y="11"/>
                  </a:lnTo>
                  <a:lnTo>
                    <a:pt x="5" y="8"/>
                  </a:lnTo>
                  <a:lnTo>
                    <a:pt x="3" y="5"/>
                  </a:lnTo>
                  <a:lnTo>
                    <a:pt x="0" y="0"/>
                  </a:lnTo>
                  <a:lnTo>
                    <a:pt x="0" y="41"/>
                  </a:lnTo>
                  <a:lnTo>
                    <a:pt x="3" y="43"/>
                  </a:lnTo>
                </a:path>
              </a:pathLst>
            </a:custGeom>
            <a:solidFill>
              <a:schemeClr val="bg2">
                <a:lumMod val="10000"/>
                <a:lumOff val="90000"/>
              </a:schemeClr>
            </a:solidFill>
            <a:ln w="0">
              <a:solidFill>
                <a:srgbClr val="25221E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algn="ctr" eaLnBrk="0" hangingPunct="0">
                <a:defRPr/>
              </a:pPr>
              <a:endParaRPr lang="es-AR" sz="1200" b="1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56" name="Freeform 102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2717315" y="1611164"/>
              <a:ext cx="342517" cy="454115"/>
            </a:xfrm>
            <a:custGeom>
              <a:avLst/>
              <a:gdLst>
                <a:gd name="T0" fmla="*/ 15 w 46"/>
                <a:gd name="T1" fmla="*/ 60 h 64"/>
                <a:gd name="T2" fmla="*/ 16 w 46"/>
                <a:gd name="T3" fmla="*/ 56 h 64"/>
                <a:gd name="T4" fmla="*/ 21 w 46"/>
                <a:gd name="T5" fmla="*/ 55 h 64"/>
                <a:gd name="T6" fmla="*/ 21 w 46"/>
                <a:gd name="T7" fmla="*/ 52 h 64"/>
                <a:gd name="T8" fmla="*/ 24 w 46"/>
                <a:gd name="T9" fmla="*/ 53 h 64"/>
                <a:gd name="T10" fmla="*/ 24 w 46"/>
                <a:gd name="T11" fmla="*/ 49 h 64"/>
                <a:gd name="T12" fmla="*/ 27 w 46"/>
                <a:gd name="T13" fmla="*/ 49 h 64"/>
                <a:gd name="T14" fmla="*/ 29 w 46"/>
                <a:gd name="T15" fmla="*/ 49 h 64"/>
                <a:gd name="T16" fmla="*/ 30 w 46"/>
                <a:gd name="T17" fmla="*/ 49 h 64"/>
                <a:gd name="T18" fmla="*/ 33 w 46"/>
                <a:gd name="T19" fmla="*/ 47 h 64"/>
                <a:gd name="T20" fmla="*/ 32 w 46"/>
                <a:gd name="T21" fmla="*/ 44 h 64"/>
                <a:gd name="T22" fmla="*/ 35 w 46"/>
                <a:gd name="T23" fmla="*/ 44 h 64"/>
                <a:gd name="T24" fmla="*/ 38 w 46"/>
                <a:gd name="T25" fmla="*/ 42 h 64"/>
                <a:gd name="T26" fmla="*/ 40 w 46"/>
                <a:gd name="T27" fmla="*/ 42 h 64"/>
                <a:gd name="T28" fmla="*/ 40 w 46"/>
                <a:gd name="T29" fmla="*/ 39 h 64"/>
                <a:gd name="T30" fmla="*/ 44 w 46"/>
                <a:gd name="T31" fmla="*/ 34 h 64"/>
                <a:gd name="T32" fmla="*/ 44 w 46"/>
                <a:gd name="T33" fmla="*/ 27 h 64"/>
                <a:gd name="T34" fmla="*/ 44 w 46"/>
                <a:gd name="T35" fmla="*/ 22 h 64"/>
                <a:gd name="T36" fmla="*/ 46 w 46"/>
                <a:gd name="T37" fmla="*/ 17 h 64"/>
                <a:gd name="T38" fmla="*/ 41 w 46"/>
                <a:gd name="T39" fmla="*/ 11 h 64"/>
                <a:gd name="T40" fmla="*/ 41 w 46"/>
                <a:gd name="T41" fmla="*/ 6 h 64"/>
                <a:gd name="T42" fmla="*/ 38 w 46"/>
                <a:gd name="T43" fmla="*/ 2 h 64"/>
                <a:gd name="T44" fmla="*/ 33 w 46"/>
                <a:gd name="T45" fmla="*/ 2 h 64"/>
                <a:gd name="T46" fmla="*/ 29 w 46"/>
                <a:gd name="T47" fmla="*/ 3 h 64"/>
                <a:gd name="T48" fmla="*/ 27 w 46"/>
                <a:gd name="T49" fmla="*/ 3 h 64"/>
                <a:gd name="T50" fmla="*/ 27 w 46"/>
                <a:gd name="T51" fmla="*/ 8 h 64"/>
                <a:gd name="T52" fmla="*/ 27 w 46"/>
                <a:gd name="T53" fmla="*/ 11 h 64"/>
                <a:gd name="T54" fmla="*/ 27 w 46"/>
                <a:gd name="T55" fmla="*/ 16 h 64"/>
                <a:gd name="T56" fmla="*/ 25 w 46"/>
                <a:gd name="T57" fmla="*/ 19 h 64"/>
                <a:gd name="T58" fmla="*/ 25 w 46"/>
                <a:gd name="T59" fmla="*/ 22 h 64"/>
                <a:gd name="T60" fmla="*/ 22 w 46"/>
                <a:gd name="T61" fmla="*/ 27 h 64"/>
                <a:gd name="T62" fmla="*/ 21 w 46"/>
                <a:gd name="T63" fmla="*/ 30 h 64"/>
                <a:gd name="T64" fmla="*/ 19 w 46"/>
                <a:gd name="T65" fmla="*/ 31 h 64"/>
                <a:gd name="T66" fmla="*/ 16 w 46"/>
                <a:gd name="T67" fmla="*/ 33 h 64"/>
                <a:gd name="T68" fmla="*/ 11 w 46"/>
                <a:gd name="T69" fmla="*/ 36 h 64"/>
                <a:gd name="T70" fmla="*/ 10 w 46"/>
                <a:gd name="T71" fmla="*/ 38 h 64"/>
                <a:gd name="T72" fmla="*/ 8 w 46"/>
                <a:gd name="T73" fmla="*/ 42 h 64"/>
                <a:gd name="T74" fmla="*/ 5 w 46"/>
                <a:gd name="T75" fmla="*/ 45 h 64"/>
                <a:gd name="T76" fmla="*/ 2 w 46"/>
                <a:gd name="T77" fmla="*/ 42 h 64"/>
                <a:gd name="T78" fmla="*/ 2 w 46"/>
                <a:gd name="T79" fmla="*/ 50 h 64"/>
                <a:gd name="T80" fmla="*/ 5 w 46"/>
                <a:gd name="T81" fmla="*/ 61 h 64"/>
                <a:gd name="T82" fmla="*/ 10 w 46"/>
                <a:gd name="T83" fmla="*/ 64 h 64"/>
                <a:gd name="T84" fmla="*/ 13 w 46"/>
                <a:gd name="T85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6" h="64">
                  <a:moveTo>
                    <a:pt x="13" y="58"/>
                  </a:moveTo>
                  <a:lnTo>
                    <a:pt x="15" y="60"/>
                  </a:lnTo>
                  <a:lnTo>
                    <a:pt x="15" y="56"/>
                  </a:lnTo>
                  <a:lnTo>
                    <a:pt x="16" y="56"/>
                  </a:lnTo>
                  <a:lnTo>
                    <a:pt x="18" y="56"/>
                  </a:lnTo>
                  <a:lnTo>
                    <a:pt x="21" y="55"/>
                  </a:lnTo>
                  <a:lnTo>
                    <a:pt x="21" y="53"/>
                  </a:lnTo>
                  <a:lnTo>
                    <a:pt x="21" y="52"/>
                  </a:lnTo>
                  <a:lnTo>
                    <a:pt x="21" y="53"/>
                  </a:lnTo>
                  <a:lnTo>
                    <a:pt x="24" y="53"/>
                  </a:lnTo>
                  <a:lnTo>
                    <a:pt x="24" y="50"/>
                  </a:lnTo>
                  <a:lnTo>
                    <a:pt x="24" y="49"/>
                  </a:lnTo>
                  <a:lnTo>
                    <a:pt x="25" y="50"/>
                  </a:lnTo>
                  <a:lnTo>
                    <a:pt x="27" y="49"/>
                  </a:lnTo>
                  <a:lnTo>
                    <a:pt x="27" y="47"/>
                  </a:lnTo>
                  <a:lnTo>
                    <a:pt x="29" y="49"/>
                  </a:lnTo>
                  <a:lnTo>
                    <a:pt x="29" y="47"/>
                  </a:lnTo>
                  <a:lnTo>
                    <a:pt x="30" y="49"/>
                  </a:lnTo>
                  <a:lnTo>
                    <a:pt x="32" y="47"/>
                  </a:lnTo>
                  <a:lnTo>
                    <a:pt x="33" y="47"/>
                  </a:lnTo>
                  <a:lnTo>
                    <a:pt x="33" y="45"/>
                  </a:lnTo>
                  <a:lnTo>
                    <a:pt x="32" y="44"/>
                  </a:lnTo>
                  <a:lnTo>
                    <a:pt x="33" y="45"/>
                  </a:lnTo>
                  <a:lnTo>
                    <a:pt x="35" y="44"/>
                  </a:lnTo>
                  <a:lnTo>
                    <a:pt x="36" y="42"/>
                  </a:lnTo>
                  <a:lnTo>
                    <a:pt x="38" y="42"/>
                  </a:lnTo>
                  <a:lnTo>
                    <a:pt x="38" y="41"/>
                  </a:lnTo>
                  <a:lnTo>
                    <a:pt x="40" y="42"/>
                  </a:lnTo>
                  <a:lnTo>
                    <a:pt x="40" y="41"/>
                  </a:lnTo>
                  <a:lnTo>
                    <a:pt x="40" y="39"/>
                  </a:lnTo>
                  <a:lnTo>
                    <a:pt x="41" y="38"/>
                  </a:lnTo>
                  <a:lnTo>
                    <a:pt x="44" y="34"/>
                  </a:lnTo>
                  <a:lnTo>
                    <a:pt x="46" y="33"/>
                  </a:lnTo>
                  <a:lnTo>
                    <a:pt x="44" y="27"/>
                  </a:lnTo>
                  <a:lnTo>
                    <a:pt x="44" y="23"/>
                  </a:lnTo>
                  <a:lnTo>
                    <a:pt x="44" y="22"/>
                  </a:lnTo>
                  <a:lnTo>
                    <a:pt x="46" y="20"/>
                  </a:lnTo>
                  <a:lnTo>
                    <a:pt x="46" y="17"/>
                  </a:lnTo>
                  <a:lnTo>
                    <a:pt x="44" y="13"/>
                  </a:lnTo>
                  <a:lnTo>
                    <a:pt x="41" y="11"/>
                  </a:lnTo>
                  <a:lnTo>
                    <a:pt x="43" y="9"/>
                  </a:lnTo>
                  <a:lnTo>
                    <a:pt x="41" y="6"/>
                  </a:lnTo>
                  <a:lnTo>
                    <a:pt x="41" y="2"/>
                  </a:lnTo>
                  <a:lnTo>
                    <a:pt x="38" y="2"/>
                  </a:lnTo>
                  <a:lnTo>
                    <a:pt x="36" y="0"/>
                  </a:lnTo>
                  <a:lnTo>
                    <a:pt x="33" y="2"/>
                  </a:lnTo>
                  <a:lnTo>
                    <a:pt x="32" y="2"/>
                  </a:lnTo>
                  <a:lnTo>
                    <a:pt x="29" y="3"/>
                  </a:lnTo>
                  <a:lnTo>
                    <a:pt x="29" y="2"/>
                  </a:lnTo>
                  <a:lnTo>
                    <a:pt x="27" y="3"/>
                  </a:lnTo>
                  <a:lnTo>
                    <a:pt x="27" y="5"/>
                  </a:lnTo>
                  <a:lnTo>
                    <a:pt x="27" y="8"/>
                  </a:lnTo>
                  <a:lnTo>
                    <a:pt x="27" y="9"/>
                  </a:lnTo>
                  <a:lnTo>
                    <a:pt x="27" y="11"/>
                  </a:lnTo>
                  <a:lnTo>
                    <a:pt x="25" y="13"/>
                  </a:lnTo>
                  <a:lnTo>
                    <a:pt x="27" y="16"/>
                  </a:lnTo>
                  <a:lnTo>
                    <a:pt x="27" y="17"/>
                  </a:lnTo>
                  <a:lnTo>
                    <a:pt x="25" y="19"/>
                  </a:lnTo>
                  <a:lnTo>
                    <a:pt x="25" y="20"/>
                  </a:lnTo>
                  <a:lnTo>
                    <a:pt x="25" y="22"/>
                  </a:lnTo>
                  <a:lnTo>
                    <a:pt x="24" y="25"/>
                  </a:lnTo>
                  <a:lnTo>
                    <a:pt x="22" y="27"/>
                  </a:lnTo>
                  <a:lnTo>
                    <a:pt x="21" y="27"/>
                  </a:lnTo>
                  <a:lnTo>
                    <a:pt x="21" y="30"/>
                  </a:lnTo>
                  <a:lnTo>
                    <a:pt x="19" y="30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6" y="33"/>
                  </a:lnTo>
                  <a:lnTo>
                    <a:pt x="13" y="34"/>
                  </a:lnTo>
                  <a:lnTo>
                    <a:pt x="11" y="36"/>
                  </a:lnTo>
                  <a:lnTo>
                    <a:pt x="11" y="38"/>
                  </a:lnTo>
                  <a:lnTo>
                    <a:pt x="10" y="38"/>
                  </a:lnTo>
                  <a:lnTo>
                    <a:pt x="8" y="39"/>
                  </a:lnTo>
                  <a:lnTo>
                    <a:pt x="8" y="42"/>
                  </a:lnTo>
                  <a:lnTo>
                    <a:pt x="7" y="45"/>
                  </a:lnTo>
                  <a:lnTo>
                    <a:pt x="5" y="45"/>
                  </a:lnTo>
                  <a:lnTo>
                    <a:pt x="4" y="44"/>
                  </a:lnTo>
                  <a:lnTo>
                    <a:pt x="2" y="42"/>
                  </a:lnTo>
                  <a:lnTo>
                    <a:pt x="0" y="45"/>
                  </a:lnTo>
                  <a:lnTo>
                    <a:pt x="2" y="50"/>
                  </a:lnTo>
                  <a:lnTo>
                    <a:pt x="5" y="56"/>
                  </a:lnTo>
                  <a:lnTo>
                    <a:pt x="5" y="61"/>
                  </a:lnTo>
                  <a:lnTo>
                    <a:pt x="8" y="63"/>
                  </a:lnTo>
                  <a:lnTo>
                    <a:pt x="10" y="64"/>
                  </a:lnTo>
                  <a:lnTo>
                    <a:pt x="13" y="61"/>
                  </a:lnTo>
                  <a:lnTo>
                    <a:pt x="13" y="58"/>
                  </a:lnTo>
                </a:path>
              </a:pathLst>
            </a:custGeom>
            <a:solidFill>
              <a:schemeClr val="bg2">
                <a:lumMod val="10000"/>
                <a:lumOff val="90000"/>
              </a:schemeClr>
            </a:solidFill>
            <a:ln w="0">
              <a:solidFill>
                <a:srgbClr val="25221E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algn="ctr" eaLnBrk="0" hangingPunct="0">
                <a:defRPr/>
              </a:pPr>
              <a:endParaRPr lang="es-AR" sz="1200" b="1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57" name="Freeform 103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1545896" y="3404354"/>
              <a:ext cx="244899" cy="78181"/>
            </a:xfrm>
            <a:custGeom>
              <a:avLst/>
              <a:gdLst>
                <a:gd name="T0" fmla="*/ 280664612 w 178"/>
                <a:gd name="T1" fmla="*/ 0 h 59"/>
                <a:gd name="T2" fmla="*/ 280664612 w 178"/>
                <a:gd name="T3" fmla="*/ 0 h 59"/>
                <a:gd name="T4" fmla="*/ 0 w 178"/>
                <a:gd name="T5" fmla="*/ 78000936 h 59"/>
                <a:gd name="T6" fmla="*/ 9790848 w 178"/>
                <a:gd name="T7" fmla="*/ 93920077 h 59"/>
                <a:gd name="T8" fmla="*/ 290455457 w 178"/>
                <a:gd name="T9" fmla="*/ 17510027 h 59"/>
                <a:gd name="T10" fmla="*/ 290455457 w 178"/>
                <a:gd name="T11" fmla="*/ 17510027 h 59"/>
                <a:gd name="T12" fmla="*/ 280664612 w 178"/>
                <a:gd name="T13" fmla="*/ 0 h 5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8"/>
                <a:gd name="T22" fmla="*/ 0 h 59"/>
                <a:gd name="T23" fmla="*/ 178 w 178"/>
                <a:gd name="T24" fmla="*/ 59 h 5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8" h="59">
                  <a:moveTo>
                    <a:pt x="172" y="0"/>
                  </a:moveTo>
                  <a:lnTo>
                    <a:pt x="172" y="0"/>
                  </a:lnTo>
                  <a:lnTo>
                    <a:pt x="0" y="49"/>
                  </a:lnTo>
                  <a:lnTo>
                    <a:pt x="6" y="59"/>
                  </a:lnTo>
                  <a:lnTo>
                    <a:pt x="178" y="11"/>
                  </a:lnTo>
                  <a:lnTo>
                    <a:pt x="172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58" name="Freeform 104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1782242" y="3356116"/>
              <a:ext cx="268875" cy="63210"/>
            </a:xfrm>
            <a:custGeom>
              <a:avLst/>
              <a:gdLst>
                <a:gd name="T0" fmla="*/ 300811058 w 194"/>
                <a:gd name="T1" fmla="*/ 0 h 48"/>
                <a:gd name="T2" fmla="*/ 309029453 w 194"/>
                <a:gd name="T3" fmla="*/ 0 h 48"/>
                <a:gd name="T4" fmla="*/ 0 w 194"/>
                <a:gd name="T5" fmla="*/ 58534103 h 48"/>
                <a:gd name="T6" fmla="*/ 9862847 w 194"/>
                <a:gd name="T7" fmla="*/ 75935346 h 48"/>
                <a:gd name="T8" fmla="*/ 309029453 w 194"/>
                <a:gd name="T9" fmla="*/ 15820231 h 48"/>
                <a:gd name="T10" fmla="*/ 318892298 w 194"/>
                <a:gd name="T11" fmla="*/ 7910116 h 48"/>
                <a:gd name="T12" fmla="*/ 300811058 w 194"/>
                <a:gd name="T13" fmla="*/ 0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4"/>
                <a:gd name="T22" fmla="*/ 0 h 48"/>
                <a:gd name="T23" fmla="*/ 194 w 194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4" h="48">
                  <a:moveTo>
                    <a:pt x="183" y="0"/>
                  </a:moveTo>
                  <a:lnTo>
                    <a:pt x="188" y="0"/>
                  </a:lnTo>
                  <a:lnTo>
                    <a:pt x="0" y="37"/>
                  </a:lnTo>
                  <a:lnTo>
                    <a:pt x="6" y="48"/>
                  </a:lnTo>
                  <a:lnTo>
                    <a:pt x="188" y="10"/>
                  </a:lnTo>
                  <a:lnTo>
                    <a:pt x="194" y="5"/>
                  </a:lnTo>
                  <a:lnTo>
                    <a:pt x="183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59" name="Freeform 105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035706" y="3242984"/>
              <a:ext cx="111317" cy="119767"/>
            </a:xfrm>
            <a:custGeom>
              <a:avLst/>
              <a:gdLst>
                <a:gd name="T0" fmla="*/ 122244741 w 81"/>
                <a:gd name="T1" fmla="*/ 7905540 h 91"/>
                <a:gd name="T2" fmla="*/ 114095519 w 81"/>
                <a:gd name="T3" fmla="*/ 0 h 91"/>
                <a:gd name="T4" fmla="*/ 0 w 81"/>
                <a:gd name="T5" fmla="*/ 135970520 h 91"/>
                <a:gd name="T6" fmla="*/ 17929058 w 81"/>
                <a:gd name="T7" fmla="*/ 143876058 h 91"/>
                <a:gd name="T8" fmla="*/ 132024572 w 81"/>
                <a:gd name="T9" fmla="*/ 7905540 h 91"/>
                <a:gd name="T10" fmla="*/ 122244741 w 81"/>
                <a:gd name="T11" fmla="*/ 7905540 h 9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1"/>
                <a:gd name="T19" fmla="*/ 0 h 91"/>
                <a:gd name="T20" fmla="*/ 81 w 81"/>
                <a:gd name="T21" fmla="*/ 91 h 9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1" h="91">
                  <a:moveTo>
                    <a:pt x="75" y="5"/>
                  </a:moveTo>
                  <a:lnTo>
                    <a:pt x="70" y="0"/>
                  </a:lnTo>
                  <a:lnTo>
                    <a:pt x="0" y="86"/>
                  </a:lnTo>
                  <a:lnTo>
                    <a:pt x="11" y="91"/>
                  </a:lnTo>
                  <a:lnTo>
                    <a:pt x="81" y="5"/>
                  </a:lnTo>
                  <a:lnTo>
                    <a:pt x="75" y="5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60" name="Freeform 106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1374648" y="2965210"/>
              <a:ext cx="35964" cy="171333"/>
            </a:xfrm>
            <a:custGeom>
              <a:avLst/>
              <a:gdLst>
                <a:gd name="T0" fmla="*/ 42653417 w 26"/>
                <a:gd name="T1" fmla="*/ 205823555 h 129"/>
                <a:gd name="T2" fmla="*/ 42653417 w 26"/>
                <a:gd name="T3" fmla="*/ 205823555 h 129"/>
                <a:gd name="T4" fmla="*/ 16405651 w 26"/>
                <a:gd name="T5" fmla="*/ 0 h 129"/>
                <a:gd name="T6" fmla="*/ 0 w 26"/>
                <a:gd name="T7" fmla="*/ 0 h 129"/>
                <a:gd name="T8" fmla="*/ 26247761 w 26"/>
                <a:gd name="T9" fmla="*/ 205823555 h 129"/>
                <a:gd name="T10" fmla="*/ 26247761 w 26"/>
                <a:gd name="T11" fmla="*/ 205823555 h 129"/>
                <a:gd name="T12" fmla="*/ 42653417 w 26"/>
                <a:gd name="T13" fmla="*/ 205823555 h 1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6"/>
                <a:gd name="T22" fmla="*/ 0 h 129"/>
                <a:gd name="T23" fmla="*/ 26 w 26"/>
                <a:gd name="T24" fmla="*/ 129 h 1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6" h="129">
                  <a:moveTo>
                    <a:pt x="26" y="129"/>
                  </a:moveTo>
                  <a:lnTo>
                    <a:pt x="26" y="129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6" y="129"/>
                  </a:lnTo>
                  <a:lnTo>
                    <a:pt x="26" y="129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61" name="Freeform 107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1396911" y="3136525"/>
              <a:ext cx="51378" cy="106459"/>
            </a:xfrm>
            <a:custGeom>
              <a:avLst/>
              <a:gdLst>
                <a:gd name="T0" fmla="*/ 52701566 w 37"/>
                <a:gd name="T1" fmla="*/ 102628544 h 81"/>
                <a:gd name="T2" fmla="*/ 60935539 w 37"/>
                <a:gd name="T3" fmla="*/ 110523237 h 81"/>
                <a:gd name="T4" fmla="*/ 16469238 w 37"/>
                <a:gd name="T5" fmla="*/ 0 h 81"/>
                <a:gd name="T6" fmla="*/ 0 w 37"/>
                <a:gd name="T7" fmla="*/ 0 h 81"/>
                <a:gd name="T8" fmla="*/ 34584756 w 37"/>
                <a:gd name="T9" fmla="*/ 118416676 h 81"/>
                <a:gd name="T10" fmla="*/ 52701566 w 37"/>
                <a:gd name="T11" fmla="*/ 127890559 h 81"/>
                <a:gd name="T12" fmla="*/ 34584756 w 37"/>
                <a:gd name="T13" fmla="*/ 118416676 h 81"/>
                <a:gd name="T14" fmla="*/ 44466306 w 37"/>
                <a:gd name="T15" fmla="*/ 127890559 h 81"/>
                <a:gd name="T16" fmla="*/ 52701566 w 37"/>
                <a:gd name="T17" fmla="*/ 127890559 h 81"/>
                <a:gd name="T18" fmla="*/ 52701566 w 37"/>
                <a:gd name="T19" fmla="*/ 102628544 h 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7"/>
                <a:gd name="T31" fmla="*/ 0 h 81"/>
                <a:gd name="T32" fmla="*/ 37 w 37"/>
                <a:gd name="T33" fmla="*/ 81 h 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7" h="81">
                  <a:moveTo>
                    <a:pt x="32" y="65"/>
                  </a:moveTo>
                  <a:lnTo>
                    <a:pt x="37" y="7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21" y="75"/>
                  </a:lnTo>
                  <a:lnTo>
                    <a:pt x="32" y="81"/>
                  </a:lnTo>
                  <a:lnTo>
                    <a:pt x="21" y="75"/>
                  </a:lnTo>
                  <a:lnTo>
                    <a:pt x="27" y="81"/>
                  </a:lnTo>
                  <a:lnTo>
                    <a:pt x="32" y="81"/>
                  </a:lnTo>
                  <a:lnTo>
                    <a:pt x="32" y="65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62" name="Freeform 108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1441428" y="3221359"/>
              <a:ext cx="104468" cy="21625"/>
            </a:xfrm>
            <a:custGeom>
              <a:avLst/>
              <a:gdLst>
                <a:gd name="T0" fmla="*/ 123902274 w 75"/>
                <a:gd name="T1" fmla="*/ 8118472 h 16"/>
                <a:gd name="T2" fmla="*/ 123902274 w 75"/>
                <a:gd name="T3" fmla="*/ 8118472 h 16"/>
                <a:gd name="T4" fmla="*/ 0 w 75"/>
                <a:gd name="T5" fmla="*/ 0 h 16"/>
                <a:gd name="T6" fmla="*/ 0 w 75"/>
                <a:gd name="T7" fmla="*/ 25978080 h 16"/>
                <a:gd name="T8" fmla="*/ 115642642 w 75"/>
                <a:gd name="T9" fmla="*/ 25978080 h 16"/>
                <a:gd name="T10" fmla="*/ 115642642 w 75"/>
                <a:gd name="T11" fmla="*/ 25978080 h 16"/>
                <a:gd name="T12" fmla="*/ 123902274 w 75"/>
                <a:gd name="T13" fmla="*/ 8118472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5"/>
                <a:gd name="T22" fmla="*/ 0 h 16"/>
                <a:gd name="T23" fmla="*/ 75 w 75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5" h="16">
                  <a:moveTo>
                    <a:pt x="75" y="5"/>
                  </a:moveTo>
                  <a:lnTo>
                    <a:pt x="75" y="5"/>
                  </a:lnTo>
                  <a:lnTo>
                    <a:pt x="0" y="0"/>
                  </a:lnTo>
                  <a:lnTo>
                    <a:pt x="0" y="16"/>
                  </a:lnTo>
                  <a:lnTo>
                    <a:pt x="70" y="16"/>
                  </a:lnTo>
                  <a:lnTo>
                    <a:pt x="75" y="5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63" name="Freeform 109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1537343" y="3228031"/>
              <a:ext cx="119881" cy="71528"/>
            </a:xfrm>
            <a:custGeom>
              <a:avLst/>
              <a:gdLst>
                <a:gd name="T0" fmla="*/ 132262002 w 86"/>
                <a:gd name="T1" fmla="*/ 85926699 h 54"/>
                <a:gd name="T2" fmla="*/ 132262002 w 86"/>
                <a:gd name="T3" fmla="*/ 68423545 h 54"/>
                <a:gd name="T4" fmla="*/ 8265891 w 86"/>
                <a:gd name="T5" fmla="*/ 0 h 54"/>
                <a:gd name="T6" fmla="*/ 0 w 86"/>
                <a:gd name="T7" fmla="*/ 17503139 h 54"/>
                <a:gd name="T8" fmla="*/ 123996114 w 86"/>
                <a:gd name="T9" fmla="*/ 85926699 h 54"/>
                <a:gd name="T10" fmla="*/ 123996114 w 86"/>
                <a:gd name="T11" fmla="*/ 68423545 h 54"/>
                <a:gd name="T12" fmla="*/ 132262002 w 86"/>
                <a:gd name="T13" fmla="*/ 85926699 h 54"/>
                <a:gd name="T14" fmla="*/ 142181843 w 86"/>
                <a:gd name="T15" fmla="*/ 76378710 h 54"/>
                <a:gd name="T16" fmla="*/ 132262002 w 86"/>
                <a:gd name="T17" fmla="*/ 68423545 h 54"/>
                <a:gd name="T18" fmla="*/ 132262002 w 86"/>
                <a:gd name="T19" fmla="*/ 85926699 h 5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6"/>
                <a:gd name="T31" fmla="*/ 0 h 54"/>
                <a:gd name="T32" fmla="*/ 86 w 86"/>
                <a:gd name="T33" fmla="*/ 54 h 5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6" h="54">
                  <a:moveTo>
                    <a:pt x="80" y="54"/>
                  </a:moveTo>
                  <a:lnTo>
                    <a:pt x="80" y="43"/>
                  </a:lnTo>
                  <a:lnTo>
                    <a:pt x="5" y="0"/>
                  </a:lnTo>
                  <a:lnTo>
                    <a:pt x="0" y="11"/>
                  </a:lnTo>
                  <a:lnTo>
                    <a:pt x="75" y="54"/>
                  </a:lnTo>
                  <a:lnTo>
                    <a:pt x="75" y="43"/>
                  </a:lnTo>
                  <a:lnTo>
                    <a:pt x="80" y="54"/>
                  </a:lnTo>
                  <a:lnTo>
                    <a:pt x="86" y="48"/>
                  </a:lnTo>
                  <a:lnTo>
                    <a:pt x="80" y="43"/>
                  </a:lnTo>
                  <a:lnTo>
                    <a:pt x="80" y="54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64" name="Freeform 110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1523632" y="3284588"/>
              <a:ext cx="125019" cy="84835"/>
            </a:xfrm>
            <a:custGeom>
              <a:avLst/>
              <a:gdLst>
                <a:gd name="T0" fmla="*/ 17923161 w 91"/>
                <a:gd name="T1" fmla="*/ 93951231 h 64"/>
                <a:gd name="T2" fmla="*/ 17923161 w 91"/>
                <a:gd name="T3" fmla="*/ 101913432 h 64"/>
                <a:gd name="T4" fmla="*/ 148275502 w 91"/>
                <a:gd name="T5" fmla="*/ 17515836 h 64"/>
                <a:gd name="T6" fmla="*/ 140128961 w 91"/>
                <a:gd name="T7" fmla="*/ 0 h 64"/>
                <a:gd name="T8" fmla="*/ 8146544 w 91"/>
                <a:gd name="T9" fmla="*/ 85989030 h 64"/>
                <a:gd name="T10" fmla="*/ 0 w 91"/>
                <a:gd name="T11" fmla="*/ 93951231 h 64"/>
                <a:gd name="T12" fmla="*/ 8146544 w 91"/>
                <a:gd name="T13" fmla="*/ 85989030 h 64"/>
                <a:gd name="T14" fmla="*/ 0 w 91"/>
                <a:gd name="T15" fmla="*/ 85989030 h 64"/>
                <a:gd name="T16" fmla="*/ 0 w 91"/>
                <a:gd name="T17" fmla="*/ 93951231 h 64"/>
                <a:gd name="T18" fmla="*/ 17923161 w 91"/>
                <a:gd name="T19" fmla="*/ 93951231 h 6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1"/>
                <a:gd name="T31" fmla="*/ 0 h 64"/>
                <a:gd name="T32" fmla="*/ 91 w 91"/>
                <a:gd name="T33" fmla="*/ 64 h 6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1" h="64">
                  <a:moveTo>
                    <a:pt x="11" y="59"/>
                  </a:moveTo>
                  <a:lnTo>
                    <a:pt x="11" y="64"/>
                  </a:lnTo>
                  <a:lnTo>
                    <a:pt x="91" y="11"/>
                  </a:lnTo>
                  <a:lnTo>
                    <a:pt x="86" y="0"/>
                  </a:lnTo>
                  <a:lnTo>
                    <a:pt x="5" y="54"/>
                  </a:lnTo>
                  <a:lnTo>
                    <a:pt x="0" y="59"/>
                  </a:lnTo>
                  <a:lnTo>
                    <a:pt x="5" y="54"/>
                  </a:lnTo>
                  <a:lnTo>
                    <a:pt x="0" y="54"/>
                  </a:lnTo>
                  <a:lnTo>
                    <a:pt x="0" y="59"/>
                  </a:lnTo>
                  <a:lnTo>
                    <a:pt x="11" y="59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65" name="Freeform 111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1523632" y="3362752"/>
              <a:ext cx="35965" cy="113113"/>
            </a:xfrm>
            <a:custGeom>
              <a:avLst/>
              <a:gdLst>
                <a:gd name="T0" fmla="*/ 34756717 w 27"/>
                <a:gd name="T1" fmla="*/ 135883936 h 86"/>
                <a:gd name="T2" fmla="*/ 42655361 w 27"/>
                <a:gd name="T3" fmla="*/ 135883936 h 86"/>
                <a:gd name="T4" fmla="*/ 17377741 w 27"/>
                <a:gd name="T5" fmla="*/ 0 h 86"/>
                <a:gd name="T6" fmla="*/ 0 w 27"/>
                <a:gd name="T7" fmla="*/ 0 h 86"/>
                <a:gd name="T8" fmla="*/ 25277615 w 27"/>
                <a:gd name="T9" fmla="*/ 135883936 h 86"/>
                <a:gd name="T10" fmla="*/ 34756717 w 27"/>
                <a:gd name="T11" fmla="*/ 135883936 h 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7"/>
                <a:gd name="T19" fmla="*/ 0 h 86"/>
                <a:gd name="T20" fmla="*/ 27 w 27"/>
                <a:gd name="T21" fmla="*/ 86 h 8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7" h="86">
                  <a:moveTo>
                    <a:pt x="22" y="86"/>
                  </a:moveTo>
                  <a:lnTo>
                    <a:pt x="27" y="86"/>
                  </a:lnTo>
                  <a:lnTo>
                    <a:pt x="11" y="0"/>
                  </a:lnTo>
                  <a:lnTo>
                    <a:pt x="0" y="0"/>
                  </a:lnTo>
                  <a:lnTo>
                    <a:pt x="16" y="86"/>
                  </a:lnTo>
                  <a:lnTo>
                    <a:pt x="22" y="86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66" name="Freeform 112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1708601" y="3851797"/>
              <a:ext cx="126731" cy="119767"/>
            </a:xfrm>
            <a:custGeom>
              <a:avLst/>
              <a:gdLst>
                <a:gd name="T0" fmla="*/ 9802777 w 92"/>
                <a:gd name="T1" fmla="*/ 143876058 h 91"/>
                <a:gd name="T2" fmla="*/ 17971120 w 92"/>
                <a:gd name="T3" fmla="*/ 135970520 h 91"/>
                <a:gd name="T4" fmla="*/ 150306699 w 92"/>
                <a:gd name="T5" fmla="*/ 7905540 h 91"/>
                <a:gd name="T6" fmla="*/ 132335584 w 92"/>
                <a:gd name="T7" fmla="*/ 0 h 91"/>
                <a:gd name="T8" fmla="*/ 0 w 92"/>
                <a:gd name="T9" fmla="*/ 128064982 h 91"/>
                <a:gd name="T10" fmla="*/ 17971120 w 92"/>
                <a:gd name="T11" fmla="*/ 118579341 h 91"/>
                <a:gd name="T12" fmla="*/ 9802777 w 92"/>
                <a:gd name="T13" fmla="*/ 143876058 h 91"/>
                <a:gd name="T14" fmla="*/ 17971120 w 92"/>
                <a:gd name="T15" fmla="*/ 143876058 h 91"/>
                <a:gd name="T16" fmla="*/ 17971120 w 92"/>
                <a:gd name="T17" fmla="*/ 135970520 h 91"/>
                <a:gd name="T18" fmla="*/ 9802777 w 92"/>
                <a:gd name="T19" fmla="*/ 143876058 h 9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2"/>
                <a:gd name="T31" fmla="*/ 0 h 91"/>
                <a:gd name="T32" fmla="*/ 92 w 92"/>
                <a:gd name="T33" fmla="*/ 91 h 9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2" h="91">
                  <a:moveTo>
                    <a:pt x="6" y="91"/>
                  </a:moveTo>
                  <a:lnTo>
                    <a:pt x="11" y="86"/>
                  </a:lnTo>
                  <a:lnTo>
                    <a:pt x="92" y="5"/>
                  </a:lnTo>
                  <a:lnTo>
                    <a:pt x="81" y="0"/>
                  </a:lnTo>
                  <a:lnTo>
                    <a:pt x="0" y="81"/>
                  </a:lnTo>
                  <a:lnTo>
                    <a:pt x="11" y="75"/>
                  </a:lnTo>
                  <a:lnTo>
                    <a:pt x="6" y="91"/>
                  </a:lnTo>
                  <a:lnTo>
                    <a:pt x="11" y="91"/>
                  </a:lnTo>
                  <a:lnTo>
                    <a:pt x="11" y="86"/>
                  </a:lnTo>
                  <a:lnTo>
                    <a:pt x="6" y="91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67" name="Freeform 113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1634951" y="3923324"/>
              <a:ext cx="87341" cy="48240"/>
            </a:xfrm>
            <a:custGeom>
              <a:avLst/>
              <a:gdLst>
                <a:gd name="T0" fmla="*/ 0 w 64"/>
                <a:gd name="T1" fmla="*/ 7831436 h 37"/>
                <a:gd name="T2" fmla="*/ 0 w 64"/>
                <a:gd name="T3" fmla="*/ 17228164 h 37"/>
                <a:gd name="T4" fmla="*/ 95495938 w 64"/>
                <a:gd name="T5" fmla="*/ 57950639 h 37"/>
                <a:gd name="T6" fmla="*/ 103588339 w 64"/>
                <a:gd name="T7" fmla="*/ 32891036 h 37"/>
                <a:gd name="T8" fmla="*/ 8092404 w 64"/>
                <a:gd name="T9" fmla="*/ 0 h 37"/>
                <a:gd name="T10" fmla="*/ 0 w 64"/>
                <a:gd name="T11" fmla="*/ 7831436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37"/>
                <a:gd name="T20" fmla="*/ 64 w 64"/>
                <a:gd name="T21" fmla="*/ 37 h 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37">
                  <a:moveTo>
                    <a:pt x="0" y="5"/>
                  </a:moveTo>
                  <a:lnTo>
                    <a:pt x="0" y="11"/>
                  </a:lnTo>
                  <a:lnTo>
                    <a:pt x="59" y="37"/>
                  </a:lnTo>
                  <a:lnTo>
                    <a:pt x="64" y="21"/>
                  </a:lnTo>
                  <a:lnTo>
                    <a:pt x="5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68" name="Freeform 114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1552747" y="3554044"/>
              <a:ext cx="155845" cy="226226"/>
            </a:xfrm>
            <a:custGeom>
              <a:avLst/>
              <a:gdLst>
                <a:gd name="T0" fmla="*/ 176584190 w 112"/>
                <a:gd name="T1" fmla="*/ 271766617 h 172"/>
                <a:gd name="T2" fmla="*/ 184835290 w 112"/>
                <a:gd name="T3" fmla="*/ 263866187 h 172"/>
                <a:gd name="T4" fmla="*/ 16503494 w 112"/>
                <a:gd name="T5" fmla="*/ 0 h 172"/>
                <a:gd name="T6" fmla="*/ 0 w 112"/>
                <a:gd name="T7" fmla="*/ 9480771 h 172"/>
                <a:gd name="T8" fmla="*/ 168331760 w 112"/>
                <a:gd name="T9" fmla="*/ 271766617 h 172"/>
                <a:gd name="T10" fmla="*/ 176584190 w 112"/>
                <a:gd name="T11" fmla="*/ 271766617 h 1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2"/>
                <a:gd name="T19" fmla="*/ 0 h 172"/>
                <a:gd name="T20" fmla="*/ 112 w 112"/>
                <a:gd name="T21" fmla="*/ 172 h 17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2" h="172">
                  <a:moveTo>
                    <a:pt x="107" y="172"/>
                  </a:moveTo>
                  <a:lnTo>
                    <a:pt x="112" y="167"/>
                  </a:lnTo>
                  <a:lnTo>
                    <a:pt x="10" y="0"/>
                  </a:lnTo>
                  <a:lnTo>
                    <a:pt x="0" y="6"/>
                  </a:lnTo>
                  <a:lnTo>
                    <a:pt x="102" y="172"/>
                  </a:lnTo>
                  <a:lnTo>
                    <a:pt x="107" y="172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69" name="Freeform 115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1122896" y="4603685"/>
              <a:ext cx="318541" cy="460768"/>
            </a:xfrm>
            <a:custGeom>
              <a:avLst/>
              <a:gdLst>
                <a:gd name="T0" fmla="*/ 8176945 w 231"/>
                <a:gd name="T1" fmla="*/ 545593884 h 349"/>
                <a:gd name="T2" fmla="*/ 17990045 w 231"/>
                <a:gd name="T3" fmla="*/ 553524268 h 349"/>
                <a:gd name="T4" fmla="*/ 377796114 w 231"/>
                <a:gd name="T5" fmla="*/ 7930386 h 349"/>
                <a:gd name="T6" fmla="*/ 359806074 w 231"/>
                <a:gd name="T7" fmla="*/ 0 h 349"/>
                <a:gd name="T8" fmla="*/ 0 w 231"/>
                <a:gd name="T9" fmla="*/ 537663501 h 349"/>
                <a:gd name="T10" fmla="*/ 8176945 w 231"/>
                <a:gd name="T11" fmla="*/ 545593884 h 3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31"/>
                <a:gd name="T19" fmla="*/ 0 h 349"/>
                <a:gd name="T20" fmla="*/ 231 w 231"/>
                <a:gd name="T21" fmla="*/ 349 h 34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31" h="349">
                  <a:moveTo>
                    <a:pt x="5" y="344"/>
                  </a:moveTo>
                  <a:lnTo>
                    <a:pt x="11" y="349"/>
                  </a:lnTo>
                  <a:lnTo>
                    <a:pt x="231" y="5"/>
                  </a:lnTo>
                  <a:lnTo>
                    <a:pt x="220" y="0"/>
                  </a:lnTo>
                  <a:lnTo>
                    <a:pt x="0" y="339"/>
                  </a:lnTo>
                  <a:lnTo>
                    <a:pt x="5" y="344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70" name="Freeform 116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610825" y="4136242"/>
              <a:ext cx="44527" cy="184641"/>
            </a:xfrm>
            <a:custGeom>
              <a:avLst/>
              <a:gdLst>
                <a:gd name="T0" fmla="*/ 8251129 w 32"/>
                <a:gd name="T1" fmla="*/ 221810613 h 140"/>
                <a:gd name="T2" fmla="*/ 18153257 w 32"/>
                <a:gd name="T3" fmla="*/ 221810613 h 140"/>
                <a:gd name="T4" fmla="*/ 52810068 w 32"/>
                <a:gd name="T5" fmla="*/ 7922032 h 140"/>
                <a:gd name="T6" fmla="*/ 34656805 w 32"/>
                <a:gd name="T7" fmla="*/ 0 h 140"/>
                <a:gd name="T8" fmla="*/ 0 w 32"/>
                <a:gd name="T9" fmla="*/ 221810613 h 140"/>
                <a:gd name="T10" fmla="*/ 8251129 w 32"/>
                <a:gd name="T11" fmla="*/ 221810613 h 1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2"/>
                <a:gd name="T19" fmla="*/ 0 h 140"/>
                <a:gd name="T20" fmla="*/ 32 w 32"/>
                <a:gd name="T21" fmla="*/ 140 h 14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2" h="140">
                  <a:moveTo>
                    <a:pt x="5" y="140"/>
                  </a:moveTo>
                  <a:lnTo>
                    <a:pt x="11" y="140"/>
                  </a:lnTo>
                  <a:lnTo>
                    <a:pt x="32" y="5"/>
                  </a:lnTo>
                  <a:lnTo>
                    <a:pt x="21" y="0"/>
                  </a:lnTo>
                  <a:lnTo>
                    <a:pt x="0" y="140"/>
                  </a:lnTo>
                  <a:lnTo>
                    <a:pt x="5" y="140"/>
                  </a:lnTo>
                  <a:close/>
                </a:path>
              </a:pathLst>
            </a:custGeom>
            <a:solidFill>
              <a:srgbClr val="25221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71" name="Freeform 117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766669" y="4979600"/>
              <a:ext cx="356218" cy="93152"/>
            </a:xfrm>
            <a:custGeom>
              <a:avLst/>
              <a:gdLst>
                <a:gd name="T0" fmla="*/ 422481901 w 258"/>
                <a:gd name="T1" fmla="*/ 102311195 h 70"/>
                <a:gd name="T2" fmla="*/ 422481901 w 258"/>
                <a:gd name="T3" fmla="*/ 94319089 h 70"/>
                <a:gd name="T4" fmla="*/ 8187167 w 258"/>
                <a:gd name="T5" fmla="*/ 0 h 70"/>
                <a:gd name="T6" fmla="*/ 0 w 258"/>
                <a:gd name="T7" fmla="*/ 17584417 h 70"/>
                <a:gd name="T8" fmla="*/ 422481901 w 258"/>
                <a:gd name="T9" fmla="*/ 111903501 h 70"/>
                <a:gd name="T10" fmla="*/ 422481901 w 258"/>
                <a:gd name="T11" fmla="*/ 102311195 h 7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58"/>
                <a:gd name="T19" fmla="*/ 0 h 70"/>
                <a:gd name="T20" fmla="*/ 258 w 258"/>
                <a:gd name="T21" fmla="*/ 70 h 7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58" h="70">
                  <a:moveTo>
                    <a:pt x="258" y="64"/>
                  </a:moveTo>
                  <a:lnTo>
                    <a:pt x="258" y="59"/>
                  </a:lnTo>
                  <a:lnTo>
                    <a:pt x="5" y="0"/>
                  </a:lnTo>
                  <a:lnTo>
                    <a:pt x="0" y="11"/>
                  </a:lnTo>
                  <a:lnTo>
                    <a:pt x="258" y="70"/>
                  </a:lnTo>
                  <a:lnTo>
                    <a:pt x="258" y="64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72" name="Freeform 118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663914" y="4583724"/>
              <a:ext cx="118169" cy="402549"/>
            </a:xfrm>
            <a:custGeom>
              <a:avLst/>
              <a:gdLst>
                <a:gd name="T0" fmla="*/ 130373140 w 86"/>
                <a:gd name="T1" fmla="*/ 483584639 h 306"/>
                <a:gd name="T2" fmla="*/ 140151314 w 86"/>
                <a:gd name="T3" fmla="*/ 483584639 h 306"/>
                <a:gd name="T4" fmla="*/ 16296961 w 86"/>
                <a:gd name="T5" fmla="*/ 0 h 306"/>
                <a:gd name="T6" fmla="*/ 0 w 86"/>
                <a:gd name="T7" fmla="*/ 7901952 h 306"/>
                <a:gd name="T8" fmla="*/ 112447125 w 86"/>
                <a:gd name="T9" fmla="*/ 483584639 h 306"/>
                <a:gd name="T10" fmla="*/ 130373140 w 86"/>
                <a:gd name="T11" fmla="*/ 483584639 h 30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6"/>
                <a:gd name="T19" fmla="*/ 0 h 306"/>
                <a:gd name="T20" fmla="*/ 86 w 86"/>
                <a:gd name="T21" fmla="*/ 306 h 30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6" h="306">
                  <a:moveTo>
                    <a:pt x="80" y="306"/>
                  </a:moveTo>
                  <a:lnTo>
                    <a:pt x="86" y="306"/>
                  </a:lnTo>
                  <a:lnTo>
                    <a:pt x="10" y="0"/>
                  </a:lnTo>
                  <a:lnTo>
                    <a:pt x="0" y="5"/>
                  </a:lnTo>
                  <a:lnTo>
                    <a:pt x="69" y="306"/>
                  </a:lnTo>
                  <a:lnTo>
                    <a:pt x="80" y="306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73" name="Freeform 119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544033" y="4214425"/>
              <a:ext cx="82204" cy="28278"/>
            </a:xfrm>
            <a:custGeom>
              <a:avLst/>
              <a:gdLst>
                <a:gd name="T0" fmla="*/ 8261889 w 59"/>
                <a:gd name="T1" fmla="*/ 9265127 h 22"/>
                <a:gd name="T2" fmla="*/ 0 w 59"/>
                <a:gd name="T3" fmla="*/ 16985862 h 22"/>
                <a:gd name="T4" fmla="*/ 97495978 w 59"/>
                <a:gd name="T5" fmla="*/ 33970497 h 22"/>
                <a:gd name="T6" fmla="*/ 97495978 w 59"/>
                <a:gd name="T7" fmla="*/ 16985862 h 22"/>
                <a:gd name="T8" fmla="*/ 8261889 w 59"/>
                <a:gd name="T9" fmla="*/ 0 h 22"/>
                <a:gd name="T10" fmla="*/ 8261889 w 59"/>
                <a:gd name="T11" fmla="*/ 9265127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9"/>
                <a:gd name="T19" fmla="*/ 0 h 22"/>
                <a:gd name="T20" fmla="*/ 59 w 59"/>
                <a:gd name="T21" fmla="*/ 22 h 2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9" h="22">
                  <a:moveTo>
                    <a:pt x="5" y="6"/>
                  </a:moveTo>
                  <a:lnTo>
                    <a:pt x="0" y="11"/>
                  </a:lnTo>
                  <a:lnTo>
                    <a:pt x="59" y="22"/>
                  </a:lnTo>
                  <a:lnTo>
                    <a:pt x="59" y="11"/>
                  </a:lnTo>
                  <a:lnTo>
                    <a:pt x="5" y="0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25221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74" name="Freeform 120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1766829" y="3625590"/>
              <a:ext cx="59941" cy="56556"/>
            </a:xfrm>
            <a:custGeom>
              <a:avLst/>
              <a:gdLst>
                <a:gd name="T0" fmla="*/ 0 w 43"/>
                <a:gd name="T1" fmla="*/ 7900433 h 43"/>
                <a:gd name="T2" fmla="*/ 0 w 43"/>
                <a:gd name="T3" fmla="*/ 7900433 h 43"/>
                <a:gd name="T4" fmla="*/ 54557698 w 43"/>
                <a:gd name="T5" fmla="*/ 67941968 h 43"/>
                <a:gd name="T6" fmla="*/ 71090915 w 43"/>
                <a:gd name="T7" fmla="*/ 50562024 h 43"/>
                <a:gd name="T8" fmla="*/ 18185898 w 43"/>
                <a:gd name="T9" fmla="*/ 0 h 43"/>
                <a:gd name="T10" fmla="*/ 18185898 w 43"/>
                <a:gd name="T11" fmla="*/ 7900433 h 43"/>
                <a:gd name="T12" fmla="*/ 0 w 43"/>
                <a:gd name="T13" fmla="*/ 7900433 h 43"/>
                <a:gd name="T14" fmla="*/ 0 w 43"/>
                <a:gd name="T15" fmla="*/ 7900433 h 43"/>
                <a:gd name="T16" fmla="*/ 0 w 43"/>
                <a:gd name="T17" fmla="*/ 7900433 h 4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3"/>
                <a:gd name="T28" fmla="*/ 0 h 43"/>
                <a:gd name="T29" fmla="*/ 43 w 43"/>
                <a:gd name="T30" fmla="*/ 43 h 4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3" h="43">
                  <a:moveTo>
                    <a:pt x="0" y="5"/>
                  </a:moveTo>
                  <a:lnTo>
                    <a:pt x="0" y="5"/>
                  </a:lnTo>
                  <a:lnTo>
                    <a:pt x="33" y="43"/>
                  </a:lnTo>
                  <a:lnTo>
                    <a:pt x="43" y="32"/>
                  </a:lnTo>
                  <a:lnTo>
                    <a:pt x="11" y="0"/>
                  </a:lnTo>
                  <a:lnTo>
                    <a:pt x="11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75" name="Freeform 121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1766819" y="3569034"/>
              <a:ext cx="15414" cy="63210"/>
            </a:xfrm>
            <a:custGeom>
              <a:avLst/>
              <a:gdLst>
                <a:gd name="T0" fmla="*/ 0 w 11"/>
                <a:gd name="T1" fmla="*/ 7910116 h 48"/>
                <a:gd name="T2" fmla="*/ 0 w 11"/>
                <a:gd name="T3" fmla="*/ 0 h 48"/>
                <a:gd name="T4" fmla="*/ 0 w 11"/>
                <a:gd name="T5" fmla="*/ 75935346 h 48"/>
                <a:gd name="T6" fmla="*/ 18280845 w 11"/>
                <a:gd name="T7" fmla="*/ 75935346 h 48"/>
                <a:gd name="T8" fmla="*/ 18280845 w 11"/>
                <a:gd name="T9" fmla="*/ 0 h 48"/>
                <a:gd name="T10" fmla="*/ 18280845 w 11"/>
                <a:gd name="T11" fmla="*/ 0 h 48"/>
                <a:gd name="T12" fmla="*/ 0 w 11"/>
                <a:gd name="T13" fmla="*/ 7910116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48"/>
                <a:gd name="T23" fmla="*/ 11 w 11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48">
                  <a:moveTo>
                    <a:pt x="0" y="5"/>
                  </a:moveTo>
                  <a:lnTo>
                    <a:pt x="0" y="0"/>
                  </a:lnTo>
                  <a:lnTo>
                    <a:pt x="0" y="48"/>
                  </a:lnTo>
                  <a:lnTo>
                    <a:pt x="11" y="48"/>
                  </a:lnTo>
                  <a:lnTo>
                    <a:pt x="11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76" name="Freeform 122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1737716" y="3505824"/>
              <a:ext cx="44527" cy="69864"/>
            </a:xfrm>
            <a:custGeom>
              <a:avLst/>
              <a:gdLst>
                <a:gd name="T0" fmla="*/ 8251129 w 32"/>
                <a:gd name="T1" fmla="*/ 0 h 53"/>
                <a:gd name="T2" fmla="*/ 0 w 32"/>
                <a:gd name="T3" fmla="*/ 7917971 h 53"/>
                <a:gd name="T4" fmla="*/ 34656805 w 32"/>
                <a:gd name="T5" fmla="*/ 83927486 h 53"/>
                <a:gd name="T6" fmla="*/ 52810068 w 32"/>
                <a:gd name="T7" fmla="*/ 76009498 h 53"/>
                <a:gd name="T8" fmla="*/ 18153257 w 32"/>
                <a:gd name="T9" fmla="*/ 0 h 53"/>
                <a:gd name="T10" fmla="*/ 8251129 w 32"/>
                <a:gd name="T11" fmla="*/ 0 h 5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2"/>
                <a:gd name="T19" fmla="*/ 0 h 53"/>
                <a:gd name="T20" fmla="*/ 32 w 32"/>
                <a:gd name="T21" fmla="*/ 53 h 5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2" h="53">
                  <a:moveTo>
                    <a:pt x="5" y="0"/>
                  </a:moveTo>
                  <a:lnTo>
                    <a:pt x="0" y="5"/>
                  </a:lnTo>
                  <a:lnTo>
                    <a:pt x="21" y="53"/>
                  </a:lnTo>
                  <a:lnTo>
                    <a:pt x="32" y="48"/>
                  </a:lnTo>
                  <a:lnTo>
                    <a:pt x="11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77" name="Freeform 123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2385063" y="3271282"/>
              <a:ext cx="27401" cy="91489"/>
            </a:xfrm>
            <a:custGeom>
              <a:avLst/>
              <a:gdLst>
                <a:gd name="T0" fmla="*/ 15475856 w 21"/>
                <a:gd name="T1" fmla="*/ 92635350 h 70"/>
                <a:gd name="T2" fmla="*/ 24761372 w 21"/>
                <a:gd name="T3" fmla="*/ 102055171 h 70"/>
                <a:gd name="T4" fmla="*/ 32498693 w 21"/>
                <a:gd name="T5" fmla="*/ 0 h 70"/>
                <a:gd name="T6" fmla="*/ 15475856 w 21"/>
                <a:gd name="T7" fmla="*/ 0 h 70"/>
                <a:gd name="T8" fmla="*/ 7737323 w 21"/>
                <a:gd name="T9" fmla="*/ 102055171 h 70"/>
                <a:gd name="T10" fmla="*/ 7737323 w 21"/>
                <a:gd name="T11" fmla="*/ 109905853 h 70"/>
                <a:gd name="T12" fmla="*/ 7737323 w 21"/>
                <a:gd name="T13" fmla="*/ 102055171 h 70"/>
                <a:gd name="T14" fmla="*/ 0 w 21"/>
                <a:gd name="T15" fmla="*/ 109905853 h 70"/>
                <a:gd name="T16" fmla="*/ 7737323 w 21"/>
                <a:gd name="T17" fmla="*/ 109905853 h 70"/>
                <a:gd name="T18" fmla="*/ 15475856 w 21"/>
                <a:gd name="T19" fmla="*/ 92635350 h 7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1"/>
                <a:gd name="T31" fmla="*/ 0 h 70"/>
                <a:gd name="T32" fmla="*/ 21 w 21"/>
                <a:gd name="T33" fmla="*/ 70 h 7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1" h="70">
                  <a:moveTo>
                    <a:pt x="10" y="59"/>
                  </a:moveTo>
                  <a:lnTo>
                    <a:pt x="16" y="65"/>
                  </a:lnTo>
                  <a:lnTo>
                    <a:pt x="21" y="0"/>
                  </a:lnTo>
                  <a:lnTo>
                    <a:pt x="10" y="0"/>
                  </a:lnTo>
                  <a:lnTo>
                    <a:pt x="5" y="65"/>
                  </a:lnTo>
                  <a:lnTo>
                    <a:pt x="5" y="70"/>
                  </a:lnTo>
                  <a:lnTo>
                    <a:pt x="5" y="65"/>
                  </a:lnTo>
                  <a:lnTo>
                    <a:pt x="0" y="70"/>
                  </a:lnTo>
                  <a:lnTo>
                    <a:pt x="5" y="70"/>
                  </a:lnTo>
                  <a:lnTo>
                    <a:pt x="10" y="59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78" name="Freeform 124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2391924" y="3347779"/>
              <a:ext cx="35964" cy="21625"/>
            </a:xfrm>
            <a:custGeom>
              <a:avLst/>
              <a:gdLst>
                <a:gd name="T0" fmla="*/ 42654081 w 27"/>
                <a:gd name="T1" fmla="*/ 9742424 h 16"/>
                <a:gd name="T2" fmla="*/ 42654081 w 27"/>
                <a:gd name="T3" fmla="*/ 9742424 h 16"/>
                <a:gd name="T4" fmla="*/ 7898400 w 27"/>
                <a:gd name="T5" fmla="*/ 0 h 16"/>
                <a:gd name="T6" fmla="*/ 0 w 27"/>
                <a:gd name="T7" fmla="*/ 17859606 h 16"/>
                <a:gd name="T8" fmla="*/ 33175254 w 27"/>
                <a:gd name="T9" fmla="*/ 25978080 h 16"/>
                <a:gd name="T10" fmla="*/ 25276857 w 27"/>
                <a:gd name="T11" fmla="*/ 17859606 h 16"/>
                <a:gd name="T12" fmla="*/ 42654081 w 27"/>
                <a:gd name="T13" fmla="*/ 9742424 h 16"/>
                <a:gd name="T14" fmla="*/ 42654081 w 27"/>
                <a:gd name="T15" fmla="*/ 9742424 h 16"/>
                <a:gd name="T16" fmla="*/ 42654081 w 27"/>
                <a:gd name="T17" fmla="*/ 9742424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7"/>
                <a:gd name="T28" fmla="*/ 0 h 16"/>
                <a:gd name="T29" fmla="*/ 27 w 27"/>
                <a:gd name="T30" fmla="*/ 16 h 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7" h="16">
                  <a:moveTo>
                    <a:pt x="27" y="6"/>
                  </a:moveTo>
                  <a:lnTo>
                    <a:pt x="27" y="6"/>
                  </a:lnTo>
                  <a:lnTo>
                    <a:pt x="5" y="0"/>
                  </a:lnTo>
                  <a:lnTo>
                    <a:pt x="0" y="11"/>
                  </a:lnTo>
                  <a:lnTo>
                    <a:pt x="21" y="16"/>
                  </a:lnTo>
                  <a:lnTo>
                    <a:pt x="16" y="11"/>
                  </a:lnTo>
                  <a:lnTo>
                    <a:pt x="27" y="6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79" name="Freeform 125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2412465" y="3356097"/>
              <a:ext cx="44527" cy="113113"/>
            </a:xfrm>
            <a:custGeom>
              <a:avLst/>
              <a:gdLst>
                <a:gd name="T0" fmla="*/ 44558941 w 32"/>
                <a:gd name="T1" fmla="*/ 110603562 h 86"/>
                <a:gd name="T2" fmla="*/ 52810068 w 32"/>
                <a:gd name="T3" fmla="*/ 118503993 h 86"/>
                <a:gd name="T4" fmla="*/ 18153257 w 32"/>
                <a:gd name="T5" fmla="*/ 0 h 86"/>
                <a:gd name="T6" fmla="*/ 0 w 32"/>
                <a:gd name="T7" fmla="*/ 7900433 h 86"/>
                <a:gd name="T8" fmla="*/ 26405679 w 32"/>
                <a:gd name="T9" fmla="*/ 126403168 h 86"/>
                <a:gd name="T10" fmla="*/ 36306515 w 32"/>
                <a:gd name="T11" fmla="*/ 135883936 h 86"/>
                <a:gd name="T12" fmla="*/ 26405679 w 32"/>
                <a:gd name="T13" fmla="*/ 126403168 h 86"/>
                <a:gd name="T14" fmla="*/ 36306515 w 32"/>
                <a:gd name="T15" fmla="*/ 126403168 h 86"/>
                <a:gd name="T16" fmla="*/ 36306515 w 32"/>
                <a:gd name="T17" fmla="*/ 135883936 h 86"/>
                <a:gd name="T18" fmla="*/ 44558941 w 32"/>
                <a:gd name="T19" fmla="*/ 110603562 h 8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"/>
                <a:gd name="T31" fmla="*/ 0 h 86"/>
                <a:gd name="T32" fmla="*/ 32 w 32"/>
                <a:gd name="T33" fmla="*/ 86 h 8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" h="86">
                  <a:moveTo>
                    <a:pt x="27" y="70"/>
                  </a:moveTo>
                  <a:lnTo>
                    <a:pt x="32" y="75"/>
                  </a:lnTo>
                  <a:lnTo>
                    <a:pt x="11" y="0"/>
                  </a:lnTo>
                  <a:lnTo>
                    <a:pt x="0" y="5"/>
                  </a:lnTo>
                  <a:lnTo>
                    <a:pt x="16" y="80"/>
                  </a:lnTo>
                  <a:lnTo>
                    <a:pt x="22" y="86"/>
                  </a:lnTo>
                  <a:lnTo>
                    <a:pt x="16" y="80"/>
                  </a:lnTo>
                  <a:lnTo>
                    <a:pt x="22" y="80"/>
                  </a:lnTo>
                  <a:lnTo>
                    <a:pt x="22" y="86"/>
                  </a:lnTo>
                  <a:lnTo>
                    <a:pt x="27" y="7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80" name="Freeform 126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2443291" y="3449267"/>
              <a:ext cx="184959" cy="48239"/>
            </a:xfrm>
            <a:custGeom>
              <a:avLst/>
              <a:gdLst>
                <a:gd name="T0" fmla="*/ 219366417 w 134"/>
                <a:gd name="T1" fmla="*/ 50118117 h 37"/>
                <a:gd name="T2" fmla="*/ 219366417 w 134"/>
                <a:gd name="T3" fmla="*/ 40721586 h 37"/>
                <a:gd name="T4" fmla="*/ 8184817 w 134"/>
                <a:gd name="T5" fmla="*/ 0 h 37"/>
                <a:gd name="T6" fmla="*/ 0 w 134"/>
                <a:gd name="T7" fmla="*/ 25059058 h 37"/>
                <a:gd name="T8" fmla="*/ 219366417 w 134"/>
                <a:gd name="T9" fmla="*/ 57949380 h 37"/>
                <a:gd name="T10" fmla="*/ 219366417 w 134"/>
                <a:gd name="T11" fmla="*/ 50118117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4"/>
                <a:gd name="T19" fmla="*/ 0 h 37"/>
                <a:gd name="T20" fmla="*/ 134 w 134"/>
                <a:gd name="T21" fmla="*/ 37 h 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4" h="37">
                  <a:moveTo>
                    <a:pt x="134" y="32"/>
                  </a:moveTo>
                  <a:lnTo>
                    <a:pt x="134" y="26"/>
                  </a:lnTo>
                  <a:lnTo>
                    <a:pt x="5" y="0"/>
                  </a:lnTo>
                  <a:lnTo>
                    <a:pt x="0" y="16"/>
                  </a:lnTo>
                  <a:lnTo>
                    <a:pt x="134" y="37"/>
                  </a:lnTo>
                  <a:lnTo>
                    <a:pt x="134" y="32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81" name="Freeform 12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2597434" y="3490854"/>
              <a:ext cx="37677" cy="78181"/>
            </a:xfrm>
            <a:custGeom>
              <a:avLst/>
              <a:gdLst>
                <a:gd name="T0" fmla="*/ 18204980 w 27"/>
                <a:gd name="T1" fmla="*/ 93920077 h 59"/>
                <a:gd name="T2" fmla="*/ 18204980 w 27"/>
                <a:gd name="T3" fmla="*/ 93920077 h 59"/>
                <a:gd name="T4" fmla="*/ 44685898 w 27"/>
                <a:gd name="T5" fmla="*/ 0 h 59"/>
                <a:gd name="T6" fmla="*/ 28135323 w 27"/>
                <a:gd name="T7" fmla="*/ 0 h 59"/>
                <a:gd name="T8" fmla="*/ 0 w 27"/>
                <a:gd name="T9" fmla="*/ 85960516 h 59"/>
                <a:gd name="T10" fmla="*/ 0 w 27"/>
                <a:gd name="T11" fmla="*/ 85960516 h 59"/>
                <a:gd name="T12" fmla="*/ 18204980 w 27"/>
                <a:gd name="T13" fmla="*/ 93920077 h 5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59"/>
                <a:gd name="T23" fmla="*/ 27 w 27"/>
                <a:gd name="T24" fmla="*/ 59 h 5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59">
                  <a:moveTo>
                    <a:pt x="11" y="59"/>
                  </a:moveTo>
                  <a:lnTo>
                    <a:pt x="11" y="59"/>
                  </a:lnTo>
                  <a:lnTo>
                    <a:pt x="27" y="0"/>
                  </a:lnTo>
                  <a:lnTo>
                    <a:pt x="17" y="0"/>
                  </a:lnTo>
                  <a:lnTo>
                    <a:pt x="0" y="54"/>
                  </a:lnTo>
                  <a:lnTo>
                    <a:pt x="11" y="59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82" name="Freeform 12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2494679" y="3562361"/>
              <a:ext cx="118168" cy="126420"/>
            </a:xfrm>
            <a:custGeom>
              <a:avLst/>
              <a:gdLst>
                <a:gd name="T0" fmla="*/ 17925856 w 86"/>
                <a:gd name="T1" fmla="*/ 151869435 h 96"/>
                <a:gd name="T2" fmla="*/ 17925856 w 86"/>
                <a:gd name="T3" fmla="*/ 151869435 h 96"/>
                <a:gd name="T4" fmla="*/ 140150034 w 86"/>
                <a:gd name="T5" fmla="*/ 7910116 h 96"/>
                <a:gd name="T6" fmla="*/ 122224183 w 86"/>
                <a:gd name="T7" fmla="*/ 0 h 96"/>
                <a:gd name="T8" fmla="*/ 0 w 86"/>
                <a:gd name="T9" fmla="*/ 143959322 h 96"/>
                <a:gd name="T10" fmla="*/ 0 w 86"/>
                <a:gd name="T11" fmla="*/ 143959322 h 96"/>
                <a:gd name="T12" fmla="*/ 17925856 w 86"/>
                <a:gd name="T13" fmla="*/ 151869435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6"/>
                <a:gd name="T22" fmla="*/ 0 h 96"/>
                <a:gd name="T23" fmla="*/ 86 w 86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6" h="96">
                  <a:moveTo>
                    <a:pt x="11" y="96"/>
                  </a:moveTo>
                  <a:lnTo>
                    <a:pt x="11" y="96"/>
                  </a:lnTo>
                  <a:lnTo>
                    <a:pt x="86" y="5"/>
                  </a:lnTo>
                  <a:lnTo>
                    <a:pt x="75" y="0"/>
                  </a:lnTo>
                  <a:lnTo>
                    <a:pt x="0" y="91"/>
                  </a:lnTo>
                  <a:lnTo>
                    <a:pt x="11" y="96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83" name="Freeform 12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2479254" y="3682128"/>
              <a:ext cx="30827" cy="86498"/>
            </a:xfrm>
            <a:custGeom>
              <a:avLst/>
              <a:gdLst>
                <a:gd name="T0" fmla="*/ 9971375 w 22"/>
                <a:gd name="T1" fmla="*/ 94319085 h 65"/>
                <a:gd name="T2" fmla="*/ 18280206 w 22"/>
                <a:gd name="T3" fmla="*/ 103911391 h 65"/>
                <a:gd name="T4" fmla="*/ 36560411 w 22"/>
                <a:gd name="T5" fmla="*/ 7993379 h 65"/>
                <a:gd name="T6" fmla="*/ 18280206 w 22"/>
                <a:gd name="T7" fmla="*/ 0 h 65"/>
                <a:gd name="T8" fmla="*/ 0 w 22"/>
                <a:gd name="T9" fmla="*/ 94319085 h 65"/>
                <a:gd name="T10" fmla="*/ 9971375 w 22"/>
                <a:gd name="T11" fmla="*/ 94319085 h 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2"/>
                <a:gd name="T19" fmla="*/ 0 h 65"/>
                <a:gd name="T20" fmla="*/ 22 w 22"/>
                <a:gd name="T21" fmla="*/ 65 h 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2" h="65">
                  <a:moveTo>
                    <a:pt x="6" y="59"/>
                  </a:moveTo>
                  <a:lnTo>
                    <a:pt x="11" y="65"/>
                  </a:lnTo>
                  <a:lnTo>
                    <a:pt x="22" y="5"/>
                  </a:lnTo>
                  <a:lnTo>
                    <a:pt x="11" y="0"/>
                  </a:lnTo>
                  <a:lnTo>
                    <a:pt x="0" y="59"/>
                  </a:lnTo>
                  <a:lnTo>
                    <a:pt x="6" y="59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84" name="Freeform 13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2385063" y="3710408"/>
              <a:ext cx="102755" cy="63210"/>
            </a:xfrm>
            <a:custGeom>
              <a:avLst/>
              <a:gdLst>
                <a:gd name="T0" fmla="*/ 121870460 w 75"/>
                <a:gd name="T1" fmla="*/ 68025233 h 48"/>
                <a:gd name="T2" fmla="*/ 121870460 w 75"/>
                <a:gd name="T3" fmla="*/ 58534103 h 48"/>
                <a:gd name="T4" fmla="*/ 8124189 w 75"/>
                <a:gd name="T5" fmla="*/ 0 h 48"/>
                <a:gd name="T6" fmla="*/ 0 w 75"/>
                <a:gd name="T7" fmla="*/ 15820231 h 48"/>
                <a:gd name="T8" fmla="*/ 112120674 w 75"/>
                <a:gd name="T9" fmla="*/ 75935346 h 48"/>
                <a:gd name="T10" fmla="*/ 121870460 w 75"/>
                <a:gd name="T11" fmla="*/ 68025233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5"/>
                <a:gd name="T19" fmla="*/ 0 h 48"/>
                <a:gd name="T20" fmla="*/ 75 w 75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5" h="48">
                  <a:moveTo>
                    <a:pt x="75" y="43"/>
                  </a:moveTo>
                  <a:lnTo>
                    <a:pt x="75" y="37"/>
                  </a:lnTo>
                  <a:lnTo>
                    <a:pt x="5" y="0"/>
                  </a:lnTo>
                  <a:lnTo>
                    <a:pt x="0" y="10"/>
                  </a:lnTo>
                  <a:lnTo>
                    <a:pt x="69" y="48"/>
                  </a:lnTo>
                  <a:lnTo>
                    <a:pt x="75" y="43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85" name="Freeform 13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2123047" y="3249658"/>
              <a:ext cx="46240" cy="154698"/>
            </a:xfrm>
            <a:custGeom>
              <a:avLst/>
              <a:gdLst>
                <a:gd name="T0" fmla="*/ 54842554 w 33"/>
                <a:gd name="T1" fmla="*/ 177965175 h 118"/>
                <a:gd name="T2" fmla="*/ 54842554 w 33"/>
                <a:gd name="T3" fmla="*/ 177965175 h 118"/>
                <a:gd name="T4" fmla="*/ 18280417 w 33"/>
                <a:gd name="T5" fmla="*/ 0 h 118"/>
                <a:gd name="T6" fmla="*/ 0 w 33"/>
                <a:gd name="T7" fmla="*/ 0 h 118"/>
                <a:gd name="T8" fmla="*/ 36562132 w 33"/>
                <a:gd name="T9" fmla="*/ 177965175 h 118"/>
                <a:gd name="T10" fmla="*/ 36562132 w 33"/>
                <a:gd name="T11" fmla="*/ 185839981 h 118"/>
                <a:gd name="T12" fmla="*/ 54842554 w 33"/>
                <a:gd name="T13" fmla="*/ 177965175 h 1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3"/>
                <a:gd name="T22" fmla="*/ 0 h 118"/>
                <a:gd name="T23" fmla="*/ 33 w 33"/>
                <a:gd name="T24" fmla="*/ 118 h 1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3" h="118">
                  <a:moveTo>
                    <a:pt x="33" y="113"/>
                  </a:moveTo>
                  <a:lnTo>
                    <a:pt x="33" y="113"/>
                  </a:lnTo>
                  <a:lnTo>
                    <a:pt x="11" y="0"/>
                  </a:lnTo>
                  <a:lnTo>
                    <a:pt x="0" y="0"/>
                  </a:lnTo>
                  <a:lnTo>
                    <a:pt x="22" y="113"/>
                  </a:lnTo>
                  <a:lnTo>
                    <a:pt x="22" y="118"/>
                  </a:lnTo>
                  <a:lnTo>
                    <a:pt x="33" y="113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86" name="Freeform 13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2153864" y="3397701"/>
              <a:ext cx="82204" cy="262821"/>
            </a:xfrm>
            <a:custGeom>
              <a:avLst/>
              <a:gdLst>
                <a:gd name="T0" fmla="*/ 89234092 w 59"/>
                <a:gd name="T1" fmla="*/ 298277548 h 199"/>
                <a:gd name="T2" fmla="*/ 97495978 w 59"/>
                <a:gd name="T3" fmla="*/ 307796291 h 199"/>
                <a:gd name="T4" fmla="*/ 18176929 w 59"/>
                <a:gd name="T5" fmla="*/ 0 h 199"/>
                <a:gd name="T6" fmla="*/ 0 w 59"/>
                <a:gd name="T7" fmla="*/ 7933128 h 199"/>
                <a:gd name="T8" fmla="*/ 71055856 w 59"/>
                <a:gd name="T9" fmla="*/ 307796291 h 199"/>
                <a:gd name="T10" fmla="*/ 89234092 w 59"/>
                <a:gd name="T11" fmla="*/ 315729417 h 199"/>
                <a:gd name="T12" fmla="*/ 71055856 w 59"/>
                <a:gd name="T13" fmla="*/ 307796291 h 199"/>
                <a:gd name="T14" fmla="*/ 79319034 w 59"/>
                <a:gd name="T15" fmla="*/ 315729417 h 199"/>
                <a:gd name="T16" fmla="*/ 89234092 w 59"/>
                <a:gd name="T17" fmla="*/ 315729417 h 199"/>
                <a:gd name="T18" fmla="*/ 89234092 w 59"/>
                <a:gd name="T19" fmla="*/ 298277548 h 19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9"/>
                <a:gd name="T31" fmla="*/ 0 h 199"/>
                <a:gd name="T32" fmla="*/ 59 w 59"/>
                <a:gd name="T33" fmla="*/ 199 h 19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9" h="199">
                  <a:moveTo>
                    <a:pt x="54" y="188"/>
                  </a:moveTo>
                  <a:lnTo>
                    <a:pt x="59" y="194"/>
                  </a:lnTo>
                  <a:lnTo>
                    <a:pt x="11" y="0"/>
                  </a:lnTo>
                  <a:lnTo>
                    <a:pt x="0" y="5"/>
                  </a:lnTo>
                  <a:lnTo>
                    <a:pt x="43" y="194"/>
                  </a:lnTo>
                  <a:lnTo>
                    <a:pt x="54" y="199"/>
                  </a:lnTo>
                  <a:lnTo>
                    <a:pt x="43" y="194"/>
                  </a:lnTo>
                  <a:lnTo>
                    <a:pt x="48" y="199"/>
                  </a:lnTo>
                  <a:lnTo>
                    <a:pt x="54" y="199"/>
                  </a:lnTo>
                  <a:lnTo>
                    <a:pt x="54" y="188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87" name="Freeform 13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2227515" y="3640542"/>
              <a:ext cx="51378" cy="19961"/>
            </a:xfrm>
            <a:custGeom>
              <a:avLst/>
              <a:gdLst>
                <a:gd name="T0" fmla="*/ 60935539 w 37"/>
                <a:gd name="T1" fmla="*/ 7493793 h 16"/>
                <a:gd name="T2" fmla="*/ 52701566 w 37"/>
                <a:gd name="T3" fmla="*/ 0 h 16"/>
                <a:gd name="T4" fmla="*/ 0 w 37"/>
                <a:gd name="T5" fmla="*/ 7493793 h 16"/>
                <a:gd name="T6" fmla="*/ 0 w 37"/>
                <a:gd name="T7" fmla="*/ 23979185 h 16"/>
                <a:gd name="T8" fmla="*/ 52701566 w 37"/>
                <a:gd name="T9" fmla="*/ 23979185 h 16"/>
                <a:gd name="T10" fmla="*/ 44466306 w 37"/>
                <a:gd name="T11" fmla="*/ 16485391 h 16"/>
                <a:gd name="T12" fmla="*/ 60935539 w 37"/>
                <a:gd name="T13" fmla="*/ 7493793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16"/>
                <a:gd name="T23" fmla="*/ 37 w 37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16">
                  <a:moveTo>
                    <a:pt x="37" y="5"/>
                  </a:moveTo>
                  <a:lnTo>
                    <a:pt x="32" y="0"/>
                  </a:lnTo>
                  <a:lnTo>
                    <a:pt x="0" y="5"/>
                  </a:lnTo>
                  <a:lnTo>
                    <a:pt x="0" y="16"/>
                  </a:lnTo>
                  <a:lnTo>
                    <a:pt x="32" y="16"/>
                  </a:lnTo>
                  <a:lnTo>
                    <a:pt x="27" y="11"/>
                  </a:lnTo>
                  <a:lnTo>
                    <a:pt x="37" y="5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88" name="Freeform 13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2265191" y="3647214"/>
              <a:ext cx="126731" cy="76518"/>
            </a:xfrm>
            <a:custGeom>
              <a:avLst/>
              <a:gdLst>
                <a:gd name="T0" fmla="*/ 142047923 w 91"/>
                <a:gd name="T1" fmla="*/ 84131005 h 59"/>
                <a:gd name="T2" fmla="*/ 150306025 w 91"/>
                <a:gd name="T3" fmla="*/ 76340830 h 59"/>
                <a:gd name="T4" fmla="*/ 16517501 w 91"/>
                <a:gd name="T5" fmla="*/ 0 h 59"/>
                <a:gd name="T6" fmla="*/ 0 w 91"/>
                <a:gd name="T7" fmla="*/ 9348438 h 59"/>
                <a:gd name="T8" fmla="*/ 132137425 w 91"/>
                <a:gd name="T9" fmla="*/ 91921162 h 59"/>
                <a:gd name="T10" fmla="*/ 142047923 w 91"/>
                <a:gd name="T11" fmla="*/ 84131005 h 5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1"/>
                <a:gd name="T19" fmla="*/ 0 h 59"/>
                <a:gd name="T20" fmla="*/ 91 w 91"/>
                <a:gd name="T21" fmla="*/ 59 h 5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1" h="59">
                  <a:moveTo>
                    <a:pt x="86" y="54"/>
                  </a:moveTo>
                  <a:lnTo>
                    <a:pt x="91" y="49"/>
                  </a:lnTo>
                  <a:lnTo>
                    <a:pt x="10" y="0"/>
                  </a:lnTo>
                  <a:lnTo>
                    <a:pt x="0" y="6"/>
                  </a:lnTo>
                  <a:lnTo>
                    <a:pt x="80" y="59"/>
                  </a:lnTo>
                  <a:lnTo>
                    <a:pt x="86" y="54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89" name="Rectangle 135"/>
            <p:cNvSpPr>
              <a:spLocks noChangeArrowheads="1"/>
            </p:cNvSpPr>
            <p:nvPr>
              <p:custDataLst>
                <p:tags r:id="rId65"/>
              </p:custDataLst>
            </p:nvPr>
          </p:nvSpPr>
          <p:spPr bwMode="auto">
            <a:xfrm>
              <a:off x="2485886" y="3201417"/>
              <a:ext cx="193963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chemeClr val="tx1"/>
                  </a:solidFill>
                  <a:ea typeface="MS PGothic" pitchFamily="34" charset="-128"/>
                </a:rPr>
                <a:t>Rocha</a:t>
              </a:r>
              <a:endParaRPr lang="es-ES" altLang="es-AR" sz="1400">
                <a:solidFill>
                  <a:schemeClr val="tx1"/>
                </a:solidFill>
                <a:ea typeface="MS PGothic" pitchFamily="34" charset="-128"/>
              </a:endParaRPr>
            </a:p>
          </p:txBody>
        </p:sp>
        <p:sp>
          <p:nvSpPr>
            <p:cNvPr id="90" name="Rectangle 136"/>
            <p:cNvSpPr>
              <a:spLocks noChangeArrowheads="1"/>
            </p:cNvSpPr>
            <p:nvPr>
              <p:custDataLst>
                <p:tags r:id="rId66"/>
              </p:custDataLst>
            </p:nvPr>
          </p:nvSpPr>
          <p:spPr bwMode="auto">
            <a:xfrm>
              <a:off x="2534637" y="3745343"/>
              <a:ext cx="392736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chemeClr val="tx1"/>
                  </a:solidFill>
                  <a:ea typeface="MS PGothic" pitchFamily="34" charset="-128"/>
                </a:rPr>
                <a:t>Mar del Plata</a:t>
              </a:r>
              <a:endParaRPr lang="es-ES" altLang="es-AR" sz="1400">
                <a:solidFill>
                  <a:schemeClr val="tx1"/>
                </a:solidFill>
                <a:ea typeface="MS PGothic" pitchFamily="34" charset="-128"/>
              </a:endParaRPr>
            </a:p>
          </p:txBody>
        </p:sp>
        <p:sp>
          <p:nvSpPr>
            <p:cNvPr id="91" name="Rectangle 137"/>
            <p:cNvSpPr>
              <a:spLocks noChangeArrowheads="1"/>
            </p:cNvSpPr>
            <p:nvPr>
              <p:custDataLst>
                <p:tags r:id="rId67"/>
              </p:custDataLst>
            </p:nvPr>
          </p:nvSpPr>
          <p:spPr bwMode="auto">
            <a:xfrm>
              <a:off x="1813142" y="4241040"/>
              <a:ext cx="227626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chemeClr val="tx1"/>
                  </a:solidFill>
                  <a:ea typeface="MS PGothic" pitchFamily="34" charset="-128"/>
                </a:rPr>
                <a:t>Viedma</a:t>
              </a:r>
              <a:endParaRPr lang="es-ES" altLang="es-AR" sz="1400">
                <a:solidFill>
                  <a:schemeClr val="tx1"/>
                </a:solidFill>
                <a:ea typeface="MS PGothic" pitchFamily="34" charset="-128"/>
              </a:endParaRPr>
            </a:p>
          </p:txBody>
        </p:sp>
        <p:sp>
          <p:nvSpPr>
            <p:cNvPr id="92" name="Rectangle 138"/>
            <p:cNvSpPr>
              <a:spLocks noChangeArrowheads="1"/>
            </p:cNvSpPr>
            <p:nvPr>
              <p:custDataLst>
                <p:tags r:id="rId68"/>
              </p:custDataLst>
            </p:nvPr>
          </p:nvSpPr>
          <p:spPr bwMode="auto">
            <a:xfrm>
              <a:off x="1008559" y="6019240"/>
              <a:ext cx="387927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chemeClr val="tx1"/>
                  </a:solidFill>
                  <a:ea typeface="MS PGothic" pitchFamily="34" charset="-128"/>
                </a:rPr>
                <a:t>Río Gallegos</a:t>
              </a:r>
              <a:endParaRPr lang="es-ES" altLang="es-AR" sz="1400">
                <a:solidFill>
                  <a:schemeClr val="tx1"/>
                </a:solidFill>
                <a:ea typeface="MS PGothic" pitchFamily="34" charset="-128"/>
              </a:endParaRPr>
            </a:p>
          </p:txBody>
        </p:sp>
        <p:sp>
          <p:nvSpPr>
            <p:cNvPr id="93" name="Rectangle 139"/>
            <p:cNvSpPr>
              <a:spLocks noChangeArrowheads="1"/>
            </p:cNvSpPr>
            <p:nvPr>
              <p:custDataLst>
                <p:tags r:id="rId69"/>
              </p:custDataLst>
            </p:nvPr>
          </p:nvSpPr>
          <p:spPr bwMode="auto">
            <a:xfrm>
              <a:off x="125604" y="6062489"/>
              <a:ext cx="509755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chemeClr val="tx1"/>
                  </a:solidFill>
                  <a:ea typeface="MS PGothic" pitchFamily="34" charset="-128"/>
                </a:rPr>
                <a:t>28 de Noviembre</a:t>
              </a:r>
              <a:endParaRPr lang="es-ES" altLang="es-AR" sz="1400">
                <a:solidFill>
                  <a:schemeClr val="tx1"/>
                </a:solidFill>
                <a:ea typeface="MS PGothic" pitchFamily="34" charset="-128"/>
              </a:endParaRPr>
            </a:p>
          </p:txBody>
        </p:sp>
        <p:sp>
          <p:nvSpPr>
            <p:cNvPr id="94" name="Rectangle 140"/>
            <p:cNvSpPr>
              <a:spLocks noChangeArrowheads="1"/>
            </p:cNvSpPr>
            <p:nvPr>
              <p:custDataLst>
                <p:tags r:id="rId70"/>
              </p:custDataLst>
            </p:nvPr>
          </p:nvSpPr>
          <p:spPr bwMode="auto">
            <a:xfrm>
              <a:off x="397608" y="5728160"/>
              <a:ext cx="325410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El Calafate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95" name="Rectangle 141"/>
            <p:cNvSpPr>
              <a:spLocks noChangeArrowheads="1"/>
            </p:cNvSpPr>
            <p:nvPr>
              <p:custDataLst>
                <p:tags r:id="rId71"/>
              </p:custDataLst>
            </p:nvPr>
          </p:nvSpPr>
          <p:spPr bwMode="auto">
            <a:xfrm>
              <a:off x="1112358" y="6321983"/>
              <a:ext cx="343043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chemeClr val="tx1"/>
                  </a:solidFill>
                  <a:ea typeface="MS PGothic" pitchFamily="34" charset="-128"/>
                </a:rPr>
                <a:t>Río Grande</a:t>
              </a:r>
              <a:endParaRPr lang="es-ES" altLang="es-AR" sz="1400">
                <a:solidFill>
                  <a:schemeClr val="tx1"/>
                </a:solidFill>
                <a:ea typeface="MS PGothic" pitchFamily="34" charset="-128"/>
              </a:endParaRPr>
            </a:p>
          </p:txBody>
        </p:sp>
        <p:sp>
          <p:nvSpPr>
            <p:cNvPr id="96" name="Rectangle 142"/>
            <p:cNvSpPr>
              <a:spLocks noChangeArrowheads="1"/>
            </p:cNvSpPr>
            <p:nvPr>
              <p:custDataLst>
                <p:tags r:id="rId72"/>
              </p:custDataLst>
            </p:nvPr>
          </p:nvSpPr>
          <p:spPr bwMode="auto">
            <a:xfrm>
              <a:off x="922847" y="6611419"/>
              <a:ext cx="285335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 dirty="0" err="1">
                  <a:solidFill>
                    <a:srgbClr val="25221E"/>
                  </a:solidFill>
                  <a:ea typeface="MS PGothic" pitchFamily="34" charset="-128"/>
                </a:rPr>
                <a:t>Ushuahia</a:t>
              </a:r>
              <a:endParaRPr lang="es-ES" altLang="es-AR" sz="1400" dirty="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97" name="Rectangle 143"/>
            <p:cNvSpPr>
              <a:spLocks noChangeArrowheads="1"/>
            </p:cNvSpPr>
            <p:nvPr>
              <p:custDataLst>
                <p:tags r:id="rId73"/>
              </p:custDataLst>
            </p:nvPr>
          </p:nvSpPr>
          <p:spPr bwMode="auto">
            <a:xfrm>
              <a:off x="1385702" y="3454238"/>
              <a:ext cx="173124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Santa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98" name="Rectangle 144"/>
            <p:cNvSpPr>
              <a:spLocks noChangeArrowheads="1"/>
            </p:cNvSpPr>
            <p:nvPr>
              <p:custDataLst>
                <p:tags r:id="rId74"/>
              </p:custDataLst>
            </p:nvPr>
          </p:nvSpPr>
          <p:spPr bwMode="auto">
            <a:xfrm>
              <a:off x="1385089" y="3497487"/>
              <a:ext cx="155492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Rosa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99" name="Rectangle 145"/>
            <p:cNvSpPr>
              <a:spLocks noChangeArrowheads="1"/>
            </p:cNvSpPr>
            <p:nvPr>
              <p:custDataLst>
                <p:tags r:id="rId75"/>
              </p:custDataLst>
            </p:nvPr>
          </p:nvSpPr>
          <p:spPr bwMode="auto">
            <a:xfrm>
              <a:off x="988289" y="2775561"/>
              <a:ext cx="270908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Mendoza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00" name="Rectangle 146"/>
            <p:cNvSpPr>
              <a:spLocks noChangeArrowheads="1"/>
            </p:cNvSpPr>
            <p:nvPr>
              <p:custDataLst>
                <p:tags r:id="rId76"/>
              </p:custDataLst>
            </p:nvPr>
          </p:nvSpPr>
          <p:spPr bwMode="auto">
            <a:xfrm>
              <a:off x="702445" y="3821857"/>
              <a:ext cx="200376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Zapala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01" name="Rectangle 147"/>
            <p:cNvSpPr>
              <a:spLocks noChangeArrowheads="1"/>
            </p:cNvSpPr>
            <p:nvPr>
              <p:custDataLst>
                <p:tags r:id="rId77"/>
              </p:custDataLst>
            </p:nvPr>
          </p:nvSpPr>
          <p:spPr bwMode="auto">
            <a:xfrm>
              <a:off x="1160445" y="5056135"/>
              <a:ext cx="322203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chemeClr val="tx1"/>
                  </a:solidFill>
                  <a:ea typeface="MS PGothic" pitchFamily="34" charset="-128"/>
                </a:rPr>
                <a:t>Comodoro</a:t>
              </a:r>
              <a:endParaRPr lang="es-ES" altLang="es-AR" sz="1400">
                <a:solidFill>
                  <a:schemeClr val="tx1"/>
                </a:solidFill>
                <a:ea typeface="MS PGothic" pitchFamily="34" charset="-128"/>
              </a:endParaRPr>
            </a:p>
          </p:txBody>
        </p:sp>
        <p:sp>
          <p:nvSpPr>
            <p:cNvPr id="102" name="Rectangle 148"/>
            <p:cNvSpPr>
              <a:spLocks noChangeArrowheads="1"/>
            </p:cNvSpPr>
            <p:nvPr>
              <p:custDataLst>
                <p:tags r:id="rId78"/>
              </p:custDataLst>
            </p:nvPr>
          </p:nvSpPr>
          <p:spPr bwMode="auto">
            <a:xfrm>
              <a:off x="1159568" y="5097703"/>
              <a:ext cx="296556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Rivadavia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03" name="Rectangle 149"/>
            <p:cNvSpPr>
              <a:spLocks noChangeArrowheads="1"/>
            </p:cNvSpPr>
            <p:nvPr>
              <p:custDataLst>
                <p:tags r:id="rId79"/>
              </p:custDataLst>
            </p:nvPr>
          </p:nvSpPr>
          <p:spPr bwMode="auto">
            <a:xfrm>
              <a:off x="1587760" y="3833499"/>
              <a:ext cx="272510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B.Blanca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04" name="Rectangle 150"/>
            <p:cNvSpPr>
              <a:spLocks noChangeArrowheads="1"/>
            </p:cNvSpPr>
            <p:nvPr>
              <p:custDataLst>
                <p:tags r:id="rId80"/>
              </p:custDataLst>
            </p:nvPr>
          </p:nvSpPr>
          <p:spPr bwMode="auto">
            <a:xfrm>
              <a:off x="1726569" y="3316193"/>
              <a:ext cx="250068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Trenque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05" name="Rectangle 151"/>
            <p:cNvSpPr>
              <a:spLocks noChangeArrowheads="1"/>
            </p:cNvSpPr>
            <p:nvPr>
              <p:custDataLst>
                <p:tags r:id="rId81"/>
              </p:custDataLst>
            </p:nvPr>
          </p:nvSpPr>
          <p:spPr bwMode="auto">
            <a:xfrm>
              <a:off x="2430622" y="3262945"/>
              <a:ext cx="155492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Cnel.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06" name="Rectangle 152"/>
            <p:cNvSpPr>
              <a:spLocks noChangeArrowheads="1"/>
            </p:cNvSpPr>
            <p:nvPr>
              <p:custDataLst>
                <p:tags r:id="rId82"/>
              </p:custDataLst>
            </p:nvPr>
          </p:nvSpPr>
          <p:spPr bwMode="auto">
            <a:xfrm>
              <a:off x="2437047" y="3306213"/>
              <a:ext cx="293350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Brandsen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07" name="Freeform 153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1047543" y="3873421"/>
              <a:ext cx="37677" cy="28279"/>
            </a:xfrm>
            <a:custGeom>
              <a:avLst/>
              <a:gdLst>
                <a:gd name="T0" fmla="*/ 0 w 27"/>
                <a:gd name="T1" fmla="*/ 9265470 h 22"/>
                <a:gd name="T2" fmla="*/ 0 w 27"/>
                <a:gd name="T3" fmla="*/ 16986491 h 22"/>
                <a:gd name="T4" fmla="*/ 36411253 w 27"/>
                <a:gd name="T5" fmla="*/ 33971756 h 22"/>
                <a:gd name="T6" fmla="*/ 44685898 w 27"/>
                <a:gd name="T7" fmla="*/ 24706288 h 22"/>
                <a:gd name="T8" fmla="*/ 8274638 w 27"/>
                <a:gd name="T9" fmla="*/ 0 h 22"/>
                <a:gd name="T10" fmla="*/ 0 w 27"/>
                <a:gd name="T11" fmla="*/ 9265470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7"/>
                <a:gd name="T19" fmla="*/ 0 h 22"/>
                <a:gd name="T20" fmla="*/ 27 w 27"/>
                <a:gd name="T21" fmla="*/ 22 h 2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7" h="22">
                  <a:moveTo>
                    <a:pt x="0" y="6"/>
                  </a:moveTo>
                  <a:lnTo>
                    <a:pt x="0" y="11"/>
                  </a:lnTo>
                  <a:lnTo>
                    <a:pt x="22" y="22"/>
                  </a:lnTo>
                  <a:lnTo>
                    <a:pt x="27" y="16"/>
                  </a:lnTo>
                  <a:lnTo>
                    <a:pt x="5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EB3D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08" name="Freeform 154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2405614" y="3228031"/>
              <a:ext cx="73641" cy="56556"/>
            </a:xfrm>
            <a:custGeom>
              <a:avLst/>
              <a:gdLst>
                <a:gd name="T0" fmla="*/ 60972136 w 53"/>
                <a:gd name="T1" fmla="*/ 17379949 h 43"/>
                <a:gd name="T2" fmla="*/ 60972136 w 53"/>
                <a:gd name="T3" fmla="*/ 0 h 43"/>
                <a:gd name="T4" fmla="*/ 0 w 53"/>
                <a:gd name="T5" fmla="*/ 50562024 h 43"/>
                <a:gd name="T6" fmla="*/ 8239095 w 53"/>
                <a:gd name="T7" fmla="*/ 67941968 h 43"/>
                <a:gd name="T8" fmla="*/ 79100200 w 53"/>
                <a:gd name="T9" fmla="*/ 17379949 h 43"/>
                <a:gd name="T10" fmla="*/ 79100200 w 53"/>
                <a:gd name="T11" fmla="*/ 0 h 43"/>
                <a:gd name="T12" fmla="*/ 79100200 w 53"/>
                <a:gd name="T13" fmla="*/ 17379949 h 43"/>
                <a:gd name="T14" fmla="*/ 87339312 w 53"/>
                <a:gd name="T15" fmla="*/ 7900433 h 43"/>
                <a:gd name="T16" fmla="*/ 79100200 w 53"/>
                <a:gd name="T17" fmla="*/ 0 h 43"/>
                <a:gd name="T18" fmla="*/ 60972136 w 53"/>
                <a:gd name="T19" fmla="*/ 17379949 h 4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3"/>
                <a:gd name="T31" fmla="*/ 0 h 43"/>
                <a:gd name="T32" fmla="*/ 53 w 53"/>
                <a:gd name="T33" fmla="*/ 43 h 4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3" h="43">
                  <a:moveTo>
                    <a:pt x="37" y="11"/>
                  </a:moveTo>
                  <a:lnTo>
                    <a:pt x="37" y="0"/>
                  </a:lnTo>
                  <a:lnTo>
                    <a:pt x="0" y="32"/>
                  </a:lnTo>
                  <a:lnTo>
                    <a:pt x="5" y="43"/>
                  </a:lnTo>
                  <a:lnTo>
                    <a:pt x="48" y="11"/>
                  </a:lnTo>
                  <a:lnTo>
                    <a:pt x="48" y="0"/>
                  </a:lnTo>
                  <a:lnTo>
                    <a:pt x="48" y="11"/>
                  </a:lnTo>
                  <a:lnTo>
                    <a:pt x="53" y="5"/>
                  </a:lnTo>
                  <a:lnTo>
                    <a:pt x="48" y="0"/>
                  </a:lnTo>
                  <a:lnTo>
                    <a:pt x="37" y="11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09" name="Freeform 155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2398763" y="3171475"/>
              <a:ext cx="73641" cy="71528"/>
            </a:xfrm>
            <a:custGeom>
              <a:avLst/>
              <a:gdLst>
                <a:gd name="T0" fmla="*/ 9704581 w 54"/>
                <a:gd name="T1" fmla="*/ 7956432 h 54"/>
                <a:gd name="T2" fmla="*/ 0 w 54"/>
                <a:gd name="T3" fmla="*/ 17503139 h 54"/>
                <a:gd name="T4" fmla="*/ 69548865 w 54"/>
                <a:gd name="T5" fmla="*/ 85926699 h 54"/>
                <a:gd name="T6" fmla="*/ 87339980 w 54"/>
                <a:gd name="T7" fmla="*/ 68423545 h 54"/>
                <a:gd name="T8" fmla="*/ 9704581 w 54"/>
                <a:gd name="T9" fmla="*/ 0 h 54"/>
                <a:gd name="T10" fmla="*/ 9704581 w 54"/>
                <a:gd name="T11" fmla="*/ 7956432 h 5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4"/>
                <a:gd name="T19" fmla="*/ 0 h 54"/>
                <a:gd name="T20" fmla="*/ 54 w 54"/>
                <a:gd name="T21" fmla="*/ 54 h 5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4" h="54">
                  <a:moveTo>
                    <a:pt x="6" y="5"/>
                  </a:moveTo>
                  <a:lnTo>
                    <a:pt x="0" y="11"/>
                  </a:lnTo>
                  <a:lnTo>
                    <a:pt x="43" y="54"/>
                  </a:lnTo>
                  <a:lnTo>
                    <a:pt x="54" y="43"/>
                  </a:lnTo>
                  <a:lnTo>
                    <a:pt x="6" y="0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10" name="Freeform 156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1545896" y="3475863"/>
              <a:ext cx="20551" cy="86498"/>
            </a:xfrm>
            <a:custGeom>
              <a:avLst/>
              <a:gdLst>
                <a:gd name="T0" fmla="*/ 16758044 w 16"/>
                <a:gd name="T1" fmla="*/ 103911391 h 65"/>
                <a:gd name="T2" fmla="*/ 24374473 w 16"/>
                <a:gd name="T3" fmla="*/ 94319085 h 65"/>
                <a:gd name="T4" fmla="*/ 16758044 w 16"/>
                <a:gd name="T5" fmla="*/ 0 h 65"/>
                <a:gd name="T6" fmla="*/ 0 w 16"/>
                <a:gd name="T7" fmla="*/ 0 h 65"/>
                <a:gd name="T8" fmla="*/ 9140426 w 16"/>
                <a:gd name="T9" fmla="*/ 103911391 h 65"/>
                <a:gd name="T10" fmla="*/ 16758044 w 16"/>
                <a:gd name="T11" fmla="*/ 103911391 h 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65"/>
                <a:gd name="T20" fmla="*/ 16 w 16"/>
                <a:gd name="T21" fmla="*/ 65 h 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65">
                  <a:moveTo>
                    <a:pt x="11" y="65"/>
                  </a:moveTo>
                  <a:lnTo>
                    <a:pt x="16" y="59"/>
                  </a:lnTo>
                  <a:lnTo>
                    <a:pt x="11" y="0"/>
                  </a:lnTo>
                  <a:lnTo>
                    <a:pt x="0" y="0"/>
                  </a:lnTo>
                  <a:lnTo>
                    <a:pt x="6" y="65"/>
                  </a:lnTo>
                  <a:lnTo>
                    <a:pt x="11" y="65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11" name="Rectangle 157"/>
            <p:cNvSpPr>
              <a:spLocks noChangeArrowheads="1"/>
            </p:cNvSpPr>
            <p:nvPr>
              <p:custDataLst>
                <p:tags r:id="rId87"/>
              </p:custDataLst>
            </p:nvPr>
          </p:nvSpPr>
          <p:spPr bwMode="auto">
            <a:xfrm>
              <a:off x="2660545" y="3525785"/>
              <a:ext cx="368691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chemeClr val="tx1"/>
                  </a:solidFill>
                  <a:ea typeface="MS PGothic" pitchFamily="34" charset="-128"/>
                </a:rPr>
                <a:t>Las Toninas</a:t>
              </a:r>
              <a:endParaRPr lang="es-ES" altLang="es-AR" sz="1400">
                <a:solidFill>
                  <a:schemeClr val="tx1"/>
                </a:solidFill>
                <a:ea typeface="MS PGothic" pitchFamily="34" charset="-128"/>
              </a:endParaRPr>
            </a:p>
          </p:txBody>
        </p:sp>
        <p:sp>
          <p:nvSpPr>
            <p:cNvPr id="112" name="Freeform 158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2169278" y="3036738"/>
              <a:ext cx="229487" cy="134737"/>
            </a:xfrm>
            <a:custGeom>
              <a:avLst/>
              <a:gdLst>
                <a:gd name="T0" fmla="*/ 272176492 w 166"/>
                <a:gd name="T1" fmla="*/ 153926196 h 102"/>
                <a:gd name="T2" fmla="*/ 272176492 w 166"/>
                <a:gd name="T3" fmla="*/ 144405719 h 102"/>
                <a:gd name="T4" fmla="*/ 8197601 w 166"/>
                <a:gd name="T5" fmla="*/ 0 h 102"/>
                <a:gd name="T6" fmla="*/ 0 w 166"/>
                <a:gd name="T7" fmla="*/ 17455055 h 102"/>
                <a:gd name="T8" fmla="*/ 263978893 w 166"/>
                <a:gd name="T9" fmla="*/ 161860768 h 102"/>
                <a:gd name="T10" fmla="*/ 272176492 w 166"/>
                <a:gd name="T11" fmla="*/ 153926196 h 10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6"/>
                <a:gd name="T19" fmla="*/ 0 h 102"/>
                <a:gd name="T20" fmla="*/ 166 w 166"/>
                <a:gd name="T21" fmla="*/ 102 h 10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6" h="102">
                  <a:moveTo>
                    <a:pt x="166" y="97"/>
                  </a:moveTo>
                  <a:lnTo>
                    <a:pt x="166" y="91"/>
                  </a:lnTo>
                  <a:lnTo>
                    <a:pt x="5" y="0"/>
                  </a:lnTo>
                  <a:lnTo>
                    <a:pt x="0" y="11"/>
                  </a:lnTo>
                  <a:lnTo>
                    <a:pt x="161" y="102"/>
                  </a:lnTo>
                  <a:lnTo>
                    <a:pt x="166" y="97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13" name="Freeform 159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2138461" y="3036738"/>
              <a:ext cx="37677" cy="28278"/>
            </a:xfrm>
            <a:custGeom>
              <a:avLst/>
              <a:gdLst>
                <a:gd name="T0" fmla="*/ 44685898 w 27"/>
                <a:gd name="T1" fmla="*/ 8088389 h 21"/>
                <a:gd name="T2" fmla="*/ 36411253 w 27"/>
                <a:gd name="T3" fmla="*/ 0 h 21"/>
                <a:gd name="T4" fmla="*/ 0 w 27"/>
                <a:gd name="T5" fmla="*/ 25881819 h 21"/>
                <a:gd name="T6" fmla="*/ 9930341 w 27"/>
                <a:gd name="T7" fmla="*/ 33970205 h 21"/>
                <a:gd name="T8" fmla="*/ 44685898 w 27"/>
                <a:gd name="T9" fmla="*/ 17793427 h 21"/>
                <a:gd name="T10" fmla="*/ 44685898 w 27"/>
                <a:gd name="T11" fmla="*/ 8088389 h 2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7"/>
                <a:gd name="T19" fmla="*/ 0 h 21"/>
                <a:gd name="T20" fmla="*/ 27 w 27"/>
                <a:gd name="T21" fmla="*/ 21 h 2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7" h="21">
                  <a:moveTo>
                    <a:pt x="27" y="5"/>
                  </a:moveTo>
                  <a:lnTo>
                    <a:pt x="22" y="0"/>
                  </a:lnTo>
                  <a:lnTo>
                    <a:pt x="0" y="16"/>
                  </a:lnTo>
                  <a:lnTo>
                    <a:pt x="6" y="21"/>
                  </a:lnTo>
                  <a:lnTo>
                    <a:pt x="27" y="11"/>
                  </a:lnTo>
                  <a:lnTo>
                    <a:pt x="27" y="5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14" name="Freeform 160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2398763" y="3178110"/>
              <a:ext cx="13701" cy="99805"/>
            </a:xfrm>
            <a:custGeom>
              <a:avLst/>
              <a:gdLst>
                <a:gd name="T0" fmla="*/ 8863445 w 11"/>
                <a:gd name="T1" fmla="*/ 119897182 h 76"/>
                <a:gd name="T2" fmla="*/ 16249072 w 11"/>
                <a:gd name="T3" fmla="*/ 119897182 h 76"/>
                <a:gd name="T4" fmla="*/ 16249072 w 11"/>
                <a:gd name="T5" fmla="*/ 0 h 76"/>
                <a:gd name="T6" fmla="*/ 0 w 11"/>
                <a:gd name="T7" fmla="*/ 0 h 76"/>
                <a:gd name="T8" fmla="*/ 0 w 11"/>
                <a:gd name="T9" fmla="*/ 119897182 h 76"/>
                <a:gd name="T10" fmla="*/ 8863445 w 11"/>
                <a:gd name="T11" fmla="*/ 119897182 h 7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76"/>
                <a:gd name="T20" fmla="*/ 11 w 11"/>
                <a:gd name="T21" fmla="*/ 76 h 7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76">
                  <a:moveTo>
                    <a:pt x="6" y="76"/>
                  </a:moveTo>
                  <a:lnTo>
                    <a:pt x="11" y="76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76"/>
                  </a:lnTo>
                  <a:lnTo>
                    <a:pt x="6" y="76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15" name="Freeform 161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1694890" y="3773620"/>
              <a:ext cx="131870" cy="84835"/>
            </a:xfrm>
            <a:custGeom>
              <a:avLst/>
              <a:gdLst>
                <a:gd name="T0" fmla="*/ 156399691 w 96"/>
                <a:gd name="T1" fmla="*/ 93951231 h 64"/>
                <a:gd name="T2" fmla="*/ 156399691 w 96"/>
                <a:gd name="T3" fmla="*/ 85989030 h 64"/>
                <a:gd name="T4" fmla="*/ 16292033 w 96"/>
                <a:gd name="T5" fmla="*/ 0 h 64"/>
                <a:gd name="T6" fmla="*/ 0 w 96"/>
                <a:gd name="T7" fmla="*/ 17515836 h 64"/>
                <a:gd name="T8" fmla="*/ 148254314 w 96"/>
                <a:gd name="T9" fmla="*/ 101913432 h 64"/>
                <a:gd name="T10" fmla="*/ 156399691 w 96"/>
                <a:gd name="T11" fmla="*/ 93951231 h 6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6"/>
                <a:gd name="T19" fmla="*/ 0 h 64"/>
                <a:gd name="T20" fmla="*/ 96 w 96"/>
                <a:gd name="T21" fmla="*/ 64 h 6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6" h="64">
                  <a:moveTo>
                    <a:pt x="96" y="59"/>
                  </a:moveTo>
                  <a:lnTo>
                    <a:pt x="96" y="54"/>
                  </a:lnTo>
                  <a:lnTo>
                    <a:pt x="10" y="0"/>
                  </a:lnTo>
                  <a:lnTo>
                    <a:pt x="0" y="11"/>
                  </a:lnTo>
                  <a:lnTo>
                    <a:pt x="91" y="64"/>
                  </a:lnTo>
                  <a:lnTo>
                    <a:pt x="96" y="59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16" name="Rectangle 162"/>
            <p:cNvSpPr>
              <a:spLocks noChangeArrowheads="1"/>
            </p:cNvSpPr>
            <p:nvPr>
              <p:custDataLst>
                <p:tags r:id="rId92"/>
              </p:custDataLst>
            </p:nvPr>
          </p:nvSpPr>
          <p:spPr bwMode="auto">
            <a:xfrm>
              <a:off x="1258625" y="3954931"/>
              <a:ext cx="413575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San Jorge (R)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17" name="Rectangle 163"/>
            <p:cNvSpPr>
              <a:spLocks noChangeArrowheads="1"/>
            </p:cNvSpPr>
            <p:nvPr>
              <p:custDataLst>
                <p:tags r:id="rId93"/>
              </p:custDataLst>
            </p:nvPr>
          </p:nvSpPr>
          <p:spPr bwMode="auto">
            <a:xfrm>
              <a:off x="1149155" y="4083013"/>
              <a:ext cx="392736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Gral. Conesa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18" name="Rectangle 164"/>
            <p:cNvSpPr>
              <a:spLocks noChangeArrowheads="1"/>
            </p:cNvSpPr>
            <p:nvPr>
              <p:custDataLst>
                <p:tags r:id="rId94"/>
              </p:custDataLst>
            </p:nvPr>
          </p:nvSpPr>
          <p:spPr bwMode="auto">
            <a:xfrm>
              <a:off x="661289" y="4249355"/>
              <a:ext cx="198772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S.C.de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19" name="Rectangle 165"/>
            <p:cNvSpPr>
              <a:spLocks noChangeArrowheads="1"/>
            </p:cNvSpPr>
            <p:nvPr>
              <p:custDataLst>
                <p:tags r:id="rId95"/>
              </p:custDataLst>
            </p:nvPr>
          </p:nvSpPr>
          <p:spPr bwMode="auto">
            <a:xfrm>
              <a:off x="665278" y="4294269"/>
              <a:ext cx="290143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Bariloche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20" name="Rectangle 166"/>
            <p:cNvSpPr>
              <a:spLocks noChangeArrowheads="1"/>
            </p:cNvSpPr>
            <p:nvPr>
              <p:custDataLst>
                <p:tags r:id="rId96"/>
              </p:custDataLst>
            </p:nvPr>
          </p:nvSpPr>
          <p:spPr bwMode="auto">
            <a:xfrm>
              <a:off x="707001" y="4570415"/>
              <a:ext cx="208390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Esquel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21" name="Freeform 167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1737705" y="3462575"/>
              <a:ext cx="29113" cy="49903"/>
            </a:xfrm>
            <a:custGeom>
              <a:avLst/>
              <a:gdLst>
                <a:gd name="T0" fmla="*/ 18086429 w 21"/>
                <a:gd name="T1" fmla="*/ 0 h 38"/>
                <a:gd name="T2" fmla="*/ 8220754 w 21"/>
                <a:gd name="T3" fmla="*/ 0 h 38"/>
                <a:gd name="T4" fmla="*/ 0 w 21"/>
                <a:gd name="T5" fmla="*/ 52060390 h 38"/>
                <a:gd name="T6" fmla="*/ 18086429 w 21"/>
                <a:gd name="T7" fmla="*/ 59948591 h 38"/>
                <a:gd name="T8" fmla="*/ 34529221 w 21"/>
                <a:gd name="T9" fmla="*/ 9466094 h 38"/>
                <a:gd name="T10" fmla="*/ 34529221 w 21"/>
                <a:gd name="T11" fmla="*/ 9466094 h 38"/>
                <a:gd name="T12" fmla="*/ 18086429 w 21"/>
                <a:gd name="T13" fmla="*/ 0 h 3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"/>
                <a:gd name="T22" fmla="*/ 0 h 38"/>
                <a:gd name="T23" fmla="*/ 21 w 21"/>
                <a:gd name="T24" fmla="*/ 38 h 3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" h="38">
                  <a:moveTo>
                    <a:pt x="11" y="0"/>
                  </a:moveTo>
                  <a:lnTo>
                    <a:pt x="5" y="0"/>
                  </a:lnTo>
                  <a:lnTo>
                    <a:pt x="0" y="33"/>
                  </a:lnTo>
                  <a:lnTo>
                    <a:pt x="11" y="38"/>
                  </a:lnTo>
                  <a:lnTo>
                    <a:pt x="21" y="6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22" name="Freeform 168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1749703" y="3414335"/>
              <a:ext cx="37677" cy="56556"/>
            </a:xfrm>
            <a:custGeom>
              <a:avLst/>
              <a:gdLst>
                <a:gd name="T0" fmla="*/ 34755549 w 27"/>
                <a:gd name="T1" fmla="*/ 0 h 43"/>
                <a:gd name="T2" fmla="*/ 26480914 w 27"/>
                <a:gd name="T3" fmla="*/ 0 h 43"/>
                <a:gd name="T4" fmla="*/ 0 w 27"/>
                <a:gd name="T5" fmla="*/ 58461200 h 43"/>
                <a:gd name="T6" fmla="*/ 16550570 w 27"/>
                <a:gd name="T7" fmla="*/ 67941968 h 43"/>
                <a:gd name="T8" fmla="*/ 44685898 w 27"/>
                <a:gd name="T9" fmla="*/ 7900433 h 43"/>
                <a:gd name="T10" fmla="*/ 34755549 w 27"/>
                <a:gd name="T11" fmla="*/ 0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7"/>
                <a:gd name="T19" fmla="*/ 0 h 43"/>
                <a:gd name="T20" fmla="*/ 27 w 27"/>
                <a:gd name="T21" fmla="*/ 43 h 4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7" h="43">
                  <a:moveTo>
                    <a:pt x="21" y="0"/>
                  </a:moveTo>
                  <a:lnTo>
                    <a:pt x="16" y="0"/>
                  </a:lnTo>
                  <a:lnTo>
                    <a:pt x="0" y="37"/>
                  </a:lnTo>
                  <a:lnTo>
                    <a:pt x="10" y="43"/>
                  </a:lnTo>
                  <a:lnTo>
                    <a:pt x="27" y="5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23" name="Freeform 169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1819910" y="3760314"/>
              <a:ext cx="66790" cy="91489"/>
            </a:xfrm>
            <a:custGeom>
              <a:avLst/>
              <a:gdLst>
                <a:gd name="T0" fmla="*/ 70964048 w 48"/>
                <a:gd name="T1" fmla="*/ 0 h 70"/>
                <a:gd name="T2" fmla="*/ 70964048 w 48"/>
                <a:gd name="T3" fmla="*/ 0 h 70"/>
                <a:gd name="T4" fmla="*/ 0 w 48"/>
                <a:gd name="T5" fmla="*/ 102055171 h 70"/>
                <a:gd name="T6" fmla="*/ 18153114 w 48"/>
                <a:gd name="T7" fmla="*/ 109905853 h 70"/>
                <a:gd name="T8" fmla="*/ 79215109 w 48"/>
                <a:gd name="T9" fmla="*/ 17270509 h 70"/>
                <a:gd name="T10" fmla="*/ 79215109 w 48"/>
                <a:gd name="T11" fmla="*/ 17270509 h 70"/>
                <a:gd name="T12" fmla="*/ 70964048 w 48"/>
                <a:gd name="T13" fmla="*/ 0 h 7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8"/>
                <a:gd name="T22" fmla="*/ 0 h 70"/>
                <a:gd name="T23" fmla="*/ 48 w 48"/>
                <a:gd name="T24" fmla="*/ 70 h 7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8" h="70">
                  <a:moveTo>
                    <a:pt x="43" y="0"/>
                  </a:moveTo>
                  <a:lnTo>
                    <a:pt x="43" y="0"/>
                  </a:lnTo>
                  <a:lnTo>
                    <a:pt x="0" y="65"/>
                  </a:lnTo>
                  <a:lnTo>
                    <a:pt x="11" y="70"/>
                  </a:lnTo>
                  <a:lnTo>
                    <a:pt x="48" y="11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24" name="Freeform 170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1879849" y="3717065"/>
              <a:ext cx="89054" cy="56556"/>
            </a:xfrm>
            <a:custGeom>
              <a:avLst/>
              <a:gdLst>
                <a:gd name="T0" fmla="*/ 77997033 w 65"/>
                <a:gd name="T1" fmla="*/ 17379949 h 43"/>
                <a:gd name="T2" fmla="*/ 87746838 w 65"/>
                <a:gd name="T3" fmla="*/ 0 h 43"/>
                <a:gd name="T4" fmla="*/ 0 w 65"/>
                <a:gd name="T5" fmla="*/ 50562024 h 43"/>
                <a:gd name="T6" fmla="*/ 8124189 w 65"/>
                <a:gd name="T7" fmla="*/ 67941968 h 43"/>
                <a:gd name="T8" fmla="*/ 95871025 w 65"/>
                <a:gd name="T9" fmla="*/ 17379949 h 43"/>
                <a:gd name="T10" fmla="*/ 95871025 w 65"/>
                <a:gd name="T11" fmla="*/ 7900433 h 43"/>
                <a:gd name="T12" fmla="*/ 95871025 w 65"/>
                <a:gd name="T13" fmla="*/ 17379949 h 43"/>
                <a:gd name="T14" fmla="*/ 105620810 w 65"/>
                <a:gd name="T15" fmla="*/ 17379949 h 43"/>
                <a:gd name="T16" fmla="*/ 95871025 w 65"/>
                <a:gd name="T17" fmla="*/ 7900433 h 43"/>
                <a:gd name="T18" fmla="*/ 77997033 w 65"/>
                <a:gd name="T19" fmla="*/ 17379949 h 4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5"/>
                <a:gd name="T31" fmla="*/ 0 h 43"/>
                <a:gd name="T32" fmla="*/ 65 w 65"/>
                <a:gd name="T33" fmla="*/ 43 h 4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5" h="43">
                  <a:moveTo>
                    <a:pt x="48" y="11"/>
                  </a:moveTo>
                  <a:lnTo>
                    <a:pt x="54" y="0"/>
                  </a:lnTo>
                  <a:lnTo>
                    <a:pt x="0" y="32"/>
                  </a:lnTo>
                  <a:lnTo>
                    <a:pt x="5" y="43"/>
                  </a:lnTo>
                  <a:lnTo>
                    <a:pt x="59" y="11"/>
                  </a:lnTo>
                  <a:lnTo>
                    <a:pt x="59" y="5"/>
                  </a:lnTo>
                  <a:lnTo>
                    <a:pt x="59" y="11"/>
                  </a:lnTo>
                  <a:lnTo>
                    <a:pt x="65" y="11"/>
                  </a:lnTo>
                  <a:lnTo>
                    <a:pt x="59" y="5"/>
                  </a:lnTo>
                  <a:lnTo>
                    <a:pt x="48" y="11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25" name="Freeform 171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1908974" y="3660522"/>
              <a:ext cx="51378" cy="71528"/>
            </a:xfrm>
            <a:custGeom>
              <a:avLst/>
              <a:gdLst>
                <a:gd name="T0" fmla="*/ 16469238 w 37"/>
                <a:gd name="T1" fmla="*/ 17503139 h 54"/>
                <a:gd name="T2" fmla="*/ 0 w 37"/>
                <a:gd name="T3" fmla="*/ 17503139 h 54"/>
                <a:gd name="T4" fmla="*/ 42820026 w 37"/>
                <a:gd name="T5" fmla="*/ 85926699 h 54"/>
                <a:gd name="T6" fmla="*/ 60935539 w 37"/>
                <a:gd name="T7" fmla="*/ 76378710 h 54"/>
                <a:gd name="T8" fmla="*/ 16469238 w 37"/>
                <a:gd name="T9" fmla="*/ 0 h 54"/>
                <a:gd name="T10" fmla="*/ 8233975 w 37"/>
                <a:gd name="T11" fmla="*/ 0 h 54"/>
                <a:gd name="T12" fmla="*/ 16469238 w 37"/>
                <a:gd name="T13" fmla="*/ 0 h 54"/>
                <a:gd name="T14" fmla="*/ 16469238 w 37"/>
                <a:gd name="T15" fmla="*/ 0 h 54"/>
                <a:gd name="T16" fmla="*/ 8233975 w 37"/>
                <a:gd name="T17" fmla="*/ 0 h 54"/>
                <a:gd name="T18" fmla="*/ 16469238 w 37"/>
                <a:gd name="T19" fmla="*/ 17503139 h 5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7"/>
                <a:gd name="T31" fmla="*/ 0 h 54"/>
                <a:gd name="T32" fmla="*/ 37 w 37"/>
                <a:gd name="T33" fmla="*/ 54 h 5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7" h="54">
                  <a:moveTo>
                    <a:pt x="10" y="11"/>
                  </a:moveTo>
                  <a:lnTo>
                    <a:pt x="0" y="11"/>
                  </a:lnTo>
                  <a:lnTo>
                    <a:pt x="26" y="54"/>
                  </a:lnTo>
                  <a:lnTo>
                    <a:pt x="37" y="48"/>
                  </a:lnTo>
                  <a:lnTo>
                    <a:pt x="10" y="0"/>
                  </a:lnTo>
                  <a:lnTo>
                    <a:pt x="5" y="0"/>
                  </a:lnTo>
                  <a:lnTo>
                    <a:pt x="10" y="0"/>
                  </a:lnTo>
                  <a:lnTo>
                    <a:pt x="5" y="0"/>
                  </a:lnTo>
                  <a:lnTo>
                    <a:pt x="10" y="11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26" name="Freeform 172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1819910" y="3660503"/>
              <a:ext cx="102755" cy="21625"/>
            </a:xfrm>
            <a:custGeom>
              <a:avLst/>
              <a:gdLst>
                <a:gd name="T0" fmla="*/ 0 w 75"/>
                <a:gd name="T1" fmla="*/ 17859606 h 16"/>
                <a:gd name="T2" fmla="*/ 0 w 75"/>
                <a:gd name="T3" fmla="*/ 25978080 h 16"/>
                <a:gd name="T4" fmla="*/ 121870460 w 75"/>
                <a:gd name="T5" fmla="*/ 17859606 h 16"/>
                <a:gd name="T6" fmla="*/ 113746273 w 75"/>
                <a:gd name="T7" fmla="*/ 0 h 16"/>
                <a:gd name="T8" fmla="*/ 0 w 75"/>
                <a:gd name="T9" fmla="*/ 8118472 h 16"/>
                <a:gd name="T10" fmla="*/ 0 w 75"/>
                <a:gd name="T11" fmla="*/ 17859606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5"/>
                <a:gd name="T19" fmla="*/ 0 h 16"/>
                <a:gd name="T20" fmla="*/ 75 w 75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5" h="16">
                  <a:moveTo>
                    <a:pt x="0" y="11"/>
                  </a:moveTo>
                  <a:lnTo>
                    <a:pt x="0" y="16"/>
                  </a:lnTo>
                  <a:lnTo>
                    <a:pt x="75" y="11"/>
                  </a:lnTo>
                  <a:lnTo>
                    <a:pt x="70" y="0"/>
                  </a:lnTo>
                  <a:lnTo>
                    <a:pt x="0" y="5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27" name="Rectangle 173"/>
            <p:cNvSpPr>
              <a:spLocks noChangeArrowheads="1"/>
            </p:cNvSpPr>
            <p:nvPr>
              <p:custDataLst>
                <p:tags r:id="rId103"/>
              </p:custDataLst>
            </p:nvPr>
          </p:nvSpPr>
          <p:spPr bwMode="auto">
            <a:xfrm>
              <a:off x="434676" y="4116281"/>
              <a:ext cx="232435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Aduana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28" name="Rectangle 174"/>
            <p:cNvSpPr>
              <a:spLocks noChangeArrowheads="1"/>
            </p:cNvSpPr>
            <p:nvPr>
              <p:custDataLst>
                <p:tags r:id="rId104"/>
              </p:custDataLst>
            </p:nvPr>
          </p:nvSpPr>
          <p:spPr bwMode="auto">
            <a:xfrm>
              <a:off x="464575" y="4159530"/>
              <a:ext cx="155491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Chile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29" name="Rectangle 175"/>
            <p:cNvSpPr>
              <a:spLocks noChangeArrowheads="1"/>
            </p:cNvSpPr>
            <p:nvPr>
              <p:custDataLst>
                <p:tags r:id="rId105"/>
              </p:custDataLst>
            </p:nvPr>
          </p:nvSpPr>
          <p:spPr bwMode="auto">
            <a:xfrm>
              <a:off x="661645" y="2825464"/>
              <a:ext cx="109004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Las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30" name="Rectangle 176"/>
            <p:cNvSpPr>
              <a:spLocks noChangeArrowheads="1"/>
            </p:cNvSpPr>
            <p:nvPr>
              <p:custDataLst>
                <p:tags r:id="rId106"/>
              </p:custDataLst>
            </p:nvPr>
          </p:nvSpPr>
          <p:spPr bwMode="auto">
            <a:xfrm>
              <a:off x="669070" y="2868713"/>
              <a:ext cx="226023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Cuevas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31" name="Rectangle 177"/>
            <p:cNvSpPr>
              <a:spLocks noChangeArrowheads="1"/>
            </p:cNvSpPr>
            <p:nvPr>
              <p:custDataLst>
                <p:tags r:id="rId107"/>
              </p:custDataLst>
            </p:nvPr>
          </p:nvSpPr>
          <p:spPr bwMode="auto">
            <a:xfrm>
              <a:off x="2131609" y="3234666"/>
              <a:ext cx="15413" cy="21625"/>
            </a:xfrm>
            <a:prstGeom prst="rect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32" name="Rectangle 178"/>
            <p:cNvSpPr>
              <a:spLocks noChangeArrowheads="1"/>
            </p:cNvSpPr>
            <p:nvPr>
              <p:custDataLst>
                <p:tags r:id="rId108"/>
              </p:custDataLst>
            </p:nvPr>
          </p:nvSpPr>
          <p:spPr bwMode="auto">
            <a:xfrm>
              <a:off x="2398763" y="3264608"/>
              <a:ext cx="13701" cy="19961"/>
            </a:xfrm>
            <a:prstGeom prst="rect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33" name="Rectangle 179"/>
            <p:cNvSpPr>
              <a:spLocks noChangeArrowheads="1"/>
            </p:cNvSpPr>
            <p:nvPr>
              <p:custDataLst>
                <p:tags r:id="rId109"/>
              </p:custDataLst>
            </p:nvPr>
          </p:nvSpPr>
          <p:spPr bwMode="auto">
            <a:xfrm>
              <a:off x="1766818" y="3412653"/>
              <a:ext cx="15414" cy="13307"/>
            </a:xfrm>
            <a:prstGeom prst="rect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34" name="Rectangle 180"/>
            <p:cNvSpPr>
              <a:spLocks noChangeArrowheads="1"/>
            </p:cNvSpPr>
            <p:nvPr>
              <p:custDataLst>
                <p:tags r:id="rId110"/>
              </p:custDataLst>
            </p:nvPr>
          </p:nvSpPr>
          <p:spPr bwMode="auto">
            <a:xfrm>
              <a:off x="1545895" y="3469210"/>
              <a:ext cx="20551" cy="13307"/>
            </a:xfrm>
            <a:prstGeom prst="rect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35" name="Oval 181"/>
            <p:cNvSpPr>
              <a:spLocks noChangeArrowheads="1"/>
            </p:cNvSpPr>
            <p:nvPr>
              <p:custDataLst>
                <p:tags r:id="rId111"/>
              </p:custDataLst>
            </p:nvPr>
          </p:nvSpPr>
          <p:spPr bwMode="auto">
            <a:xfrm>
              <a:off x="2457001" y="3228013"/>
              <a:ext cx="15413" cy="14971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36" name="Oval 182"/>
            <p:cNvSpPr>
              <a:spLocks noChangeArrowheads="1"/>
            </p:cNvSpPr>
            <p:nvPr>
              <p:custDataLst>
                <p:tags r:id="rId112"/>
              </p:custDataLst>
            </p:nvPr>
          </p:nvSpPr>
          <p:spPr bwMode="auto">
            <a:xfrm>
              <a:off x="1737715" y="3497487"/>
              <a:ext cx="15413" cy="14971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37" name="Oval 183"/>
            <p:cNvSpPr>
              <a:spLocks noChangeArrowheads="1"/>
            </p:cNvSpPr>
            <p:nvPr>
              <p:custDataLst>
                <p:tags r:id="rId113"/>
              </p:custDataLst>
            </p:nvPr>
          </p:nvSpPr>
          <p:spPr bwMode="auto">
            <a:xfrm>
              <a:off x="1813059" y="3667157"/>
              <a:ext cx="13701" cy="14971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38" name="Rectangle 184"/>
            <p:cNvSpPr>
              <a:spLocks noChangeArrowheads="1"/>
            </p:cNvSpPr>
            <p:nvPr>
              <p:custDataLst>
                <p:tags r:id="rId114"/>
              </p:custDataLst>
            </p:nvPr>
          </p:nvSpPr>
          <p:spPr bwMode="auto">
            <a:xfrm>
              <a:off x="788942" y="2832118"/>
              <a:ext cx="15413" cy="19961"/>
            </a:xfrm>
            <a:prstGeom prst="rect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39" name="Rectangle 185"/>
            <p:cNvSpPr>
              <a:spLocks noChangeArrowheads="1"/>
            </p:cNvSpPr>
            <p:nvPr>
              <p:custDataLst>
                <p:tags r:id="rId115"/>
              </p:custDataLst>
            </p:nvPr>
          </p:nvSpPr>
          <p:spPr bwMode="auto">
            <a:xfrm>
              <a:off x="1819919" y="3845146"/>
              <a:ext cx="15413" cy="21624"/>
            </a:xfrm>
            <a:prstGeom prst="rect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40" name="Rectangle 186"/>
            <p:cNvSpPr>
              <a:spLocks noChangeArrowheads="1"/>
            </p:cNvSpPr>
            <p:nvPr>
              <p:custDataLst>
                <p:tags r:id="rId116"/>
              </p:custDataLst>
            </p:nvPr>
          </p:nvSpPr>
          <p:spPr bwMode="auto">
            <a:xfrm>
              <a:off x="663913" y="4583704"/>
              <a:ext cx="20551" cy="13307"/>
            </a:xfrm>
            <a:prstGeom prst="rect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41" name="Rectangle 187"/>
            <p:cNvSpPr>
              <a:spLocks noChangeArrowheads="1"/>
            </p:cNvSpPr>
            <p:nvPr>
              <p:custDataLst>
                <p:tags r:id="rId117"/>
              </p:custDataLst>
            </p:nvPr>
          </p:nvSpPr>
          <p:spPr bwMode="auto">
            <a:xfrm>
              <a:off x="617684" y="4256009"/>
              <a:ext cx="15413" cy="21625"/>
            </a:xfrm>
            <a:prstGeom prst="rect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42" name="Oval 188"/>
            <p:cNvSpPr>
              <a:spLocks noChangeArrowheads="1"/>
            </p:cNvSpPr>
            <p:nvPr>
              <p:custDataLst>
                <p:tags r:id="rId118"/>
              </p:custDataLst>
            </p:nvPr>
          </p:nvSpPr>
          <p:spPr bwMode="auto">
            <a:xfrm>
              <a:off x="1626386" y="3923324"/>
              <a:ext cx="15414" cy="14971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43" name="Rectangle 189"/>
            <p:cNvSpPr>
              <a:spLocks noChangeArrowheads="1"/>
            </p:cNvSpPr>
            <p:nvPr>
              <p:custDataLst>
                <p:tags r:id="rId119"/>
              </p:custDataLst>
            </p:nvPr>
          </p:nvSpPr>
          <p:spPr bwMode="auto">
            <a:xfrm>
              <a:off x="2472404" y="3753655"/>
              <a:ext cx="22264" cy="19961"/>
            </a:xfrm>
            <a:prstGeom prst="rect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44" name="Oval 190"/>
            <p:cNvSpPr>
              <a:spLocks noChangeArrowheads="1"/>
            </p:cNvSpPr>
            <p:nvPr>
              <p:custDataLst>
                <p:tags r:id="rId120"/>
              </p:custDataLst>
            </p:nvPr>
          </p:nvSpPr>
          <p:spPr bwMode="auto">
            <a:xfrm>
              <a:off x="2605986" y="3532439"/>
              <a:ext cx="15414" cy="14970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45" name="Rectangle 191"/>
            <p:cNvSpPr>
              <a:spLocks noChangeArrowheads="1"/>
            </p:cNvSpPr>
            <p:nvPr>
              <p:custDataLst>
                <p:tags r:id="rId121"/>
              </p:custDataLst>
            </p:nvPr>
          </p:nvSpPr>
          <p:spPr bwMode="auto">
            <a:xfrm>
              <a:off x="544032" y="4214424"/>
              <a:ext cx="13701" cy="13307"/>
            </a:xfrm>
            <a:prstGeom prst="rect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46" name="Oval 192"/>
            <p:cNvSpPr>
              <a:spLocks noChangeArrowheads="1"/>
            </p:cNvSpPr>
            <p:nvPr>
              <p:custDataLst>
                <p:tags r:id="rId122"/>
              </p:custDataLst>
            </p:nvPr>
          </p:nvSpPr>
          <p:spPr bwMode="auto">
            <a:xfrm>
              <a:off x="626236" y="4227736"/>
              <a:ext cx="13701" cy="14970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47" name="Freeform 195"/>
            <p:cNvSpPr>
              <a:spLocks noEditPoints="1"/>
            </p:cNvSpPr>
            <p:nvPr>
              <p:custDataLst>
                <p:tags r:id="rId123"/>
              </p:custDataLst>
            </p:nvPr>
          </p:nvSpPr>
          <p:spPr bwMode="auto">
            <a:xfrm>
              <a:off x="2385072" y="3051690"/>
              <a:ext cx="125018" cy="34932"/>
            </a:xfrm>
            <a:custGeom>
              <a:avLst/>
              <a:gdLst>
                <a:gd name="T0" fmla="*/ 0 w 17"/>
                <a:gd name="T1" fmla="*/ 0 h 5"/>
                <a:gd name="T2" fmla="*/ 186755278 w 17"/>
                <a:gd name="T3" fmla="*/ 0 h 5"/>
                <a:gd name="T4" fmla="*/ 186755278 w 17"/>
                <a:gd name="T5" fmla="*/ 43646106 h 5"/>
                <a:gd name="T6" fmla="*/ 186755278 w 17"/>
                <a:gd name="T7" fmla="*/ 43646106 h 5"/>
                <a:gd name="T8" fmla="*/ 233444138 w 17"/>
                <a:gd name="T9" fmla="*/ 43646106 h 5"/>
                <a:gd name="T10" fmla="*/ 233444138 w 17"/>
                <a:gd name="T11" fmla="*/ 43646106 h 5"/>
                <a:gd name="T12" fmla="*/ 233444138 w 17"/>
                <a:gd name="T13" fmla="*/ 43646106 h 5"/>
                <a:gd name="T14" fmla="*/ 233444138 w 17"/>
                <a:gd name="T15" fmla="*/ 43646106 h 5"/>
                <a:gd name="T16" fmla="*/ 233444138 w 17"/>
                <a:gd name="T17" fmla="*/ 43646106 h 5"/>
                <a:gd name="T18" fmla="*/ 233444138 w 17"/>
                <a:gd name="T19" fmla="*/ 43646106 h 5"/>
                <a:gd name="T20" fmla="*/ 233444138 w 17"/>
                <a:gd name="T21" fmla="*/ 87285544 h 5"/>
                <a:gd name="T22" fmla="*/ 280132944 w 17"/>
                <a:gd name="T23" fmla="*/ 87285544 h 5"/>
                <a:gd name="T24" fmla="*/ 280132944 w 17"/>
                <a:gd name="T25" fmla="*/ 87285544 h 5"/>
                <a:gd name="T26" fmla="*/ 280132944 w 17"/>
                <a:gd name="T27" fmla="*/ 87285544 h 5"/>
                <a:gd name="T28" fmla="*/ 280132944 w 17"/>
                <a:gd name="T29" fmla="*/ 87285544 h 5"/>
                <a:gd name="T30" fmla="*/ 280132944 w 17"/>
                <a:gd name="T31" fmla="*/ 87285544 h 5"/>
                <a:gd name="T32" fmla="*/ 280132944 w 17"/>
                <a:gd name="T33" fmla="*/ 87285544 h 5"/>
                <a:gd name="T34" fmla="*/ 280132944 w 17"/>
                <a:gd name="T35" fmla="*/ 87285544 h 5"/>
                <a:gd name="T36" fmla="*/ 280132944 w 17"/>
                <a:gd name="T37" fmla="*/ 130931663 h 5"/>
                <a:gd name="T38" fmla="*/ 326821750 w 17"/>
                <a:gd name="T39" fmla="*/ 130931663 h 5"/>
                <a:gd name="T40" fmla="*/ 326821750 w 17"/>
                <a:gd name="T41" fmla="*/ 130931663 h 5"/>
                <a:gd name="T42" fmla="*/ 420192546 w 17"/>
                <a:gd name="T43" fmla="*/ 174571089 h 5"/>
                <a:gd name="T44" fmla="*/ 466881459 w 17"/>
                <a:gd name="T45" fmla="*/ 174571089 h 5"/>
                <a:gd name="T46" fmla="*/ 513570265 w 17"/>
                <a:gd name="T47" fmla="*/ 174571089 h 5"/>
                <a:gd name="T48" fmla="*/ 466881459 w 17"/>
                <a:gd name="T49" fmla="*/ 174571089 h 5"/>
                <a:gd name="T50" fmla="*/ 653636684 w 17"/>
                <a:gd name="T51" fmla="*/ 174571089 h 5"/>
                <a:gd name="T52" fmla="*/ 793703103 w 17"/>
                <a:gd name="T53" fmla="*/ 218217182 h 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7"/>
                <a:gd name="T82" fmla="*/ 0 h 5"/>
                <a:gd name="T83" fmla="*/ 17 w 17"/>
                <a:gd name="T84" fmla="*/ 5 h 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7" h="5">
                  <a:moveTo>
                    <a:pt x="0" y="0"/>
                  </a:moveTo>
                  <a:cubicBezTo>
                    <a:pt x="1" y="0"/>
                    <a:pt x="4" y="0"/>
                    <a:pt x="4" y="0"/>
                  </a:cubicBezTo>
                  <a:lnTo>
                    <a:pt x="4" y="1"/>
                  </a:lnTo>
                  <a:lnTo>
                    <a:pt x="5" y="1"/>
                  </a:lnTo>
                  <a:moveTo>
                    <a:pt x="5" y="1"/>
                  </a:moveTo>
                  <a:lnTo>
                    <a:pt x="5" y="1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3"/>
                  </a:lnTo>
                  <a:lnTo>
                    <a:pt x="7" y="3"/>
                  </a:lnTo>
                  <a:cubicBezTo>
                    <a:pt x="7" y="4"/>
                    <a:pt x="9" y="4"/>
                    <a:pt x="9" y="4"/>
                  </a:cubicBezTo>
                  <a:lnTo>
                    <a:pt x="10" y="4"/>
                  </a:lnTo>
                  <a:lnTo>
                    <a:pt x="11" y="4"/>
                  </a:lnTo>
                  <a:lnTo>
                    <a:pt x="10" y="4"/>
                  </a:lnTo>
                  <a:lnTo>
                    <a:pt x="14" y="4"/>
                  </a:lnTo>
                  <a:lnTo>
                    <a:pt x="17" y="5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48" name="Freeform 196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510089" y="3086622"/>
              <a:ext cx="207223" cy="78180"/>
            </a:xfrm>
            <a:custGeom>
              <a:avLst/>
              <a:gdLst>
                <a:gd name="T0" fmla="*/ 0 w 28"/>
                <a:gd name="T1" fmla="*/ 0 h 11"/>
                <a:gd name="T2" fmla="*/ 8 w 28"/>
                <a:gd name="T3" fmla="*/ 1 h 11"/>
                <a:gd name="T4" fmla="*/ 16 w 28"/>
                <a:gd name="T5" fmla="*/ 4 h 11"/>
                <a:gd name="T6" fmla="*/ 20 w 28"/>
                <a:gd name="T7" fmla="*/ 6 h 11"/>
                <a:gd name="T8" fmla="*/ 23 w 28"/>
                <a:gd name="T9" fmla="*/ 8 h 11"/>
                <a:gd name="T10" fmla="*/ 26 w 28"/>
                <a:gd name="T11" fmla="*/ 9 h 11"/>
                <a:gd name="T12" fmla="*/ 28 w 28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11">
                  <a:moveTo>
                    <a:pt x="0" y="0"/>
                  </a:moveTo>
                  <a:lnTo>
                    <a:pt x="8" y="1"/>
                  </a:lnTo>
                  <a:lnTo>
                    <a:pt x="16" y="4"/>
                  </a:lnTo>
                  <a:lnTo>
                    <a:pt x="20" y="6"/>
                  </a:lnTo>
                  <a:lnTo>
                    <a:pt x="23" y="8"/>
                  </a:lnTo>
                  <a:lnTo>
                    <a:pt x="26" y="9"/>
                  </a:lnTo>
                  <a:lnTo>
                    <a:pt x="28" y="11"/>
                  </a:lnTo>
                </a:path>
              </a:pathLst>
            </a:custGeom>
            <a:solidFill>
              <a:schemeClr val="bg2">
                <a:lumMod val="10000"/>
                <a:lumOff val="90000"/>
              </a:schemeClr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 algn="ctr" eaLnBrk="0" hangingPunct="0">
                <a:defRPr/>
              </a:pPr>
              <a:endParaRPr lang="es-AR" sz="1200" b="1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149" name="Freeform 200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176137" y="3043392"/>
              <a:ext cx="111317" cy="8317"/>
            </a:xfrm>
            <a:custGeom>
              <a:avLst/>
              <a:gdLst>
                <a:gd name="T0" fmla="*/ 0 w 81"/>
                <a:gd name="T1" fmla="*/ 0 h 6"/>
                <a:gd name="T2" fmla="*/ 0 w 81"/>
                <a:gd name="T3" fmla="*/ 9991360 h 6"/>
                <a:gd name="T4" fmla="*/ 132024572 w 81"/>
                <a:gd name="T5" fmla="*/ 9991360 h 6"/>
                <a:gd name="T6" fmla="*/ 132024572 w 81"/>
                <a:gd name="T7" fmla="*/ 0 h 6"/>
                <a:gd name="T8" fmla="*/ 0 w 81"/>
                <a:gd name="T9" fmla="*/ 0 h 6"/>
                <a:gd name="T10" fmla="*/ 0 w 81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1"/>
                <a:gd name="T19" fmla="*/ 0 h 6"/>
                <a:gd name="T20" fmla="*/ 81 w 81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1" h="6">
                  <a:moveTo>
                    <a:pt x="0" y="0"/>
                  </a:moveTo>
                  <a:lnTo>
                    <a:pt x="0" y="6"/>
                  </a:lnTo>
                  <a:lnTo>
                    <a:pt x="81" y="6"/>
                  </a:lnTo>
                  <a:lnTo>
                    <a:pt x="8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50" name="Freeform 201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087081" y="2619199"/>
              <a:ext cx="29113" cy="33268"/>
            </a:xfrm>
            <a:custGeom>
              <a:avLst/>
              <a:gdLst>
                <a:gd name="T0" fmla="*/ 16442793 w 21"/>
                <a:gd name="T1" fmla="*/ 39965921 h 26"/>
                <a:gd name="T2" fmla="*/ 16442793 w 21"/>
                <a:gd name="T3" fmla="*/ 32279981 h 26"/>
                <a:gd name="T4" fmla="*/ 34529221 w 21"/>
                <a:gd name="T5" fmla="*/ 0 h 26"/>
                <a:gd name="T6" fmla="*/ 16442793 w 21"/>
                <a:gd name="T7" fmla="*/ 0 h 26"/>
                <a:gd name="T8" fmla="*/ 0 w 21"/>
                <a:gd name="T9" fmla="*/ 32279981 h 26"/>
                <a:gd name="T10" fmla="*/ 8220754 w 21"/>
                <a:gd name="T11" fmla="*/ 24594041 h 26"/>
                <a:gd name="T12" fmla="*/ 16442793 w 21"/>
                <a:gd name="T13" fmla="*/ 39965921 h 2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"/>
                <a:gd name="T22" fmla="*/ 0 h 26"/>
                <a:gd name="T23" fmla="*/ 21 w 21"/>
                <a:gd name="T24" fmla="*/ 26 h 2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" h="26">
                  <a:moveTo>
                    <a:pt x="10" y="26"/>
                  </a:moveTo>
                  <a:lnTo>
                    <a:pt x="10" y="21"/>
                  </a:lnTo>
                  <a:lnTo>
                    <a:pt x="21" y="0"/>
                  </a:lnTo>
                  <a:lnTo>
                    <a:pt x="10" y="0"/>
                  </a:lnTo>
                  <a:lnTo>
                    <a:pt x="0" y="21"/>
                  </a:lnTo>
                  <a:lnTo>
                    <a:pt x="5" y="16"/>
                  </a:lnTo>
                  <a:lnTo>
                    <a:pt x="10" y="26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51" name="Rectangle 202"/>
            <p:cNvSpPr>
              <a:spLocks noChangeArrowheads="1"/>
            </p:cNvSpPr>
            <p:nvPr>
              <p:custDataLst>
                <p:tags r:id="rId127"/>
              </p:custDataLst>
            </p:nvPr>
          </p:nvSpPr>
          <p:spPr bwMode="auto">
            <a:xfrm>
              <a:off x="2420761" y="3114900"/>
              <a:ext cx="192360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AMBA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52" name="Rectangle 203"/>
            <p:cNvSpPr>
              <a:spLocks noChangeArrowheads="1"/>
            </p:cNvSpPr>
            <p:nvPr>
              <p:custDataLst>
                <p:tags r:id="rId128"/>
              </p:custDataLst>
            </p:nvPr>
          </p:nvSpPr>
          <p:spPr bwMode="auto">
            <a:xfrm>
              <a:off x="1290341" y="2838771"/>
              <a:ext cx="264496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San Luis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53" name="Rectangle 204"/>
            <p:cNvSpPr>
              <a:spLocks noChangeArrowheads="1"/>
            </p:cNvSpPr>
            <p:nvPr>
              <p:custDataLst>
                <p:tags r:id="rId129"/>
              </p:custDataLst>
            </p:nvPr>
          </p:nvSpPr>
          <p:spPr bwMode="auto">
            <a:xfrm>
              <a:off x="1439581" y="2975172"/>
              <a:ext cx="371897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V. Mercedes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54" name="Rectangle 205"/>
            <p:cNvSpPr>
              <a:spLocks noChangeArrowheads="1"/>
            </p:cNvSpPr>
            <p:nvPr>
              <p:custDataLst>
                <p:tags r:id="rId130"/>
              </p:custDataLst>
            </p:nvPr>
          </p:nvSpPr>
          <p:spPr bwMode="auto">
            <a:xfrm>
              <a:off x="1860379" y="3226369"/>
              <a:ext cx="282129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Chivilcoy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55" name="Freeform 207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1485954" y="2539374"/>
              <a:ext cx="22264" cy="29942"/>
            </a:xfrm>
            <a:custGeom>
              <a:avLst/>
              <a:gdLst>
                <a:gd name="T0" fmla="*/ 0 w 16"/>
                <a:gd name="T1" fmla="*/ 9810316 h 22"/>
                <a:gd name="T2" fmla="*/ 0 w 16"/>
                <a:gd name="T3" fmla="*/ 9810316 h 22"/>
                <a:gd name="T4" fmla="*/ 18154987 w 16"/>
                <a:gd name="T5" fmla="*/ 35969428 h 22"/>
                <a:gd name="T6" fmla="*/ 26406318 w 16"/>
                <a:gd name="T7" fmla="*/ 35969428 h 22"/>
                <a:gd name="T8" fmla="*/ 9902368 w 16"/>
                <a:gd name="T9" fmla="*/ 0 h 22"/>
                <a:gd name="T10" fmla="*/ 9902368 w 16"/>
                <a:gd name="T11" fmla="*/ 0 h 22"/>
                <a:gd name="T12" fmla="*/ 0 w 16"/>
                <a:gd name="T13" fmla="*/ 9810316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22"/>
                <a:gd name="T23" fmla="*/ 16 w 16"/>
                <a:gd name="T24" fmla="*/ 22 h 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22">
                  <a:moveTo>
                    <a:pt x="0" y="6"/>
                  </a:moveTo>
                  <a:lnTo>
                    <a:pt x="0" y="6"/>
                  </a:lnTo>
                  <a:lnTo>
                    <a:pt x="11" y="22"/>
                  </a:lnTo>
                  <a:lnTo>
                    <a:pt x="16" y="22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56" name="Freeform 208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1485963" y="2519394"/>
              <a:ext cx="8563" cy="28279"/>
            </a:xfrm>
            <a:custGeom>
              <a:avLst/>
              <a:gdLst>
                <a:gd name="T0" fmla="*/ 0 w 6"/>
                <a:gd name="T1" fmla="*/ 0 h 22"/>
                <a:gd name="T2" fmla="*/ 0 w 6"/>
                <a:gd name="T3" fmla="*/ 0 h 22"/>
                <a:gd name="T4" fmla="*/ 0 w 6"/>
                <a:gd name="T5" fmla="*/ 33971756 h 22"/>
                <a:gd name="T6" fmla="*/ 10156670 w 6"/>
                <a:gd name="T7" fmla="*/ 24706288 h 22"/>
                <a:gd name="T8" fmla="*/ 10156670 w 6"/>
                <a:gd name="T9" fmla="*/ 0 h 22"/>
                <a:gd name="T10" fmla="*/ 0 w 6"/>
                <a:gd name="T11" fmla="*/ 0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22"/>
                <a:gd name="T20" fmla="*/ 6 w 6"/>
                <a:gd name="T21" fmla="*/ 22 h 2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22">
                  <a:moveTo>
                    <a:pt x="0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6" y="16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57" name="Freeform 209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100783" y="2610902"/>
              <a:ext cx="68503" cy="36595"/>
            </a:xfrm>
            <a:custGeom>
              <a:avLst/>
              <a:gdLst>
                <a:gd name="T0" fmla="*/ 71297539 w 49"/>
                <a:gd name="T1" fmla="*/ 43962822 h 27"/>
                <a:gd name="T2" fmla="*/ 81246301 w 49"/>
                <a:gd name="T3" fmla="*/ 35821408 h 27"/>
                <a:gd name="T4" fmla="*/ 9948765 w 49"/>
                <a:gd name="T5" fmla="*/ 0 h 27"/>
                <a:gd name="T6" fmla="*/ 0 w 49"/>
                <a:gd name="T7" fmla="*/ 9769945 h 27"/>
                <a:gd name="T8" fmla="*/ 71297539 w 49"/>
                <a:gd name="T9" fmla="*/ 43962822 h 27"/>
                <a:gd name="T10" fmla="*/ 71297539 w 49"/>
                <a:gd name="T11" fmla="*/ 43962822 h 2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9"/>
                <a:gd name="T19" fmla="*/ 0 h 27"/>
                <a:gd name="T20" fmla="*/ 49 w 49"/>
                <a:gd name="T21" fmla="*/ 27 h 2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9" h="27">
                  <a:moveTo>
                    <a:pt x="43" y="27"/>
                  </a:moveTo>
                  <a:lnTo>
                    <a:pt x="49" y="22"/>
                  </a:lnTo>
                  <a:lnTo>
                    <a:pt x="6" y="0"/>
                  </a:lnTo>
                  <a:lnTo>
                    <a:pt x="0" y="6"/>
                  </a:lnTo>
                  <a:lnTo>
                    <a:pt x="43" y="27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58" name="Oval 210"/>
            <p:cNvSpPr>
              <a:spLocks noChangeArrowheads="1"/>
            </p:cNvSpPr>
            <p:nvPr>
              <p:custDataLst>
                <p:tags r:id="rId134"/>
              </p:custDataLst>
            </p:nvPr>
          </p:nvSpPr>
          <p:spPr bwMode="auto">
            <a:xfrm>
              <a:off x="2160712" y="2640824"/>
              <a:ext cx="8563" cy="6654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59" name="Oval 211"/>
            <p:cNvSpPr>
              <a:spLocks noChangeArrowheads="1"/>
            </p:cNvSpPr>
            <p:nvPr>
              <p:custDataLst>
                <p:tags r:id="rId135"/>
              </p:custDataLst>
            </p:nvPr>
          </p:nvSpPr>
          <p:spPr bwMode="auto">
            <a:xfrm>
              <a:off x="2147012" y="2951884"/>
              <a:ext cx="13701" cy="6654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60" name="Oval 212"/>
            <p:cNvSpPr>
              <a:spLocks noChangeArrowheads="1"/>
            </p:cNvSpPr>
            <p:nvPr>
              <p:custDataLst>
                <p:tags r:id="rId136"/>
              </p:custDataLst>
            </p:nvPr>
          </p:nvSpPr>
          <p:spPr bwMode="auto">
            <a:xfrm>
              <a:off x="1501368" y="2667458"/>
              <a:ext cx="6850" cy="8317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61" name="Oval 213"/>
            <p:cNvSpPr>
              <a:spLocks noChangeArrowheads="1"/>
            </p:cNvSpPr>
            <p:nvPr>
              <p:custDataLst>
                <p:tags r:id="rId137"/>
              </p:custDataLst>
            </p:nvPr>
          </p:nvSpPr>
          <p:spPr bwMode="auto">
            <a:xfrm>
              <a:off x="1597283" y="2675756"/>
              <a:ext cx="15413" cy="6654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62" name="Oval 214"/>
            <p:cNvSpPr>
              <a:spLocks noChangeArrowheads="1"/>
            </p:cNvSpPr>
            <p:nvPr>
              <p:custDataLst>
                <p:tags r:id="rId138"/>
              </p:custDataLst>
            </p:nvPr>
          </p:nvSpPr>
          <p:spPr bwMode="auto">
            <a:xfrm>
              <a:off x="1648660" y="2780571"/>
              <a:ext cx="15413" cy="8317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63" name="Oval 215"/>
            <p:cNvSpPr>
              <a:spLocks noChangeArrowheads="1"/>
            </p:cNvSpPr>
            <p:nvPr>
              <p:custDataLst>
                <p:tags r:id="rId139"/>
              </p:custDataLst>
            </p:nvPr>
          </p:nvSpPr>
          <p:spPr bwMode="auto">
            <a:xfrm>
              <a:off x="1501368" y="2562643"/>
              <a:ext cx="6850" cy="6654"/>
            </a:xfrm>
            <a:prstGeom prst="ellipse">
              <a:avLst/>
            </a:pr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64" name="Freeform 216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1501378" y="2554345"/>
              <a:ext cx="15413" cy="14970"/>
            </a:xfrm>
            <a:custGeom>
              <a:avLst/>
              <a:gdLst>
                <a:gd name="T0" fmla="*/ 18279566 w 11"/>
                <a:gd name="T1" fmla="*/ 17983435 h 11"/>
                <a:gd name="T2" fmla="*/ 18279566 w 11"/>
                <a:gd name="T3" fmla="*/ 17983435 h 11"/>
                <a:gd name="T4" fmla="*/ 18279566 w 11"/>
                <a:gd name="T5" fmla="*/ 9808674 h 11"/>
                <a:gd name="T6" fmla="*/ 18279566 w 11"/>
                <a:gd name="T7" fmla="*/ 9808674 h 11"/>
                <a:gd name="T8" fmla="*/ 18279566 w 11"/>
                <a:gd name="T9" fmla="*/ 9808674 h 11"/>
                <a:gd name="T10" fmla="*/ 18279566 w 11"/>
                <a:gd name="T11" fmla="*/ 0 h 11"/>
                <a:gd name="T12" fmla="*/ 18279566 w 11"/>
                <a:gd name="T13" fmla="*/ 0 h 11"/>
                <a:gd name="T14" fmla="*/ 8308540 w 11"/>
                <a:gd name="T15" fmla="*/ 0 h 11"/>
                <a:gd name="T16" fmla="*/ 8308540 w 11"/>
                <a:gd name="T17" fmla="*/ 0 h 11"/>
                <a:gd name="T18" fmla="*/ 8308540 w 11"/>
                <a:gd name="T19" fmla="*/ 0 h 11"/>
                <a:gd name="T20" fmla="*/ 8308540 w 11"/>
                <a:gd name="T21" fmla="*/ 17983435 h 11"/>
                <a:gd name="T22" fmla="*/ 8308540 w 11"/>
                <a:gd name="T23" fmla="*/ 17983435 h 11"/>
                <a:gd name="T24" fmla="*/ 0 w 11"/>
                <a:gd name="T25" fmla="*/ 17983435 h 11"/>
                <a:gd name="T26" fmla="*/ 0 w 11"/>
                <a:gd name="T27" fmla="*/ 17983435 h 11"/>
                <a:gd name="T28" fmla="*/ 0 w 11"/>
                <a:gd name="T29" fmla="*/ 17983435 h 11"/>
                <a:gd name="T30" fmla="*/ 0 w 11"/>
                <a:gd name="T31" fmla="*/ 17983435 h 11"/>
                <a:gd name="T32" fmla="*/ 0 w 11"/>
                <a:gd name="T33" fmla="*/ 17983435 h 11"/>
                <a:gd name="T34" fmla="*/ 0 w 11"/>
                <a:gd name="T35" fmla="*/ 17983435 h 11"/>
                <a:gd name="T36" fmla="*/ 0 w 11"/>
                <a:gd name="T37" fmla="*/ 17983435 h 11"/>
                <a:gd name="T38" fmla="*/ 0 w 11"/>
                <a:gd name="T39" fmla="*/ 17983435 h 11"/>
                <a:gd name="T40" fmla="*/ 18279566 w 11"/>
                <a:gd name="T41" fmla="*/ 17983435 h 1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1"/>
                <a:gd name="T64" fmla="*/ 0 h 11"/>
                <a:gd name="T65" fmla="*/ 11 w 11"/>
                <a:gd name="T66" fmla="*/ 11 h 11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1" h="11">
                  <a:moveTo>
                    <a:pt x="11" y="11"/>
                  </a:moveTo>
                  <a:lnTo>
                    <a:pt x="11" y="11"/>
                  </a:lnTo>
                  <a:lnTo>
                    <a:pt x="11" y="6"/>
                  </a:lnTo>
                  <a:lnTo>
                    <a:pt x="11" y="0"/>
                  </a:lnTo>
                  <a:lnTo>
                    <a:pt x="5" y="0"/>
                  </a:lnTo>
                  <a:lnTo>
                    <a:pt x="5" y="11"/>
                  </a:lnTo>
                  <a:lnTo>
                    <a:pt x="0" y="11"/>
                  </a:lnTo>
                  <a:lnTo>
                    <a:pt x="11" y="11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65" name="Freeform 217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1501378" y="2562643"/>
              <a:ext cx="15413" cy="19961"/>
            </a:xfrm>
            <a:custGeom>
              <a:avLst/>
              <a:gdLst>
                <a:gd name="T0" fmla="*/ 8308540 w 11"/>
                <a:gd name="T1" fmla="*/ 23979185 h 16"/>
                <a:gd name="T2" fmla="*/ 8308540 w 11"/>
                <a:gd name="T3" fmla="*/ 23979185 h 16"/>
                <a:gd name="T4" fmla="*/ 8308540 w 11"/>
                <a:gd name="T5" fmla="*/ 14987585 h 16"/>
                <a:gd name="T6" fmla="*/ 8308540 w 11"/>
                <a:gd name="T7" fmla="*/ 14987585 h 16"/>
                <a:gd name="T8" fmla="*/ 18279566 w 11"/>
                <a:gd name="T9" fmla="*/ 14987585 h 16"/>
                <a:gd name="T10" fmla="*/ 18279566 w 11"/>
                <a:gd name="T11" fmla="*/ 14987585 h 16"/>
                <a:gd name="T12" fmla="*/ 18279566 w 11"/>
                <a:gd name="T13" fmla="*/ 14987585 h 16"/>
                <a:gd name="T14" fmla="*/ 18279566 w 11"/>
                <a:gd name="T15" fmla="*/ 7493793 h 16"/>
                <a:gd name="T16" fmla="*/ 18279566 w 11"/>
                <a:gd name="T17" fmla="*/ 7493793 h 16"/>
                <a:gd name="T18" fmla="*/ 18279566 w 11"/>
                <a:gd name="T19" fmla="*/ 7493793 h 16"/>
                <a:gd name="T20" fmla="*/ 0 w 11"/>
                <a:gd name="T21" fmla="*/ 7493793 h 16"/>
                <a:gd name="T22" fmla="*/ 0 w 11"/>
                <a:gd name="T23" fmla="*/ 7493793 h 16"/>
                <a:gd name="T24" fmla="*/ 0 w 11"/>
                <a:gd name="T25" fmla="*/ 7493793 h 16"/>
                <a:gd name="T26" fmla="*/ 0 w 11"/>
                <a:gd name="T27" fmla="*/ 0 h 16"/>
                <a:gd name="T28" fmla="*/ 0 w 11"/>
                <a:gd name="T29" fmla="*/ 0 h 16"/>
                <a:gd name="T30" fmla="*/ 0 w 11"/>
                <a:gd name="T31" fmla="*/ 0 h 16"/>
                <a:gd name="T32" fmla="*/ 0 w 11"/>
                <a:gd name="T33" fmla="*/ 0 h 16"/>
                <a:gd name="T34" fmla="*/ 8308540 w 11"/>
                <a:gd name="T35" fmla="*/ 0 h 16"/>
                <a:gd name="T36" fmla="*/ 8308540 w 11"/>
                <a:gd name="T37" fmla="*/ 0 h 16"/>
                <a:gd name="T38" fmla="*/ 8308540 w 11"/>
                <a:gd name="T39" fmla="*/ 0 h 16"/>
                <a:gd name="T40" fmla="*/ 8308540 w 11"/>
                <a:gd name="T41" fmla="*/ 23979185 h 1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1"/>
                <a:gd name="T64" fmla="*/ 0 h 16"/>
                <a:gd name="T65" fmla="*/ 11 w 11"/>
                <a:gd name="T66" fmla="*/ 16 h 1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1" h="16">
                  <a:moveTo>
                    <a:pt x="5" y="16"/>
                  </a:moveTo>
                  <a:lnTo>
                    <a:pt x="5" y="16"/>
                  </a:lnTo>
                  <a:lnTo>
                    <a:pt x="5" y="10"/>
                  </a:lnTo>
                  <a:lnTo>
                    <a:pt x="11" y="10"/>
                  </a:lnTo>
                  <a:lnTo>
                    <a:pt x="11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16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66" name="Freeform 218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1494518" y="2554345"/>
              <a:ext cx="13701" cy="14970"/>
            </a:xfrm>
            <a:custGeom>
              <a:avLst/>
              <a:gdLst>
                <a:gd name="T0" fmla="*/ 16249649 w 10"/>
                <a:gd name="T1" fmla="*/ 0 h 11"/>
                <a:gd name="T2" fmla="*/ 16249649 w 10"/>
                <a:gd name="T3" fmla="*/ 0 h 11"/>
                <a:gd name="T4" fmla="*/ 8125459 w 10"/>
                <a:gd name="T5" fmla="*/ 0 h 11"/>
                <a:gd name="T6" fmla="*/ 8125459 w 10"/>
                <a:gd name="T7" fmla="*/ 0 h 11"/>
                <a:gd name="T8" fmla="*/ 8125459 w 10"/>
                <a:gd name="T9" fmla="*/ 0 h 11"/>
                <a:gd name="T10" fmla="*/ 0 w 10"/>
                <a:gd name="T11" fmla="*/ 0 h 11"/>
                <a:gd name="T12" fmla="*/ 0 w 10"/>
                <a:gd name="T13" fmla="*/ 9808674 h 11"/>
                <a:gd name="T14" fmla="*/ 0 w 10"/>
                <a:gd name="T15" fmla="*/ 9808674 h 11"/>
                <a:gd name="T16" fmla="*/ 0 w 10"/>
                <a:gd name="T17" fmla="*/ 9808674 h 11"/>
                <a:gd name="T18" fmla="*/ 0 w 10"/>
                <a:gd name="T19" fmla="*/ 17983435 h 11"/>
                <a:gd name="T20" fmla="*/ 16249649 w 10"/>
                <a:gd name="T21" fmla="*/ 17983435 h 11"/>
                <a:gd name="T22" fmla="*/ 16249649 w 10"/>
                <a:gd name="T23" fmla="*/ 17983435 h 11"/>
                <a:gd name="T24" fmla="*/ 16249649 w 10"/>
                <a:gd name="T25" fmla="*/ 17983435 h 11"/>
                <a:gd name="T26" fmla="*/ 16249649 w 10"/>
                <a:gd name="T27" fmla="*/ 17983435 h 11"/>
                <a:gd name="T28" fmla="*/ 16249649 w 10"/>
                <a:gd name="T29" fmla="*/ 17983435 h 11"/>
                <a:gd name="T30" fmla="*/ 16249649 w 10"/>
                <a:gd name="T31" fmla="*/ 17983435 h 11"/>
                <a:gd name="T32" fmla="*/ 16249649 w 10"/>
                <a:gd name="T33" fmla="*/ 17983435 h 11"/>
                <a:gd name="T34" fmla="*/ 16249649 w 10"/>
                <a:gd name="T35" fmla="*/ 17983435 h 11"/>
                <a:gd name="T36" fmla="*/ 16249649 w 10"/>
                <a:gd name="T37" fmla="*/ 17983435 h 11"/>
                <a:gd name="T38" fmla="*/ 16249649 w 10"/>
                <a:gd name="T39" fmla="*/ 17983435 h 11"/>
                <a:gd name="T40" fmla="*/ 16249649 w 10"/>
                <a:gd name="T41" fmla="*/ 0 h 1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0"/>
                <a:gd name="T64" fmla="*/ 0 h 11"/>
                <a:gd name="T65" fmla="*/ 10 w 10"/>
                <a:gd name="T66" fmla="*/ 11 h 11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0" h="11">
                  <a:moveTo>
                    <a:pt x="10" y="0"/>
                  </a:moveTo>
                  <a:lnTo>
                    <a:pt x="10" y="0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1"/>
                  </a:lnTo>
                  <a:lnTo>
                    <a:pt x="10" y="11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67" name="Oval 219"/>
            <p:cNvSpPr>
              <a:spLocks noChangeArrowheads="1"/>
            </p:cNvSpPr>
            <p:nvPr>
              <p:custDataLst>
                <p:tags r:id="rId143"/>
              </p:custDataLst>
            </p:nvPr>
          </p:nvSpPr>
          <p:spPr bwMode="auto">
            <a:xfrm>
              <a:off x="1953501" y="2532701"/>
              <a:ext cx="6850" cy="6654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68" name="Rectangle 220"/>
            <p:cNvSpPr>
              <a:spLocks noChangeArrowheads="1"/>
            </p:cNvSpPr>
            <p:nvPr>
              <p:custDataLst>
                <p:tags r:id="rId144"/>
              </p:custDataLst>
            </p:nvPr>
          </p:nvSpPr>
          <p:spPr bwMode="auto">
            <a:xfrm>
              <a:off x="1807384" y="2940260"/>
              <a:ext cx="335028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Vdo.Tuerto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69" name="Rectangle 221"/>
            <p:cNvSpPr>
              <a:spLocks noChangeArrowheads="1"/>
            </p:cNvSpPr>
            <p:nvPr>
              <p:custDataLst>
                <p:tags r:id="rId145"/>
              </p:custDataLst>
            </p:nvPr>
          </p:nvSpPr>
          <p:spPr bwMode="auto">
            <a:xfrm>
              <a:off x="2185136" y="2619199"/>
              <a:ext cx="213200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Paraná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70" name="Rectangle 222"/>
            <p:cNvSpPr>
              <a:spLocks noChangeArrowheads="1"/>
            </p:cNvSpPr>
            <p:nvPr>
              <p:custDataLst>
                <p:tags r:id="rId146"/>
              </p:custDataLst>
            </p:nvPr>
          </p:nvSpPr>
          <p:spPr bwMode="auto">
            <a:xfrm>
              <a:off x="1631045" y="2529374"/>
              <a:ext cx="261290" cy="769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Córdoba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71" name="Rectangle 223"/>
            <p:cNvSpPr>
              <a:spLocks noChangeArrowheads="1"/>
            </p:cNvSpPr>
            <p:nvPr>
              <p:custDataLst>
                <p:tags r:id="rId147"/>
              </p:custDataLst>
            </p:nvPr>
          </p:nvSpPr>
          <p:spPr bwMode="auto">
            <a:xfrm>
              <a:off x="1206460" y="2446203"/>
              <a:ext cx="365485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Cruz del Eje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72" name="Rectangle 224"/>
            <p:cNvSpPr>
              <a:spLocks noChangeArrowheads="1"/>
            </p:cNvSpPr>
            <p:nvPr>
              <p:custDataLst>
                <p:tags r:id="rId148"/>
              </p:custDataLst>
            </p:nvPr>
          </p:nvSpPr>
          <p:spPr bwMode="auto">
            <a:xfrm>
              <a:off x="1274300" y="2560999"/>
              <a:ext cx="270908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Va.C.Paz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73" name="Oval 225"/>
            <p:cNvSpPr>
              <a:spLocks noChangeArrowheads="1"/>
            </p:cNvSpPr>
            <p:nvPr>
              <p:custDataLst>
                <p:tags r:id="rId149"/>
              </p:custDataLst>
            </p:nvPr>
          </p:nvSpPr>
          <p:spPr bwMode="auto">
            <a:xfrm>
              <a:off x="2361085" y="3093276"/>
              <a:ext cx="8562" cy="6654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74" name="Freeform 226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922514" y="2582623"/>
              <a:ext cx="29113" cy="276128"/>
            </a:xfrm>
            <a:custGeom>
              <a:avLst/>
              <a:gdLst>
                <a:gd name="T0" fmla="*/ 26308470 w 21"/>
                <a:gd name="T1" fmla="*/ 0 h 209"/>
                <a:gd name="T2" fmla="*/ 16442793 w 21"/>
                <a:gd name="T3" fmla="*/ 0 h 209"/>
                <a:gd name="T4" fmla="*/ 0 w 21"/>
                <a:gd name="T5" fmla="*/ 331714991 h 209"/>
                <a:gd name="T6" fmla="*/ 16442793 w 21"/>
                <a:gd name="T7" fmla="*/ 331714991 h 209"/>
                <a:gd name="T8" fmla="*/ 34529221 w 21"/>
                <a:gd name="T9" fmla="*/ 0 h 209"/>
                <a:gd name="T10" fmla="*/ 26308470 w 21"/>
                <a:gd name="T11" fmla="*/ 0 h 20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1"/>
                <a:gd name="T19" fmla="*/ 0 h 209"/>
                <a:gd name="T20" fmla="*/ 21 w 21"/>
                <a:gd name="T21" fmla="*/ 209 h 20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" h="209">
                  <a:moveTo>
                    <a:pt x="16" y="0"/>
                  </a:moveTo>
                  <a:lnTo>
                    <a:pt x="10" y="0"/>
                  </a:lnTo>
                  <a:lnTo>
                    <a:pt x="0" y="209"/>
                  </a:lnTo>
                  <a:lnTo>
                    <a:pt x="10" y="209"/>
                  </a:lnTo>
                  <a:lnTo>
                    <a:pt x="21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75" name="Rectangle 227"/>
            <p:cNvSpPr>
              <a:spLocks noChangeArrowheads="1"/>
            </p:cNvSpPr>
            <p:nvPr>
              <p:custDataLst>
                <p:tags r:id="rId151"/>
              </p:custDataLst>
            </p:nvPr>
          </p:nvSpPr>
          <p:spPr bwMode="auto">
            <a:xfrm>
              <a:off x="885917" y="2517731"/>
              <a:ext cx="282129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San Juan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76" name="Oval 228"/>
            <p:cNvSpPr>
              <a:spLocks noChangeArrowheads="1"/>
            </p:cNvSpPr>
            <p:nvPr>
              <p:custDataLst>
                <p:tags r:id="rId152"/>
              </p:custDataLst>
            </p:nvPr>
          </p:nvSpPr>
          <p:spPr bwMode="auto">
            <a:xfrm>
              <a:off x="855723" y="2951884"/>
              <a:ext cx="13701" cy="13307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77" name="Oval 229"/>
            <p:cNvSpPr>
              <a:spLocks noChangeArrowheads="1"/>
            </p:cNvSpPr>
            <p:nvPr>
              <p:custDataLst>
                <p:tags r:id="rId153"/>
              </p:custDataLst>
            </p:nvPr>
          </p:nvSpPr>
          <p:spPr bwMode="auto">
            <a:xfrm>
              <a:off x="1278732" y="2915289"/>
              <a:ext cx="13701" cy="8318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78" name="Oval 230"/>
            <p:cNvSpPr>
              <a:spLocks noChangeArrowheads="1"/>
            </p:cNvSpPr>
            <p:nvPr>
              <p:custDataLst>
                <p:tags r:id="rId154"/>
              </p:custDataLst>
            </p:nvPr>
          </p:nvSpPr>
          <p:spPr bwMode="auto">
            <a:xfrm>
              <a:off x="2035705" y="3356097"/>
              <a:ext cx="15413" cy="6654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79" name="Oval 231"/>
            <p:cNvSpPr>
              <a:spLocks noChangeArrowheads="1"/>
            </p:cNvSpPr>
            <p:nvPr>
              <p:custDataLst>
                <p:tags r:id="rId155"/>
              </p:custDataLst>
            </p:nvPr>
          </p:nvSpPr>
          <p:spPr bwMode="auto">
            <a:xfrm>
              <a:off x="1893550" y="3384375"/>
              <a:ext cx="6850" cy="13307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80" name="Oval 232"/>
            <p:cNvSpPr>
              <a:spLocks noChangeArrowheads="1"/>
            </p:cNvSpPr>
            <p:nvPr>
              <p:custDataLst>
                <p:tags r:id="rId156"/>
              </p:custDataLst>
            </p:nvPr>
          </p:nvSpPr>
          <p:spPr bwMode="auto">
            <a:xfrm>
              <a:off x="1634950" y="3284569"/>
              <a:ext cx="13701" cy="14971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81" name="Oval 233"/>
            <p:cNvSpPr>
              <a:spLocks noChangeArrowheads="1"/>
            </p:cNvSpPr>
            <p:nvPr>
              <p:custDataLst>
                <p:tags r:id="rId157"/>
              </p:custDataLst>
            </p:nvPr>
          </p:nvSpPr>
          <p:spPr bwMode="auto">
            <a:xfrm>
              <a:off x="2042555" y="3043392"/>
              <a:ext cx="15413" cy="8317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82" name="Oval 234"/>
            <p:cNvSpPr>
              <a:spLocks noChangeArrowheads="1"/>
            </p:cNvSpPr>
            <p:nvPr>
              <p:custDataLst>
                <p:tags r:id="rId158"/>
              </p:custDataLst>
            </p:nvPr>
          </p:nvSpPr>
          <p:spPr bwMode="auto">
            <a:xfrm>
              <a:off x="2612836" y="3490834"/>
              <a:ext cx="8563" cy="6654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83" name="Oval 235"/>
            <p:cNvSpPr>
              <a:spLocks noChangeArrowheads="1"/>
            </p:cNvSpPr>
            <p:nvPr>
              <p:custDataLst>
                <p:tags r:id="rId159"/>
              </p:custDataLst>
            </p:nvPr>
          </p:nvSpPr>
          <p:spPr bwMode="auto">
            <a:xfrm>
              <a:off x="2385062" y="3347779"/>
              <a:ext cx="13701" cy="14971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84" name="Oval 236"/>
            <p:cNvSpPr>
              <a:spLocks noChangeArrowheads="1"/>
            </p:cNvSpPr>
            <p:nvPr>
              <p:custDataLst>
                <p:tags r:id="rId160"/>
              </p:custDataLst>
            </p:nvPr>
          </p:nvSpPr>
          <p:spPr bwMode="auto">
            <a:xfrm>
              <a:off x="2294305" y="3825182"/>
              <a:ext cx="6850" cy="13307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85" name="Line 237"/>
            <p:cNvSpPr>
              <a:spLocks noChangeShapeType="1"/>
            </p:cNvSpPr>
            <p:nvPr>
              <p:custDataLst>
                <p:tags r:id="rId161"/>
              </p:custDataLst>
            </p:nvPr>
          </p:nvSpPr>
          <p:spPr bwMode="auto">
            <a:xfrm>
              <a:off x="2405622" y="1852361"/>
              <a:ext cx="1712" cy="6654"/>
            </a:xfrm>
            <a:prstGeom prst="line">
              <a:avLst/>
            </a:prstGeom>
            <a:noFill/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86" name="Rectangle 238"/>
            <p:cNvSpPr>
              <a:spLocks noChangeArrowheads="1"/>
            </p:cNvSpPr>
            <p:nvPr>
              <p:custDataLst>
                <p:tags r:id="rId162"/>
              </p:custDataLst>
            </p:nvPr>
          </p:nvSpPr>
          <p:spPr bwMode="auto">
            <a:xfrm>
              <a:off x="2326599" y="2263227"/>
              <a:ext cx="243656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P.de los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87" name="Rectangle 239"/>
            <p:cNvSpPr>
              <a:spLocks noChangeArrowheads="1"/>
            </p:cNvSpPr>
            <p:nvPr>
              <p:custDataLst>
                <p:tags r:id="rId163"/>
              </p:custDataLst>
            </p:nvPr>
          </p:nvSpPr>
          <p:spPr bwMode="auto">
            <a:xfrm>
              <a:off x="2324548" y="2303149"/>
              <a:ext cx="208390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 Libres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88" name="Rectangle 240"/>
            <p:cNvSpPr>
              <a:spLocks noChangeArrowheads="1"/>
            </p:cNvSpPr>
            <p:nvPr>
              <p:custDataLst>
                <p:tags r:id="rId164"/>
              </p:custDataLst>
            </p:nvPr>
          </p:nvSpPr>
          <p:spPr bwMode="auto">
            <a:xfrm>
              <a:off x="2241358" y="2689063"/>
              <a:ext cx="179536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Colón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89" name="Rectangle 241"/>
            <p:cNvSpPr>
              <a:spLocks noChangeArrowheads="1"/>
            </p:cNvSpPr>
            <p:nvPr>
              <p:custDataLst>
                <p:tags r:id="rId165"/>
              </p:custDataLst>
            </p:nvPr>
          </p:nvSpPr>
          <p:spPr bwMode="auto">
            <a:xfrm>
              <a:off x="2017788" y="1855707"/>
              <a:ext cx="352661" cy="769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Resistencia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90" name="Rectangle 242"/>
            <p:cNvSpPr>
              <a:spLocks noChangeArrowheads="1"/>
            </p:cNvSpPr>
            <p:nvPr>
              <p:custDataLst>
                <p:tags r:id="rId166"/>
              </p:custDataLst>
            </p:nvPr>
          </p:nvSpPr>
          <p:spPr bwMode="auto">
            <a:xfrm>
              <a:off x="2164781" y="1681028"/>
              <a:ext cx="269304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Formosa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91" name="Rectangle 243"/>
            <p:cNvSpPr>
              <a:spLocks noChangeArrowheads="1"/>
            </p:cNvSpPr>
            <p:nvPr>
              <p:custDataLst>
                <p:tags r:id="rId167"/>
              </p:custDataLst>
            </p:nvPr>
          </p:nvSpPr>
          <p:spPr bwMode="auto">
            <a:xfrm>
              <a:off x="2225204" y="1541299"/>
              <a:ext cx="258083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Clorinda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92" name="Rectangle 244"/>
            <p:cNvSpPr>
              <a:spLocks noChangeArrowheads="1"/>
            </p:cNvSpPr>
            <p:nvPr>
              <p:custDataLst>
                <p:tags r:id="rId168"/>
              </p:custDataLst>
            </p:nvPr>
          </p:nvSpPr>
          <p:spPr bwMode="auto">
            <a:xfrm>
              <a:off x="2533643" y="1514686"/>
              <a:ext cx="288541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chemeClr val="tx1"/>
                  </a:solidFill>
                  <a:ea typeface="MS PGothic" pitchFamily="34" charset="-128"/>
                </a:rPr>
                <a:t>Asunción</a:t>
              </a:r>
              <a:endParaRPr lang="es-ES" altLang="es-AR" sz="1400">
                <a:solidFill>
                  <a:schemeClr val="tx1"/>
                </a:solidFill>
                <a:ea typeface="MS PGothic" pitchFamily="34" charset="-128"/>
              </a:endParaRPr>
            </a:p>
          </p:txBody>
        </p:sp>
        <p:sp>
          <p:nvSpPr>
            <p:cNvPr id="193" name="Rectangle 245"/>
            <p:cNvSpPr>
              <a:spLocks noChangeArrowheads="1"/>
            </p:cNvSpPr>
            <p:nvPr>
              <p:custDataLst>
                <p:tags r:id="rId169"/>
              </p:custDataLst>
            </p:nvPr>
          </p:nvSpPr>
          <p:spPr bwMode="auto">
            <a:xfrm>
              <a:off x="2517993" y="1825745"/>
              <a:ext cx="381515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Encarnación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94" name="Rectangle 246"/>
            <p:cNvSpPr>
              <a:spLocks noChangeArrowheads="1"/>
            </p:cNvSpPr>
            <p:nvPr>
              <p:custDataLst>
                <p:tags r:id="rId170"/>
              </p:custDataLst>
            </p:nvPr>
          </p:nvSpPr>
          <p:spPr bwMode="auto">
            <a:xfrm>
              <a:off x="2382265" y="1975459"/>
              <a:ext cx="318997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Corrientes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95" name="Rectangle 247"/>
            <p:cNvSpPr>
              <a:spLocks noChangeArrowheads="1"/>
            </p:cNvSpPr>
            <p:nvPr>
              <p:custDataLst>
                <p:tags r:id="rId171"/>
              </p:custDataLst>
            </p:nvPr>
          </p:nvSpPr>
          <p:spPr bwMode="auto">
            <a:xfrm>
              <a:off x="2783616" y="1933869"/>
              <a:ext cx="261290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Posadas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96" name="Rectangle 248"/>
            <p:cNvSpPr>
              <a:spLocks noChangeArrowheads="1"/>
            </p:cNvSpPr>
            <p:nvPr>
              <p:custDataLst>
                <p:tags r:id="rId172"/>
              </p:custDataLst>
            </p:nvPr>
          </p:nvSpPr>
          <p:spPr bwMode="auto">
            <a:xfrm>
              <a:off x="1575293" y="2334773"/>
              <a:ext cx="359073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Dean Funes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197" name="Freeform 249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1537331" y="2369686"/>
              <a:ext cx="66791" cy="79844"/>
            </a:xfrm>
            <a:custGeom>
              <a:avLst/>
              <a:gdLst>
                <a:gd name="T0" fmla="*/ 79216389 w 48"/>
                <a:gd name="T1" fmla="*/ 86325728 h 60"/>
                <a:gd name="T2" fmla="*/ 79216389 w 48"/>
                <a:gd name="T3" fmla="*/ 78333600 h 60"/>
                <a:gd name="T4" fmla="*/ 18153407 w 48"/>
                <a:gd name="T5" fmla="*/ 0 h 60"/>
                <a:gd name="T6" fmla="*/ 0 w 48"/>
                <a:gd name="T7" fmla="*/ 17584420 h 60"/>
                <a:gd name="T8" fmla="*/ 61062987 w 48"/>
                <a:gd name="T9" fmla="*/ 95918035 h 60"/>
                <a:gd name="T10" fmla="*/ 61062987 w 48"/>
                <a:gd name="T11" fmla="*/ 86325728 h 60"/>
                <a:gd name="T12" fmla="*/ 79216389 w 48"/>
                <a:gd name="T13" fmla="*/ 86325728 h 6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8"/>
                <a:gd name="T22" fmla="*/ 0 h 60"/>
                <a:gd name="T23" fmla="*/ 48 w 48"/>
                <a:gd name="T24" fmla="*/ 60 h 6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8" h="60">
                  <a:moveTo>
                    <a:pt x="48" y="54"/>
                  </a:moveTo>
                  <a:lnTo>
                    <a:pt x="48" y="49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37" y="60"/>
                  </a:lnTo>
                  <a:lnTo>
                    <a:pt x="37" y="54"/>
                  </a:lnTo>
                  <a:lnTo>
                    <a:pt x="48" y="54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98" name="Freeform 250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1575019" y="2441232"/>
              <a:ext cx="29114" cy="128083"/>
            </a:xfrm>
            <a:custGeom>
              <a:avLst/>
              <a:gdLst>
                <a:gd name="T0" fmla="*/ 8221058 w 21"/>
                <a:gd name="T1" fmla="*/ 153867390 h 97"/>
                <a:gd name="T2" fmla="*/ 16443402 w 21"/>
                <a:gd name="T3" fmla="*/ 153867390 h 97"/>
                <a:gd name="T4" fmla="*/ 34530501 w 21"/>
                <a:gd name="T5" fmla="*/ 0 h 97"/>
                <a:gd name="T6" fmla="*/ 16443402 w 21"/>
                <a:gd name="T7" fmla="*/ 0 h 97"/>
                <a:gd name="T8" fmla="*/ 0 w 21"/>
                <a:gd name="T9" fmla="*/ 153867390 h 97"/>
                <a:gd name="T10" fmla="*/ 8221058 w 21"/>
                <a:gd name="T11" fmla="*/ 153867390 h 9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1"/>
                <a:gd name="T19" fmla="*/ 0 h 97"/>
                <a:gd name="T20" fmla="*/ 21 w 21"/>
                <a:gd name="T21" fmla="*/ 97 h 9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" h="97">
                  <a:moveTo>
                    <a:pt x="5" y="97"/>
                  </a:moveTo>
                  <a:lnTo>
                    <a:pt x="10" y="97"/>
                  </a:lnTo>
                  <a:lnTo>
                    <a:pt x="21" y="0"/>
                  </a:lnTo>
                  <a:lnTo>
                    <a:pt x="10" y="0"/>
                  </a:lnTo>
                  <a:lnTo>
                    <a:pt x="0" y="97"/>
                  </a:lnTo>
                  <a:lnTo>
                    <a:pt x="5" y="97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199" name="Oval 251"/>
            <p:cNvSpPr>
              <a:spLocks noChangeArrowheads="1"/>
            </p:cNvSpPr>
            <p:nvPr>
              <p:custDataLst>
                <p:tags r:id="rId175"/>
              </p:custDataLst>
            </p:nvPr>
          </p:nvSpPr>
          <p:spPr bwMode="auto">
            <a:xfrm>
              <a:off x="1588710" y="2434560"/>
              <a:ext cx="8563" cy="6654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00" name="Rectangle 252"/>
            <p:cNvSpPr>
              <a:spLocks noChangeArrowheads="1"/>
            </p:cNvSpPr>
            <p:nvPr>
              <p:custDataLst>
                <p:tags r:id="rId176"/>
              </p:custDataLst>
            </p:nvPr>
          </p:nvSpPr>
          <p:spPr bwMode="auto">
            <a:xfrm>
              <a:off x="1037142" y="2239939"/>
              <a:ext cx="246862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La Rioja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01" name="Rectangle 253"/>
            <p:cNvSpPr>
              <a:spLocks noChangeArrowheads="1"/>
            </p:cNvSpPr>
            <p:nvPr>
              <p:custDataLst>
                <p:tags r:id="rId177"/>
              </p:custDataLst>
            </p:nvPr>
          </p:nvSpPr>
          <p:spPr bwMode="auto">
            <a:xfrm>
              <a:off x="1104950" y="2040328"/>
              <a:ext cx="327013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Catamarca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02" name="Freeform 254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1470542" y="2378003"/>
              <a:ext cx="82204" cy="91488"/>
            </a:xfrm>
            <a:custGeom>
              <a:avLst/>
              <a:gdLst>
                <a:gd name="T0" fmla="*/ 0 w 60"/>
                <a:gd name="T1" fmla="*/ 100483634 h 70"/>
                <a:gd name="T2" fmla="*/ 17873980 w 60"/>
                <a:gd name="T3" fmla="*/ 100483634 h 70"/>
                <a:gd name="T4" fmla="*/ 97495375 w 60"/>
                <a:gd name="T5" fmla="*/ 7850595 h 70"/>
                <a:gd name="T6" fmla="*/ 79621380 w 60"/>
                <a:gd name="T7" fmla="*/ 0 h 70"/>
                <a:gd name="T8" fmla="*/ 0 w 60"/>
                <a:gd name="T9" fmla="*/ 84783696 h 70"/>
                <a:gd name="T10" fmla="*/ 17873980 w 60"/>
                <a:gd name="T11" fmla="*/ 84783696 h 70"/>
                <a:gd name="T12" fmla="*/ 0 w 60"/>
                <a:gd name="T13" fmla="*/ 100483634 h 70"/>
                <a:gd name="T14" fmla="*/ 9749790 w 60"/>
                <a:gd name="T15" fmla="*/ 109904595 h 70"/>
                <a:gd name="T16" fmla="*/ 17873980 w 60"/>
                <a:gd name="T17" fmla="*/ 100483634 h 70"/>
                <a:gd name="T18" fmla="*/ 0 w 60"/>
                <a:gd name="T19" fmla="*/ 100483634 h 7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0"/>
                <a:gd name="T31" fmla="*/ 0 h 70"/>
                <a:gd name="T32" fmla="*/ 60 w 60"/>
                <a:gd name="T33" fmla="*/ 70 h 7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0" h="70">
                  <a:moveTo>
                    <a:pt x="0" y="64"/>
                  </a:moveTo>
                  <a:lnTo>
                    <a:pt x="11" y="64"/>
                  </a:lnTo>
                  <a:lnTo>
                    <a:pt x="60" y="5"/>
                  </a:lnTo>
                  <a:lnTo>
                    <a:pt x="49" y="0"/>
                  </a:lnTo>
                  <a:lnTo>
                    <a:pt x="0" y="54"/>
                  </a:lnTo>
                  <a:lnTo>
                    <a:pt x="11" y="54"/>
                  </a:lnTo>
                  <a:lnTo>
                    <a:pt x="0" y="64"/>
                  </a:lnTo>
                  <a:lnTo>
                    <a:pt x="6" y="70"/>
                  </a:lnTo>
                  <a:lnTo>
                    <a:pt x="11" y="64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03" name="Freeform 255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1203387" y="2271544"/>
              <a:ext cx="37677" cy="106459"/>
            </a:xfrm>
            <a:custGeom>
              <a:avLst/>
              <a:gdLst>
                <a:gd name="T0" fmla="*/ 26480914 w 27"/>
                <a:gd name="T1" fmla="*/ 0 h 81"/>
                <a:gd name="T2" fmla="*/ 26480914 w 27"/>
                <a:gd name="T3" fmla="*/ 0 h 81"/>
                <a:gd name="T4" fmla="*/ 0 w 27"/>
                <a:gd name="T5" fmla="*/ 127890559 h 81"/>
                <a:gd name="T6" fmla="*/ 18204980 w 27"/>
                <a:gd name="T7" fmla="*/ 127890559 h 81"/>
                <a:gd name="T8" fmla="*/ 44685898 w 27"/>
                <a:gd name="T9" fmla="*/ 9473885 h 81"/>
                <a:gd name="T10" fmla="*/ 44685898 w 27"/>
                <a:gd name="T11" fmla="*/ 9473885 h 81"/>
                <a:gd name="T12" fmla="*/ 26480914 w 27"/>
                <a:gd name="T13" fmla="*/ 0 h 8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81"/>
                <a:gd name="T23" fmla="*/ 27 w 27"/>
                <a:gd name="T24" fmla="*/ 81 h 8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81">
                  <a:moveTo>
                    <a:pt x="16" y="0"/>
                  </a:moveTo>
                  <a:lnTo>
                    <a:pt x="16" y="0"/>
                  </a:lnTo>
                  <a:lnTo>
                    <a:pt x="0" y="81"/>
                  </a:lnTo>
                  <a:lnTo>
                    <a:pt x="11" y="81"/>
                  </a:lnTo>
                  <a:lnTo>
                    <a:pt x="27" y="6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04" name="Freeform 256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1225641" y="2115185"/>
              <a:ext cx="142145" cy="163016"/>
            </a:xfrm>
            <a:custGeom>
              <a:avLst/>
              <a:gdLst>
                <a:gd name="T0" fmla="*/ 160323269 w 102"/>
                <a:gd name="T1" fmla="*/ 0 h 124"/>
                <a:gd name="T2" fmla="*/ 160323269 w 102"/>
                <a:gd name="T3" fmla="*/ 0 h 124"/>
                <a:gd name="T4" fmla="*/ 0 w 102"/>
                <a:gd name="T5" fmla="*/ 186356299 h 124"/>
                <a:gd name="T6" fmla="*/ 18180710 w 102"/>
                <a:gd name="T7" fmla="*/ 195832571 h 124"/>
                <a:gd name="T8" fmla="*/ 168586873 w 102"/>
                <a:gd name="T9" fmla="*/ 17371706 h 124"/>
                <a:gd name="T10" fmla="*/ 168586873 w 102"/>
                <a:gd name="T11" fmla="*/ 17371706 h 124"/>
                <a:gd name="T12" fmla="*/ 160323269 w 102"/>
                <a:gd name="T13" fmla="*/ 0 h 1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2"/>
                <a:gd name="T22" fmla="*/ 0 h 124"/>
                <a:gd name="T23" fmla="*/ 102 w 102"/>
                <a:gd name="T24" fmla="*/ 124 h 1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2" h="124">
                  <a:moveTo>
                    <a:pt x="97" y="0"/>
                  </a:moveTo>
                  <a:lnTo>
                    <a:pt x="97" y="0"/>
                  </a:lnTo>
                  <a:lnTo>
                    <a:pt x="0" y="118"/>
                  </a:lnTo>
                  <a:lnTo>
                    <a:pt x="11" y="124"/>
                  </a:lnTo>
                  <a:lnTo>
                    <a:pt x="102" y="11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05" name="Freeform 257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1360936" y="2028684"/>
              <a:ext cx="243187" cy="101468"/>
            </a:xfrm>
            <a:custGeom>
              <a:avLst/>
              <a:gdLst>
                <a:gd name="T0" fmla="*/ 288425536 w 177"/>
                <a:gd name="T1" fmla="*/ 9623813 h 76"/>
                <a:gd name="T2" fmla="*/ 288425536 w 177"/>
                <a:gd name="T3" fmla="*/ 0 h 76"/>
                <a:gd name="T4" fmla="*/ 0 w 177"/>
                <a:gd name="T5" fmla="*/ 104252673 h 76"/>
                <a:gd name="T6" fmla="*/ 8147139 w 177"/>
                <a:gd name="T7" fmla="*/ 121894839 h 76"/>
                <a:gd name="T8" fmla="*/ 288425536 w 177"/>
                <a:gd name="T9" fmla="*/ 17642170 h 76"/>
                <a:gd name="T10" fmla="*/ 288425536 w 177"/>
                <a:gd name="T11" fmla="*/ 9623813 h 7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7"/>
                <a:gd name="T19" fmla="*/ 0 h 76"/>
                <a:gd name="T20" fmla="*/ 177 w 177"/>
                <a:gd name="T21" fmla="*/ 76 h 7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7" h="76">
                  <a:moveTo>
                    <a:pt x="177" y="6"/>
                  </a:moveTo>
                  <a:lnTo>
                    <a:pt x="177" y="0"/>
                  </a:lnTo>
                  <a:lnTo>
                    <a:pt x="0" y="65"/>
                  </a:lnTo>
                  <a:lnTo>
                    <a:pt x="5" y="76"/>
                  </a:lnTo>
                  <a:lnTo>
                    <a:pt x="177" y="11"/>
                  </a:lnTo>
                  <a:lnTo>
                    <a:pt x="177" y="6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06" name="Rectangle 258"/>
            <p:cNvSpPr>
              <a:spLocks noChangeArrowheads="1"/>
            </p:cNvSpPr>
            <p:nvPr>
              <p:custDataLst>
                <p:tags r:id="rId182"/>
              </p:custDataLst>
            </p:nvPr>
          </p:nvSpPr>
          <p:spPr bwMode="auto">
            <a:xfrm>
              <a:off x="1632121" y="2003731"/>
              <a:ext cx="267702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Santiago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07" name="Rectangle 259"/>
            <p:cNvSpPr>
              <a:spLocks noChangeArrowheads="1"/>
            </p:cNvSpPr>
            <p:nvPr>
              <p:custDataLst>
                <p:tags r:id="rId183"/>
              </p:custDataLst>
            </p:nvPr>
          </p:nvSpPr>
          <p:spPr bwMode="auto">
            <a:xfrm>
              <a:off x="1633480" y="2045320"/>
              <a:ext cx="307777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del Estero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08" name="Freeform 260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1441427" y="1852361"/>
              <a:ext cx="75354" cy="113113"/>
            </a:xfrm>
            <a:custGeom>
              <a:avLst/>
              <a:gdLst>
                <a:gd name="T0" fmla="*/ 79441438 w 54"/>
                <a:gd name="T1" fmla="*/ 118503993 h 86"/>
                <a:gd name="T2" fmla="*/ 89371797 w 54"/>
                <a:gd name="T3" fmla="*/ 127983505 h 86"/>
                <a:gd name="T4" fmla="*/ 18204980 w 54"/>
                <a:gd name="T5" fmla="*/ 0 h 86"/>
                <a:gd name="T6" fmla="*/ 0 w 54"/>
                <a:gd name="T7" fmla="*/ 7900433 h 86"/>
                <a:gd name="T8" fmla="*/ 71166802 w 54"/>
                <a:gd name="T9" fmla="*/ 135883936 h 86"/>
                <a:gd name="T10" fmla="*/ 71166802 w 54"/>
                <a:gd name="T11" fmla="*/ 135883936 h 86"/>
                <a:gd name="T12" fmla="*/ 79441438 w 54"/>
                <a:gd name="T13" fmla="*/ 118503993 h 8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4"/>
                <a:gd name="T22" fmla="*/ 0 h 86"/>
                <a:gd name="T23" fmla="*/ 54 w 54"/>
                <a:gd name="T24" fmla="*/ 86 h 8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4" h="86">
                  <a:moveTo>
                    <a:pt x="48" y="75"/>
                  </a:moveTo>
                  <a:lnTo>
                    <a:pt x="54" y="81"/>
                  </a:lnTo>
                  <a:lnTo>
                    <a:pt x="11" y="0"/>
                  </a:lnTo>
                  <a:lnTo>
                    <a:pt x="0" y="5"/>
                  </a:lnTo>
                  <a:lnTo>
                    <a:pt x="43" y="86"/>
                  </a:lnTo>
                  <a:lnTo>
                    <a:pt x="48" y="75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09" name="Freeform 261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1501377" y="1952167"/>
              <a:ext cx="102755" cy="84834"/>
            </a:xfrm>
            <a:custGeom>
              <a:avLst/>
              <a:gdLst>
                <a:gd name="T0" fmla="*/ 121870460 w 75"/>
                <a:gd name="T1" fmla="*/ 92504686 h 65"/>
                <a:gd name="T2" fmla="*/ 121870460 w 75"/>
                <a:gd name="T3" fmla="*/ 92504686 h 65"/>
                <a:gd name="T4" fmla="*/ 8124189 w 75"/>
                <a:gd name="T5" fmla="*/ 0 h 65"/>
                <a:gd name="T6" fmla="*/ 0 w 75"/>
                <a:gd name="T7" fmla="*/ 17246148 h 65"/>
                <a:gd name="T8" fmla="*/ 113746273 w 75"/>
                <a:gd name="T9" fmla="*/ 101912466 h 65"/>
                <a:gd name="T10" fmla="*/ 121870460 w 75"/>
                <a:gd name="T11" fmla="*/ 92504686 h 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5"/>
                <a:gd name="T19" fmla="*/ 0 h 65"/>
                <a:gd name="T20" fmla="*/ 75 w 75"/>
                <a:gd name="T21" fmla="*/ 65 h 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5" h="65">
                  <a:moveTo>
                    <a:pt x="75" y="59"/>
                  </a:moveTo>
                  <a:lnTo>
                    <a:pt x="75" y="59"/>
                  </a:lnTo>
                  <a:lnTo>
                    <a:pt x="5" y="0"/>
                  </a:lnTo>
                  <a:lnTo>
                    <a:pt x="0" y="11"/>
                  </a:lnTo>
                  <a:lnTo>
                    <a:pt x="70" y="65"/>
                  </a:lnTo>
                  <a:lnTo>
                    <a:pt x="75" y="59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10" name="Rectangle 262"/>
            <p:cNvSpPr>
              <a:spLocks noChangeArrowheads="1"/>
            </p:cNvSpPr>
            <p:nvPr>
              <p:custDataLst>
                <p:tags r:id="rId186"/>
              </p:custDataLst>
            </p:nvPr>
          </p:nvSpPr>
          <p:spPr bwMode="auto">
            <a:xfrm>
              <a:off x="1188198" y="1839073"/>
              <a:ext cx="282129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Tucumán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11" name="Rectangle 263"/>
            <p:cNvSpPr>
              <a:spLocks noChangeArrowheads="1"/>
            </p:cNvSpPr>
            <p:nvPr>
              <p:custDataLst>
                <p:tags r:id="rId187"/>
              </p:custDataLst>
            </p:nvPr>
          </p:nvSpPr>
          <p:spPr bwMode="auto">
            <a:xfrm>
              <a:off x="1229990" y="1471437"/>
              <a:ext cx="152286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Salta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12" name="Freeform 264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1396910" y="1321746"/>
              <a:ext cx="37677" cy="83171"/>
            </a:xfrm>
            <a:custGeom>
              <a:avLst/>
              <a:gdLst>
                <a:gd name="T0" fmla="*/ 8274638 w 27"/>
                <a:gd name="T1" fmla="*/ 7806034 h 64"/>
                <a:gd name="T2" fmla="*/ 0 w 27"/>
                <a:gd name="T3" fmla="*/ 7806034 h 64"/>
                <a:gd name="T4" fmla="*/ 26480914 w 27"/>
                <a:gd name="T5" fmla="*/ 99914513 h 64"/>
                <a:gd name="T6" fmla="*/ 44685898 w 27"/>
                <a:gd name="T7" fmla="*/ 99914513 h 64"/>
                <a:gd name="T8" fmla="*/ 26480914 w 27"/>
                <a:gd name="T9" fmla="*/ 0 h 64"/>
                <a:gd name="T10" fmla="*/ 8274638 w 27"/>
                <a:gd name="T11" fmla="*/ 7806034 h 6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7"/>
                <a:gd name="T19" fmla="*/ 0 h 64"/>
                <a:gd name="T20" fmla="*/ 27 w 27"/>
                <a:gd name="T21" fmla="*/ 64 h 6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7" h="64">
                  <a:moveTo>
                    <a:pt x="5" y="5"/>
                  </a:moveTo>
                  <a:lnTo>
                    <a:pt x="0" y="5"/>
                  </a:lnTo>
                  <a:lnTo>
                    <a:pt x="16" y="64"/>
                  </a:lnTo>
                  <a:lnTo>
                    <a:pt x="27" y="64"/>
                  </a:lnTo>
                  <a:lnTo>
                    <a:pt x="16" y="0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13" name="Freeform 265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1419174" y="1404917"/>
              <a:ext cx="15413" cy="64874"/>
            </a:xfrm>
            <a:custGeom>
              <a:avLst/>
              <a:gdLst>
                <a:gd name="T0" fmla="*/ 8308540 w 11"/>
                <a:gd name="T1" fmla="*/ 0 h 49"/>
                <a:gd name="T2" fmla="*/ 0 w 11"/>
                <a:gd name="T3" fmla="*/ 0 h 49"/>
                <a:gd name="T4" fmla="*/ 0 w 11"/>
                <a:gd name="T5" fmla="*/ 77933300 h 49"/>
                <a:gd name="T6" fmla="*/ 18279566 w 11"/>
                <a:gd name="T7" fmla="*/ 77933300 h 49"/>
                <a:gd name="T8" fmla="*/ 18279566 w 11"/>
                <a:gd name="T9" fmla="*/ 0 h 49"/>
                <a:gd name="T10" fmla="*/ 8308540 w 11"/>
                <a:gd name="T11" fmla="*/ 0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49"/>
                <a:gd name="T20" fmla="*/ 11 w 11"/>
                <a:gd name="T21" fmla="*/ 49 h 4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49">
                  <a:moveTo>
                    <a:pt x="5" y="0"/>
                  </a:moveTo>
                  <a:lnTo>
                    <a:pt x="0" y="0"/>
                  </a:lnTo>
                  <a:lnTo>
                    <a:pt x="0" y="49"/>
                  </a:lnTo>
                  <a:lnTo>
                    <a:pt x="11" y="49"/>
                  </a:lnTo>
                  <a:lnTo>
                    <a:pt x="11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14" name="Freeform 266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1410601" y="1745902"/>
              <a:ext cx="46240" cy="113113"/>
            </a:xfrm>
            <a:custGeom>
              <a:avLst/>
              <a:gdLst>
                <a:gd name="T0" fmla="*/ 0 w 33"/>
                <a:gd name="T1" fmla="*/ 0 h 86"/>
                <a:gd name="T2" fmla="*/ 0 w 33"/>
                <a:gd name="T3" fmla="*/ 0 h 86"/>
                <a:gd name="T4" fmla="*/ 36562132 w 33"/>
                <a:gd name="T5" fmla="*/ 135883936 h 86"/>
                <a:gd name="T6" fmla="*/ 54842554 w 33"/>
                <a:gd name="T7" fmla="*/ 127983505 h 86"/>
                <a:gd name="T8" fmla="*/ 18280417 w 33"/>
                <a:gd name="T9" fmla="*/ 0 h 86"/>
                <a:gd name="T10" fmla="*/ 18280417 w 33"/>
                <a:gd name="T11" fmla="*/ 0 h 86"/>
                <a:gd name="T12" fmla="*/ 0 w 33"/>
                <a:gd name="T13" fmla="*/ 0 h 8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3"/>
                <a:gd name="T22" fmla="*/ 0 h 86"/>
                <a:gd name="T23" fmla="*/ 33 w 33"/>
                <a:gd name="T24" fmla="*/ 86 h 8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3" h="86">
                  <a:moveTo>
                    <a:pt x="0" y="0"/>
                  </a:moveTo>
                  <a:lnTo>
                    <a:pt x="0" y="0"/>
                  </a:lnTo>
                  <a:lnTo>
                    <a:pt x="22" y="86"/>
                  </a:lnTo>
                  <a:lnTo>
                    <a:pt x="33" y="81"/>
                  </a:lnTo>
                  <a:lnTo>
                    <a:pt x="1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15" name="Freeform 267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1410610" y="1632788"/>
              <a:ext cx="59941" cy="113113"/>
            </a:xfrm>
            <a:custGeom>
              <a:avLst/>
              <a:gdLst>
                <a:gd name="T0" fmla="*/ 44639060 w 43"/>
                <a:gd name="T1" fmla="*/ 9480771 h 86"/>
                <a:gd name="T2" fmla="*/ 44639060 w 43"/>
                <a:gd name="T3" fmla="*/ 0 h 86"/>
                <a:gd name="T4" fmla="*/ 0 w 43"/>
                <a:gd name="T5" fmla="*/ 135883936 h 86"/>
                <a:gd name="T6" fmla="*/ 18185898 w 43"/>
                <a:gd name="T7" fmla="*/ 135883936 h 86"/>
                <a:gd name="T8" fmla="*/ 71090915 w 43"/>
                <a:gd name="T9" fmla="*/ 9480771 h 86"/>
                <a:gd name="T10" fmla="*/ 71090915 w 43"/>
                <a:gd name="T11" fmla="*/ 9480771 h 86"/>
                <a:gd name="T12" fmla="*/ 44639060 w 43"/>
                <a:gd name="T13" fmla="*/ 9480771 h 8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3"/>
                <a:gd name="T22" fmla="*/ 0 h 86"/>
                <a:gd name="T23" fmla="*/ 43 w 43"/>
                <a:gd name="T24" fmla="*/ 86 h 8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3" h="86">
                  <a:moveTo>
                    <a:pt x="27" y="6"/>
                  </a:moveTo>
                  <a:lnTo>
                    <a:pt x="27" y="0"/>
                  </a:lnTo>
                  <a:lnTo>
                    <a:pt x="0" y="86"/>
                  </a:lnTo>
                  <a:lnTo>
                    <a:pt x="11" y="86"/>
                  </a:lnTo>
                  <a:lnTo>
                    <a:pt x="43" y="6"/>
                  </a:lnTo>
                  <a:lnTo>
                    <a:pt x="27" y="6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16" name="Freeform 268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1448277" y="1533003"/>
              <a:ext cx="30827" cy="108122"/>
            </a:xfrm>
            <a:custGeom>
              <a:avLst/>
              <a:gdLst>
                <a:gd name="T0" fmla="*/ 18280206 w 22"/>
                <a:gd name="T1" fmla="*/ 8018012 h 81"/>
                <a:gd name="T2" fmla="*/ 9971375 w 22"/>
                <a:gd name="T3" fmla="*/ 0 h 81"/>
                <a:gd name="T4" fmla="*/ 0 w 22"/>
                <a:gd name="T5" fmla="*/ 129888220 h 81"/>
                <a:gd name="T6" fmla="*/ 26589038 w 22"/>
                <a:gd name="T7" fmla="*/ 129888220 h 81"/>
                <a:gd name="T8" fmla="*/ 36560411 w 22"/>
                <a:gd name="T9" fmla="*/ 0 h 81"/>
                <a:gd name="T10" fmla="*/ 36560411 w 22"/>
                <a:gd name="T11" fmla="*/ 0 h 81"/>
                <a:gd name="T12" fmla="*/ 18280206 w 22"/>
                <a:gd name="T13" fmla="*/ 8018012 h 8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2"/>
                <a:gd name="T22" fmla="*/ 0 h 81"/>
                <a:gd name="T23" fmla="*/ 22 w 22"/>
                <a:gd name="T24" fmla="*/ 81 h 8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2" h="81">
                  <a:moveTo>
                    <a:pt x="11" y="5"/>
                  </a:moveTo>
                  <a:lnTo>
                    <a:pt x="6" y="0"/>
                  </a:lnTo>
                  <a:lnTo>
                    <a:pt x="0" y="81"/>
                  </a:lnTo>
                  <a:lnTo>
                    <a:pt x="16" y="81"/>
                  </a:lnTo>
                  <a:lnTo>
                    <a:pt x="22" y="0"/>
                  </a:lnTo>
                  <a:lnTo>
                    <a:pt x="11" y="5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17" name="Freeform 269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1419163" y="1456485"/>
              <a:ext cx="59940" cy="83171"/>
            </a:xfrm>
            <a:custGeom>
              <a:avLst/>
              <a:gdLst>
                <a:gd name="T0" fmla="*/ 8265816 w 43"/>
                <a:gd name="T1" fmla="*/ 17172282 h 64"/>
                <a:gd name="T2" fmla="*/ 0 w 43"/>
                <a:gd name="T3" fmla="*/ 17172282 h 64"/>
                <a:gd name="T4" fmla="*/ 52904070 w 43"/>
                <a:gd name="T5" fmla="*/ 99914513 h 64"/>
                <a:gd name="T6" fmla="*/ 71089636 w 43"/>
                <a:gd name="T7" fmla="*/ 92108481 h 64"/>
                <a:gd name="T8" fmla="*/ 18185570 w 43"/>
                <a:gd name="T9" fmla="*/ 7806034 h 64"/>
                <a:gd name="T10" fmla="*/ 8265816 w 43"/>
                <a:gd name="T11" fmla="*/ 0 h 64"/>
                <a:gd name="T12" fmla="*/ 18185570 w 43"/>
                <a:gd name="T13" fmla="*/ 7806034 h 64"/>
                <a:gd name="T14" fmla="*/ 18185570 w 43"/>
                <a:gd name="T15" fmla="*/ 0 h 64"/>
                <a:gd name="T16" fmla="*/ 8265816 w 43"/>
                <a:gd name="T17" fmla="*/ 0 h 64"/>
                <a:gd name="T18" fmla="*/ 8265816 w 43"/>
                <a:gd name="T19" fmla="*/ 17172282 h 6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3"/>
                <a:gd name="T31" fmla="*/ 0 h 64"/>
                <a:gd name="T32" fmla="*/ 43 w 43"/>
                <a:gd name="T33" fmla="*/ 64 h 6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3" h="64">
                  <a:moveTo>
                    <a:pt x="5" y="11"/>
                  </a:moveTo>
                  <a:lnTo>
                    <a:pt x="0" y="11"/>
                  </a:lnTo>
                  <a:lnTo>
                    <a:pt x="32" y="64"/>
                  </a:lnTo>
                  <a:lnTo>
                    <a:pt x="43" y="59"/>
                  </a:lnTo>
                  <a:lnTo>
                    <a:pt x="11" y="5"/>
                  </a:lnTo>
                  <a:lnTo>
                    <a:pt x="5" y="0"/>
                  </a:lnTo>
                  <a:lnTo>
                    <a:pt x="11" y="5"/>
                  </a:lnTo>
                  <a:lnTo>
                    <a:pt x="11" y="0"/>
                  </a:lnTo>
                  <a:lnTo>
                    <a:pt x="5" y="0"/>
                  </a:lnTo>
                  <a:lnTo>
                    <a:pt x="5" y="11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18" name="Freeform 270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1352382" y="1456465"/>
              <a:ext cx="73642" cy="26615"/>
            </a:xfrm>
            <a:custGeom>
              <a:avLst/>
              <a:gdLst>
                <a:gd name="T0" fmla="*/ 9704723 w 54"/>
                <a:gd name="T1" fmla="*/ 24359810 h 21"/>
                <a:gd name="T2" fmla="*/ 9704723 w 54"/>
                <a:gd name="T3" fmla="*/ 31972550 h 21"/>
                <a:gd name="T4" fmla="*/ 87341259 w 54"/>
                <a:gd name="T5" fmla="*/ 16747065 h 21"/>
                <a:gd name="T6" fmla="*/ 87341259 w 54"/>
                <a:gd name="T7" fmla="*/ 0 h 21"/>
                <a:gd name="T8" fmla="*/ 0 w 54"/>
                <a:gd name="T9" fmla="*/ 16747065 h 21"/>
                <a:gd name="T10" fmla="*/ 9704723 w 54"/>
                <a:gd name="T11" fmla="*/ 24359810 h 2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4"/>
                <a:gd name="T19" fmla="*/ 0 h 21"/>
                <a:gd name="T20" fmla="*/ 54 w 54"/>
                <a:gd name="T21" fmla="*/ 21 h 2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4" h="21">
                  <a:moveTo>
                    <a:pt x="6" y="16"/>
                  </a:moveTo>
                  <a:lnTo>
                    <a:pt x="6" y="21"/>
                  </a:lnTo>
                  <a:lnTo>
                    <a:pt x="54" y="11"/>
                  </a:lnTo>
                  <a:lnTo>
                    <a:pt x="54" y="0"/>
                  </a:lnTo>
                  <a:lnTo>
                    <a:pt x="0" y="11"/>
                  </a:lnTo>
                  <a:lnTo>
                    <a:pt x="6" y="16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19" name="Rectangle 271"/>
            <p:cNvSpPr>
              <a:spLocks noChangeArrowheads="1"/>
            </p:cNvSpPr>
            <p:nvPr>
              <p:custDataLst>
                <p:tags r:id="rId195"/>
              </p:custDataLst>
            </p:nvPr>
          </p:nvSpPr>
          <p:spPr bwMode="auto">
            <a:xfrm>
              <a:off x="1391605" y="1271826"/>
              <a:ext cx="395941" cy="76944"/>
            </a:xfrm>
            <a:prstGeom prst="rect">
              <a:avLst/>
            </a:prstGeom>
            <a:solidFill>
              <a:schemeClr val="bg2">
                <a:lumMod val="10000"/>
                <a:lumOff val="90000"/>
              </a:schemeClr>
            </a:solidFill>
            <a:ln>
              <a:noFill/>
            </a:ln>
            <a:extLst/>
          </p:spPr>
          <p:txBody>
            <a:bodyPr wrap="none" lIns="0" tIns="0" rIns="0" bIns="0">
              <a:spAutoFit/>
            </a:bodyPr>
            <a:lstStyle/>
            <a:p>
              <a:pPr algn="ctr" eaLnBrk="0" hangingPunct="0">
                <a:defRPr/>
              </a:pPr>
              <a:r>
                <a:rPr lang="es-ES" altLang="es-AR" sz="500" b="1">
                  <a:solidFill>
                    <a:srgbClr val="25221E"/>
                  </a:solidFill>
                  <a:ea typeface="ＭＳ Ｐゴシック"/>
                </a:rPr>
                <a:t>S.S. de Jujuy</a:t>
              </a:r>
              <a:endParaRPr lang="es-ES" altLang="es-AR" sz="1400">
                <a:solidFill>
                  <a:srgbClr val="043F52"/>
                </a:solidFill>
                <a:ea typeface="ＭＳ Ｐゴシック"/>
              </a:endParaRPr>
            </a:p>
          </p:txBody>
        </p:sp>
        <p:sp>
          <p:nvSpPr>
            <p:cNvPr id="220" name="Oval 272"/>
            <p:cNvSpPr>
              <a:spLocks noChangeArrowheads="1"/>
            </p:cNvSpPr>
            <p:nvPr>
              <p:custDataLst>
                <p:tags r:id="rId196"/>
              </p:custDataLst>
            </p:nvPr>
          </p:nvSpPr>
          <p:spPr bwMode="auto">
            <a:xfrm>
              <a:off x="1360945" y="2115181"/>
              <a:ext cx="6850" cy="6654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21" name="Oval 273"/>
            <p:cNvSpPr>
              <a:spLocks noChangeArrowheads="1"/>
            </p:cNvSpPr>
            <p:nvPr>
              <p:custDataLst>
                <p:tags r:id="rId197"/>
              </p:custDataLst>
            </p:nvPr>
          </p:nvSpPr>
          <p:spPr bwMode="auto">
            <a:xfrm>
              <a:off x="1352373" y="1469774"/>
              <a:ext cx="8563" cy="6654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22" name="Oval 274"/>
            <p:cNvSpPr>
              <a:spLocks noChangeArrowheads="1"/>
            </p:cNvSpPr>
            <p:nvPr>
              <p:custDataLst>
                <p:tags r:id="rId198"/>
              </p:custDataLst>
            </p:nvPr>
          </p:nvSpPr>
          <p:spPr bwMode="auto">
            <a:xfrm>
              <a:off x="1225651" y="2271543"/>
              <a:ext cx="6850" cy="13307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23" name="Rectangle 275"/>
            <p:cNvSpPr>
              <a:spLocks noChangeArrowheads="1"/>
            </p:cNvSpPr>
            <p:nvPr>
              <p:custDataLst>
                <p:tags r:id="rId199"/>
              </p:custDataLst>
            </p:nvPr>
          </p:nvSpPr>
          <p:spPr bwMode="auto">
            <a:xfrm>
              <a:off x="1374636" y="2958538"/>
              <a:ext cx="13701" cy="21625"/>
            </a:xfrm>
            <a:prstGeom prst="rect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24" name="Oval 276"/>
            <p:cNvSpPr>
              <a:spLocks noChangeArrowheads="1"/>
            </p:cNvSpPr>
            <p:nvPr>
              <p:custDataLst>
                <p:tags r:id="rId200"/>
              </p:custDataLst>
            </p:nvPr>
          </p:nvSpPr>
          <p:spPr bwMode="auto">
            <a:xfrm>
              <a:off x="2160712" y="3036738"/>
              <a:ext cx="22264" cy="14970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25" name="Rectangle 277"/>
            <p:cNvSpPr>
              <a:spLocks noChangeArrowheads="1"/>
            </p:cNvSpPr>
            <p:nvPr>
              <p:custDataLst>
                <p:tags r:id="rId201"/>
              </p:custDataLst>
            </p:nvPr>
          </p:nvSpPr>
          <p:spPr bwMode="auto">
            <a:xfrm>
              <a:off x="2329588" y="3008458"/>
              <a:ext cx="155492" cy="61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400" b="1">
                  <a:solidFill>
                    <a:srgbClr val="25221E"/>
                  </a:solidFill>
                  <a:ea typeface="MS PGothic" pitchFamily="34" charset="-128"/>
                </a:rPr>
                <a:t>Zárate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26" name="Freeform 278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2020291" y="2810494"/>
              <a:ext cx="51378" cy="26615"/>
            </a:xfrm>
            <a:custGeom>
              <a:avLst/>
              <a:gdLst>
                <a:gd name="T0" fmla="*/ 60934929 w 38"/>
                <a:gd name="T1" fmla="*/ 31972550 h 21"/>
                <a:gd name="T2" fmla="*/ 51313430 w 38"/>
                <a:gd name="T3" fmla="*/ 16747065 h 21"/>
                <a:gd name="T4" fmla="*/ 9621502 w 38"/>
                <a:gd name="T5" fmla="*/ 0 h 21"/>
                <a:gd name="T6" fmla="*/ 0 w 38"/>
                <a:gd name="T7" fmla="*/ 24359810 h 21"/>
                <a:gd name="T8" fmla="*/ 51313430 w 38"/>
                <a:gd name="T9" fmla="*/ 31972550 h 21"/>
                <a:gd name="T10" fmla="*/ 51313430 w 38"/>
                <a:gd name="T11" fmla="*/ 16747065 h 21"/>
                <a:gd name="T12" fmla="*/ 60934929 w 38"/>
                <a:gd name="T13" fmla="*/ 31972550 h 2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"/>
                <a:gd name="T22" fmla="*/ 0 h 21"/>
                <a:gd name="T23" fmla="*/ 38 w 38"/>
                <a:gd name="T24" fmla="*/ 21 h 2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" h="21">
                  <a:moveTo>
                    <a:pt x="38" y="21"/>
                  </a:moveTo>
                  <a:lnTo>
                    <a:pt x="32" y="11"/>
                  </a:lnTo>
                  <a:lnTo>
                    <a:pt x="6" y="0"/>
                  </a:lnTo>
                  <a:lnTo>
                    <a:pt x="0" y="16"/>
                  </a:lnTo>
                  <a:lnTo>
                    <a:pt x="32" y="21"/>
                  </a:lnTo>
                  <a:lnTo>
                    <a:pt x="32" y="11"/>
                  </a:lnTo>
                  <a:lnTo>
                    <a:pt x="38" y="21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27" name="Freeform 279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2004868" y="2825464"/>
              <a:ext cx="66790" cy="33268"/>
            </a:xfrm>
            <a:custGeom>
              <a:avLst/>
              <a:gdLst>
                <a:gd name="T0" fmla="*/ 17782642 w 49"/>
                <a:gd name="T1" fmla="*/ 39965921 h 26"/>
                <a:gd name="T2" fmla="*/ 9699967 w 49"/>
                <a:gd name="T3" fmla="*/ 39965921 h 26"/>
                <a:gd name="T4" fmla="*/ 79214504 w 49"/>
                <a:gd name="T5" fmla="*/ 15371885 h 26"/>
                <a:gd name="T6" fmla="*/ 69514539 w 49"/>
                <a:gd name="T7" fmla="*/ 0 h 26"/>
                <a:gd name="T8" fmla="*/ 0 w 49"/>
                <a:gd name="T9" fmla="*/ 24594041 h 26"/>
                <a:gd name="T10" fmla="*/ 0 w 49"/>
                <a:gd name="T11" fmla="*/ 32279981 h 26"/>
                <a:gd name="T12" fmla="*/ 17782642 w 49"/>
                <a:gd name="T13" fmla="*/ 39965921 h 2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9"/>
                <a:gd name="T22" fmla="*/ 0 h 26"/>
                <a:gd name="T23" fmla="*/ 49 w 49"/>
                <a:gd name="T24" fmla="*/ 26 h 2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9" h="26">
                  <a:moveTo>
                    <a:pt x="11" y="26"/>
                  </a:moveTo>
                  <a:lnTo>
                    <a:pt x="6" y="26"/>
                  </a:lnTo>
                  <a:lnTo>
                    <a:pt x="49" y="10"/>
                  </a:lnTo>
                  <a:lnTo>
                    <a:pt x="43" y="0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11" y="26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28" name="Freeform 280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1991168" y="2852098"/>
              <a:ext cx="29113" cy="36595"/>
            </a:xfrm>
            <a:custGeom>
              <a:avLst/>
              <a:gdLst>
                <a:gd name="T0" fmla="*/ 16442793 w 21"/>
                <a:gd name="T1" fmla="*/ 43962822 h 27"/>
                <a:gd name="T2" fmla="*/ 16442793 w 21"/>
                <a:gd name="T3" fmla="*/ 43962822 h 27"/>
                <a:gd name="T4" fmla="*/ 34529221 w 21"/>
                <a:gd name="T5" fmla="*/ 8141406 h 27"/>
                <a:gd name="T6" fmla="*/ 16442793 w 21"/>
                <a:gd name="T7" fmla="*/ 0 h 27"/>
                <a:gd name="T8" fmla="*/ 0 w 21"/>
                <a:gd name="T9" fmla="*/ 35821408 h 27"/>
                <a:gd name="T10" fmla="*/ 0 w 21"/>
                <a:gd name="T11" fmla="*/ 35821408 h 27"/>
                <a:gd name="T12" fmla="*/ 16442793 w 21"/>
                <a:gd name="T13" fmla="*/ 43962822 h 2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"/>
                <a:gd name="T22" fmla="*/ 0 h 27"/>
                <a:gd name="T23" fmla="*/ 21 w 21"/>
                <a:gd name="T24" fmla="*/ 27 h 2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" h="27">
                  <a:moveTo>
                    <a:pt x="10" y="27"/>
                  </a:moveTo>
                  <a:lnTo>
                    <a:pt x="10" y="27"/>
                  </a:lnTo>
                  <a:lnTo>
                    <a:pt x="21" y="5"/>
                  </a:lnTo>
                  <a:lnTo>
                    <a:pt x="10" y="0"/>
                  </a:lnTo>
                  <a:lnTo>
                    <a:pt x="0" y="22"/>
                  </a:lnTo>
                  <a:lnTo>
                    <a:pt x="10" y="27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29" name="Freeform 281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1944936" y="2882039"/>
              <a:ext cx="59941" cy="76518"/>
            </a:xfrm>
            <a:custGeom>
              <a:avLst/>
              <a:gdLst>
                <a:gd name="T0" fmla="*/ 9919933 w 43"/>
                <a:gd name="T1" fmla="*/ 91921162 h 59"/>
                <a:gd name="T2" fmla="*/ 18185898 w 43"/>
                <a:gd name="T3" fmla="*/ 91921162 h 59"/>
                <a:gd name="T4" fmla="*/ 71090915 w 43"/>
                <a:gd name="T5" fmla="*/ 7790159 h 59"/>
                <a:gd name="T6" fmla="*/ 54557698 w 43"/>
                <a:gd name="T7" fmla="*/ 0 h 59"/>
                <a:gd name="T8" fmla="*/ 0 w 43"/>
                <a:gd name="T9" fmla="*/ 82572727 h 59"/>
                <a:gd name="T10" fmla="*/ 9919933 w 43"/>
                <a:gd name="T11" fmla="*/ 91921162 h 5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3"/>
                <a:gd name="T19" fmla="*/ 0 h 59"/>
                <a:gd name="T20" fmla="*/ 43 w 43"/>
                <a:gd name="T21" fmla="*/ 59 h 5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3" h="59">
                  <a:moveTo>
                    <a:pt x="6" y="59"/>
                  </a:moveTo>
                  <a:lnTo>
                    <a:pt x="11" y="59"/>
                  </a:lnTo>
                  <a:lnTo>
                    <a:pt x="43" y="5"/>
                  </a:lnTo>
                  <a:lnTo>
                    <a:pt x="33" y="0"/>
                  </a:lnTo>
                  <a:lnTo>
                    <a:pt x="0" y="53"/>
                  </a:lnTo>
                  <a:lnTo>
                    <a:pt x="6" y="59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30" name="Oval 282"/>
            <p:cNvSpPr>
              <a:spLocks noChangeArrowheads="1"/>
            </p:cNvSpPr>
            <p:nvPr>
              <p:custDataLst>
                <p:tags r:id="rId206"/>
              </p:custDataLst>
            </p:nvPr>
          </p:nvSpPr>
          <p:spPr bwMode="auto">
            <a:xfrm>
              <a:off x="2004877" y="2852079"/>
              <a:ext cx="8562" cy="6654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31" name="Oval 283"/>
            <p:cNvSpPr>
              <a:spLocks noChangeArrowheads="1"/>
            </p:cNvSpPr>
            <p:nvPr>
              <p:custDataLst>
                <p:tags r:id="rId207"/>
              </p:custDataLst>
            </p:nvPr>
          </p:nvSpPr>
          <p:spPr bwMode="auto">
            <a:xfrm>
              <a:off x="1953501" y="2951884"/>
              <a:ext cx="6850" cy="6654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32" name="Oval 284"/>
            <p:cNvSpPr>
              <a:spLocks noChangeArrowheads="1"/>
            </p:cNvSpPr>
            <p:nvPr>
              <p:custDataLst>
                <p:tags r:id="rId208"/>
              </p:custDataLst>
            </p:nvPr>
          </p:nvSpPr>
          <p:spPr bwMode="auto">
            <a:xfrm>
              <a:off x="2020291" y="2817166"/>
              <a:ext cx="8563" cy="8317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33" name="Oval 285"/>
            <p:cNvSpPr>
              <a:spLocks noChangeArrowheads="1"/>
            </p:cNvSpPr>
            <p:nvPr>
              <p:custDataLst>
                <p:tags r:id="rId209"/>
              </p:custDataLst>
            </p:nvPr>
          </p:nvSpPr>
          <p:spPr bwMode="auto">
            <a:xfrm>
              <a:off x="1485954" y="4121276"/>
              <a:ext cx="15414" cy="14970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34" name="Oval 286"/>
            <p:cNvSpPr>
              <a:spLocks noChangeArrowheads="1"/>
            </p:cNvSpPr>
            <p:nvPr>
              <p:custDataLst>
                <p:tags r:id="rId210"/>
              </p:custDataLst>
            </p:nvPr>
          </p:nvSpPr>
          <p:spPr bwMode="auto">
            <a:xfrm>
              <a:off x="1759967" y="4242701"/>
              <a:ext cx="15414" cy="13307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35" name="Rectangle 287"/>
            <p:cNvSpPr>
              <a:spLocks noChangeArrowheads="1"/>
            </p:cNvSpPr>
            <p:nvPr>
              <p:custDataLst>
                <p:tags r:id="rId211"/>
              </p:custDataLst>
            </p:nvPr>
          </p:nvSpPr>
          <p:spPr bwMode="auto">
            <a:xfrm>
              <a:off x="1040682" y="3866768"/>
              <a:ext cx="13701" cy="21625"/>
            </a:xfrm>
            <a:prstGeom prst="rect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36" name="Rectangle 288"/>
            <p:cNvSpPr>
              <a:spLocks noChangeArrowheads="1"/>
            </p:cNvSpPr>
            <p:nvPr>
              <p:custDataLst>
                <p:tags r:id="rId212"/>
              </p:custDataLst>
            </p:nvPr>
          </p:nvSpPr>
          <p:spPr bwMode="auto">
            <a:xfrm>
              <a:off x="728991" y="3873421"/>
              <a:ext cx="22264" cy="21625"/>
            </a:xfrm>
            <a:prstGeom prst="rect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37" name="Rectangle 289"/>
            <p:cNvSpPr>
              <a:spLocks noChangeArrowheads="1"/>
            </p:cNvSpPr>
            <p:nvPr>
              <p:custDataLst>
                <p:tags r:id="rId213"/>
              </p:custDataLst>
            </p:nvPr>
          </p:nvSpPr>
          <p:spPr bwMode="auto">
            <a:xfrm>
              <a:off x="1004718" y="6568170"/>
              <a:ext cx="20551" cy="21625"/>
            </a:xfrm>
            <a:prstGeom prst="rect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38" name="Rectangle 290"/>
            <p:cNvSpPr>
              <a:spLocks noChangeArrowheads="1"/>
            </p:cNvSpPr>
            <p:nvPr>
              <p:custDataLst>
                <p:tags r:id="rId214"/>
              </p:custDataLst>
            </p:nvPr>
          </p:nvSpPr>
          <p:spPr bwMode="auto">
            <a:xfrm>
              <a:off x="1054383" y="6355250"/>
              <a:ext cx="15414" cy="13307"/>
            </a:xfrm>
            <a:prstGeom prst="rect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39" name="Rectangle 291"/>
            <p:cNvSpPr>
              <a:spLocks noChangeArrowheads="1"/>
            </p:cNvSpPr>
            <p:nvPr>
              <p:custDataLst>
                <p:tags r:id="rId215"/>
              </p:custDataLst>
            </p:nvPr>
          </p:nvSpPr>
          <p:spPr bwMode="auto">
            <a:xfrm>
              <a:off x="922514" y="6042528"/>
              <a:ext cx="13701" cy="14971"/>
            </a:xfrm>
            <a:prstGeom prst="rect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40" name="Rectangle 292"/>
            <p:cNvSpPr>
              <a:spLocks noChangeArrowheads="1"/>
            </p:cNvSpPr>
            <p:nvPr>
              <p:custDataLst>
                <p:tags r:id="rId216"/>
              </p:custDataLst>
            </p:nvPr>
          </p:nvSpPr>
          <p:spPr bwMode="auto">
            <a:xfrm>
              <a:off x="677614" y="5887830"/>
              <a:ext cx="13701" cy="19961"/>
            </a:xfrm>
            <a:prstGeom prst="rect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41" name="Rectangle 293"/>
            <p:cNvSpPr>
              <a:spLocks noChangeArrowheads="1"/>
            </p:cNvSpPr>
            <p:nvPr>
              <p:custDataLst>
                <p:tags r:id="rId217"/>
              </p:custDataLst>
            </p:nvPr>
          </p:nvSpPr>
          <p:spPr bwMode="auto">
            <a:xfrm>
              <a:off x="506355" y="5781369"/>
              <a:ext cx="13701" cy="13307"/>
            </a:xfrm>
            <a:prstGeom prst="rect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42" name="Rectangle 294"/>
            <p:cNvSpPr>
              <a:spLocks noChangeArrowheads="1"/>
            </p:cNvSpPr>
            <p:nvPr>
              <p:custDataLst>
                <p:tags r:id="rId218"/>
              </p:custDataLst>
            </p:nvPr>
          </p:nvSpPr>
          <p:spPr bwMode="auto">
            <a:xfrm>
              <a:off x="520056" y="6035874"/>
              <a:ext cx="15414" cy="21625"/>
            </a:xfrm>
            <a:prstGeom prst="rect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43" name="Rectangle 295"/>
            <p:cNvSpPr>
              <a:spLocks noChangeArrowheads="1"/>
            </p:cNvSpPr>
            <p:nvPr>
              <p:custDataLst>
                <p:tags r:id="rId219"/>
              </p:custDataLst>
            </p:nvPr>
          </p:nvSpPr>
          <p:spPr bwMode="auto">
            <a:xfrm>
              <a:off x="1114333" y="5051127"/>
              <a:ext cx="15413" cy="21625"/>
            </a:xfrm>
            <a:prstGeom prst="rect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44" name="Freeform 296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2093933" y="2356397"/>
              <a:ext cx="113031" cy="262821"/>
            </a:xfrm>
            <a:custGeom>
              <a:avLst/>
              <a:gdLst>
                <a:gd name="T0" fmla="*/ 115851396 w 81"/>
                <a:gd name="T1" fmla="*/ 0 h 199"/>
                <a:gd name="T2" fmla="*/ 115851396 w 81"/>
                <a:gd name="T3" fmla="*/ 0 h 199"/>
                <a:gd name="T4" fmla="*/ 0 w 81"/>
                <a:gd name="T5" fmla="*/ 306209414 h 199"/>
                <a:gd name="T6" fmla="*/ 26480911 w 81"/>
                <a:gd name="T7" fmla="*/ 315729417 h 199"/>
                <a:gd name="T8" fmla="*/ 134056369 w 81"/>
                <a:gd name="T9" fmla="*/ 7933128 h 199"/>
                <a:gd name="T10" fmla="*/ 134056369 w 81"/>
                <a:gd name="T11" fmla="*/ 0 h 199"/>
                <a:gd name="T12" fmla="*/ 115851396 w 81"/>
                <a:gd name="T13" fmla="*/ 0 h 1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1"/>
                <a:gd name="T22" fmla="*/ 0 h 199"/>
                <a:gd name="T23" fmla="*/ 81 w 81"/>
                <a:gd name="T24" fmla="*/ 199 h 19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1" h="199">
                  <a:moveTo>
                    <a:pt x="70" y="0"/>
                  </a:moveTo>
                  <a:lnTo>
                    <a:pt x="70" y="0"/>
                  </a:lnTo>
                  <a:lnTo>
                    <a:pt x="0" y="193"/>
                  </a:lnTo>
                  <a:lnTo>
                    <a:pt x="16" y="199"/>
                  </a:lnTo>
                  <a:lnTo>
                    <a:pt x="81" y="5"/>
                  </a:lnTo>
                  <a:lnTo>
                    <a:pt x="81" y="0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45" name="Freeform 297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2191549" y="2228298"/>
              <a:ext cx="51378" cy="128083"/>
            </a:xfrm>
            <a:custGeom>
              <a:avLst/>
              <a:gdLst>
                <a:gd name="T0" fmla="*/ 44466306 w 37"/>
                <a:gd name="T1" fmla="*/ 0 h 97"/>
                <a:gd name="T2" fmla="*/ 44466306 w 37"/>
                <a:gd name="T3" fmla="*/ 0 h 97"/>
                <a:gd name="T4" fmla="*/ 0 w 37"/>
                <a:gd name="T5" fmla="*/ 153867390 h 97"/>
                <a:gd name="T6" fmla="*/ 18115518 w 37"/>
                <a:gd name="T7" fmla="*/ 153867390 h 97"/>
                <a:gd name="T8" fmla="*/ 60935539 w 37"/>
                <a:gd name="T9" fmla="*/ 7931543 h 97"/>
                <a:gd name="T10" fmla="*/ 60935539 w 37"/>
                <a:gd name="T11" fmla="*/ 7931543 h 97"/>
                <a:gd name="T12" fmla="*/ 44466306 w 37"/>
                <a:gd name="T13" fmla="*/ 0 h 9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97"/>
                <a:gd name="T23" fmla="*/ 37 w 37"/>
                <a:gd name="T24" fmla="*/ 97 h 9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97">
                  <a:moveTo>
                    <a:pt x="27" y="0"/>
                  </a:moveTo>
                  <a:lnTo>
                    <a:pt x="27" y="0"/>
                  </a:lnTo>
                  <a:lnTo>
                    <a:pt x="0" y="97"/>
                  </a:lnTo>
                  <a:lnTo>
                    <a:pt x="11" y="97"/>
                  </a:lnTo>
                  <a:lnTo>
                    <a:pt x="37" y="5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46" name="Freeform 298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2227513" y="2156767"/>
              <a:ext cx="37677" cy="78181"/>
            </a:xfrm>
            <a:custGeom>
              <a:avLst/>
              <a:gdLst>
                <a:gd name="T0" fmla="*/ 26480914 w 27"/>
                <a:gd name="T1" fmla="*/ 0 h 59"/>
                <a:gd name="T2" fmla="*/ 26480914 w 27"/>
                <a:gd name="T3" fmla="*/ 0 h 59"/>
                <a:gd name="T4" fmla="*/ 0 w 27"/>
                <a:gd name="T5" fmla="*/ 85960516 h 59"/>
                <a:gd name="T6" fmla="*/ 16550570 w 27"/>
                <a:gd name="T7" fmla="*/ 93920077 h 59"/>
                <a:gd name="T8" fmla="*/ 44685898 w 27"/>
                <a:gd name="T9" fmla="*/ 0 h 59"/>
                <a:gd name="T10" fmla="*/ 44685898 w 27"/>
                <a:gd name="T11" fmla="*/ 0 h 59"/>
                <a:gd name="T12" fmla="*/ 26480914 w 27"/>
                <a:gd name="T13" fmla="*/ 0 h 5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59"/>
                <a:gd name="T23" fmla="*/ 27 w 27"/>
                <a:gd name="T24" fmla="*/ 59 h 5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59">
                  <a:moveTo>
                    <a:pt x="16" y="0"/>
                  </a:moveTo>
                  <a:lnTo>
                    <a:pt x="16" y="0"/>
                  </a:lnTo>
                  <a:lnTo>
                    <a:pt x="0" y="54"/>
                  </a:lnTo>
                  <a:lnTo>
                    <a:pt x="10" y="59"/>
                  </a:lnTo>
                  <a:lnTo>
                    <a:pt x="27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47" name="Freeform 299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2249776" y="1599521"/>
              <a:ext cx="207223" cy="557248"/>
            </a:xfrm>
            <a:custGeom>
              <a:avLst/>
              <a:gdLst>
                <a:gd name="T0" fmla="*/ 526653100 w 70"/>
                <a:gd name="T1" fmla="*/ 78665414 h 199"/>
                <a:gd name="T2" fmla="*/ 443893393 w 70"/>
                <a:gd name="T3" fmla="*/ 78665414 h 199"/>
                <a:gd name="T4" fmla="*/ 0 w 70"/>
                <a:gd name="T5" fmla="*/ 1423150523 h 199"/>
                <a:gd name="T6" fmla="*/ 82759728 w 70"/>
                <a:gd name="T7" fmla="*/ 1423150523 h 199"/>
                <a:gd name="T8" fmla="*/ 526653100 w 70"/>
                <a:gd name="T9" fmla="*/ 114425104 h 199"/>
                <a:gd name="T10" fmla="*/ 443893393 w 70"/>
                <a:gd name="T11" fmla="*/ 114425104 h 199"/>
                <a:gd name="T12" fmla="*/ 526653100 w 70"/>
                <a:gd name="T13" fmla="*/ 78665414 h 199"/>
                <a:gd name="T14" fmla="*/ 443893393 w 70"/>
                <a:gd name="T15" fmla="*/ 0 h 199"/>
                <a:gd name="T16" fmla="*/ 443893393 w 70"/>
                <a:gd name="T17" fmla="*/ 78665414 h 199"/>
                <a:gd name="T18" fmla="*/ 526653100 w 70"/>
                <a:gd name="T19" fmla="*/ 78665414 h 19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0"/>
                <a:gd name="T31" fmla="*/ 0 h 199"/>
                <a:gd name="T32" fmla="*/ 70 w 70"/>
                <a:gd name="T33" fmla="*/ 199 h 19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0" h="199">
                  <a:moveTo>
                    <a:pt x="70" y="11"/>
                  </a:moveTo>
                  <a:lnTo>
                    <a:pt x="59" y="11"/>
                  </a:lnTo>
                  <a:lnTo>
                    <a:pt x="0" y="199"/>
                  </a:lnTo>
                  <a:lnTo>
                    <a:pt x="11" y="199"/>
                  </a:lnTo>
                  <a:lnTo>
                    <a:pt x="70" y="16"/>
                  </a:lnTo>
                  <a:lnTo>
                    <a:pt x="59" y="16"/>
                  </a:lnTo>
                  <a:lnTo>
                    <a:pt x="70" y="11"/>
                  </a:lnTo>
                  <a:lnTo>
                    <a:pt x="59" y="0"/>
                  </a:lnTo>
                  <a:lnTo>
                    <a:pt x="59" y="11"/>
                  </a:lnTo>
                  <a:lnTo>
                    <a:pt x="70" y="11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48" name="Oval 301"/>
            <p:cNvSpPr>
              <a:spLocks noChangeArrowheads="1"/>
            </p:cNvSpPr>
            <p:nvPr>
              <p:custDataLst>
                <p:tags r:id="rId224"/>
              </p:custDataLst>
            </p:nvPr>
          </p:nvSpPr>
          <p:spPr bwMode="auto">
            <a:xfrm>
              <a:off x="2100772" y="2610902"/>
              <a:ext cx="8562" cy="8317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49" name="Oval 302"/>
            <p:cNvSpPr>
              <a:spLocks noChangeArrowheads="1"/>
            </p:cNvSpPr>
            <p:nvPr>
              <p:custDataLst>
                <p:tags r:id="rId225"/>
              </p:custDataLst>
            </p:nvPr>
          </p:nvSpPr>
          <p:spPr bwMode="auto">
            <a:xfrm>
              <a:off x="2256628" y="2150114"/>
              <a:ext cx="8563" cy="14971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50" name="Freeform 30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2278881" y="2965192"/>
              <a:ext cx="82204" cy="86498"/>
            </a:xfrm>
            <a:custGeom>
              <a:avLst/>
              <a:gdLst>
                <a:gd name="T0" fmla="*/ 80970894 w 59"/>
                <a:gd name="T1" fmla="*/ 7993379 h 65"/>
                <a:gd name="T2" fmla="*/ 89234092 w 59"/>
                <a:gd name="T3" fmla="*/ 0 h 65"/>
                <a:gd name="T4" fmla="*/ 0 w 59"/>
                <a:gd name="T5" fmla="*/ 86326979 h 65"/>
                <a:gd name="T6" fmla="*/ 18176929 w 59"/>
                <a:gd name="T7" fmla="*/ 103911391 h 65"/>
                <a:gd name="T8" fmla="*/ 97495978 w 59"/>
                <a:gd name="T9" fmla="*/ 17584417 h 65"/>
                <a:gd name="T10" fmla="*/ 97495978 w 59"/>
                <a:gd name="T11" fmla="*/ 17584417 h 65"/>
                <a:gd name="T12" fmla="*/ 80970894 w 59"/>
                <a:gd name="T13" fmla="*/ 7993379 h 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9"/>
                <a:gd name="T22" fmla="*/ 0 h 65"/>
                <a:gd name="T23" fmla="*/ 59 w 59"/>
                <a:gd name="T24" fmla="*/ 65 h 6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9" h="65">
                  <a:moveTo>
                    <a:pt x="49" y="5"/>
                  </a:moveTo>
                  <a:lnTo>
                    <a:pt x="54" y="0"/>
                  </a:lnTo>
                  <a:lnTo>
                    <a:pt x="0" y="54"/>
                  </a:lnTo>
                  <a:lnTo>
                    <a:pt x="11" y="65"/>
                  </a:lnTo>
                  <a:lnTo>
                    <a:pt x="59" y="11"/>
                  </a:lnTo>
                  <a:lnTo>
                    <a:pt x="49" y="5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51" name="Freeform 30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2347394" y="2938577"/>
              <a:ext cx="37677" cy="41586"/>
            </a:xfrm>
            <a:custGeom>
              <a:avLst/>
              <a:gdLst>
                <a:gd name="T0" fmla="*/ 16550570 w 27"/>
                <a:gd name="T1" fmla="*/ 0 h 32"/>
                <a:gd name="T2" fmla="*/ 16550570 w 27"/>
                <a:gd name="T3" fmla="*/ 0 h 32"/>
                <a:gd name="T4" fmla="*/ 0 w 27"/>
                <a:gd name="T5" fmla="*/ 40590892 h 32"/>
                <a:gd name="T6" fmla="*/ 16550570 w 27"/>
                <a:gd name="T7" fmla="*/ 49957266 h 32"/>
                <a:gd name="T8" fmla="*/ 44685898 w 27"/>
                <a:gd name="T9" fmla="*/ 7806132 h 32"/>
                <a:gd name="T10" fmla="*/ 44685898 w 27"/>
                <a:gd name="T11" fmla="*/ 7806132 h 32"/>
                <a:gd name="T12" fmla="*/ 16550570 w 27"/>
                <a:gd name="T13" fmla="*/ 0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2"/>
                <a:gd name="T23" fmla="*/ 27 w 27"/>
                <a:gd name="T24" fmla="*/ 32 h 3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2">
                  <a:moveTo>
                    <a:pt x="10" y="0"/>
                  </a:moveTo>
                  <a:lnTo>
                    <a:pt x="10" y="0"/>
                  </a:lnTo>
                  <a:lnTo>
                    <a:pt x="0" y="26"/>
                  </a:lnTo>
                  <a:lnTo>
                    <a:pt x="10" y="32"/>
                  </a:lnTo>
                  <a:lnTo>
                    <a:pt x="27" y="5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52" name="Freeform 30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2361095" y="2837126"/>
              <a:ext cx="51378" cy="108122"/>
            </a:xfrm>
            <a:custGeom>
              <a:avLst/>
              <a:gdLst>
                <a:gd name="T0" fmla="*/ 43296140 w 38"/>
                <a:gd name="T1" fmla="*/ 0 h 81"/>
                <a:gd name="T2" fmla="*/ 43296140 w 38"/>
                <a:gd name="T3" fmla="*/ 0 h 81"/>
                <a:gd name="T4" fmla="*/ 0 w 38"/>
                <a:gd name="T5" fmla="*/ 121870210 h 81"/>
                <a:gd name="T6" fmla="*/ 27260298 w 38"/>
                <a:gd name="T7" fmla="*/ 129888220 h 81"/>
                <a:gd name="T8" fmla="*/ 60934929 w 38"/>
                <a:gd name="T9" fmla="*/ 9621868 h 81"/>
                <a:gd name="T10" fmla="*/ 60934929 w 38"/>
                <a:gd name="T11" fmla="*/ 0 h 81"/>
                <a:gd name="T12" fmla="*/ 43296140 w 38"/>
                <a:gd name="T13" fmla="*/ 0 h 8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"/>
                <a:gd name="T22" fmla="*/ 0 h 81"/>
                <a:gd name="T23" fmla="*/ 38 w 38"/>
                <a:gd name="T24" fmla="*/ 81 h 8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" h="81">
                  <a:moveTo>
                    <a:pt x="27" y="0"/>
                  </a:moveTo>
                  <a:lnTo>
                    <a:pt x="27" y="0"/>
                  </a:lnTo>
                  <a:lnTo>
                    <a:pt x="0" y="76"/>
                  </a:lnTo>
                  <a:lnTo>
                    <a:pt x="17" y="81"/>
                  </a:lnTo>
                  <a:lnTo>
                    <a:pt x="38" y="6"/>
                  </a:lnTo>
                  <a:lnTo>
                    <a:pt x="38" y="0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53" name="Freeform 30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2398762" y="2723996"/>
              <a:ext cx="13701" cy="113113"/>
            </a:xfrm>
            <a:custGeom>
              <a:avLst/>
              <a:gdLst>
                <a:gd name="T0" fmla="*/ 0 w 11"/>
                <a:gd name="T1" fmla="*/ 0 h 86"/>
                <a:gd name="T2" fmla="*/ 0 w 11"/>
                <a:gd name="T3" fmla="*/ 0 h 86"/>
                <a:gd name="T4" fmla="*/ 0 w 11"/>
                <a:gd name="T5" fmla="*/ 135883936 h 86"/>
                <a:gd name="T6" fmla="*/ 16249072 w 11"/>
                <a:gd name="T7" fmla="*/ 135883936 h 86"/>
                <a:gd name="T8" fmla="*/ 16249072 w 11"/>
                <a:gd name="T9" fmla="*/ 0 h 86"/>
                <a:gd name="T10" fmla="*/ 16249072 w 11"/>
                <a:gd name="T11" fmla="*/ 0 h 86"/>
                <a:gd name="T12" fmla="*/ 0 w 11"/>
                <a:gd name="T13" fmla="*/ 0 h 8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86"/>
                <a:gd name="T23" fmla="*/ 11 w 11"/>
                <a:gd name="T24" fmla="*/ 86 h 8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86">
                  <a:moveTo>
                    <a:pt x="0" y="0"/>
                  </a:moveTo>
                  <a:lnTo>
                    <a:pt x="0" y="0"/>
                  </a:lnTo>
                  <a:lnTo>
                    <a:pt x="0" y="86"/>
                  </a:lnTo>
                  <a:lnTo>
                    <a:pt x="11" y="86"/>
                  </a:lnTo>
                  <a:lnTo>
                    <a:pt x="1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54" name="Freeform 307"/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2398762" y="2667458"/>
              <a:ext cx="13701" cy="56556"/>
            </a:xfrm>
            <a:custGeom>
              <a:avLst/>
              <a:gdLst>
                <a:gd name="T0" fmla="*/ 0 w 11"/>
                <a:gd name="T1" fmla="*/ 0 h 43"/>
                <a:gd name="T2" fmla="*/ 0 w 11"/>
                <a:gd name="T3" fmla="*/ 0 h 43"/>
                <a:gd name="T4" fmla="*/ 0 w 11"/>
                <a:gd name="T5" fmla="*/ 67941968 h 43"/>
                <a:gd name="T6" fmla="*/ 16249072 w 11"/>
                <a:gd name="T7" fmla="*/ 67941968 h 43"/>
                <a:gd name="T8" fmla="*/ 16249072 w 11"/>
                <a:gd name="T9" fmla="*/ 9480771 h 43"/>
                <a:gd name="T10" fmla="*/ 16249072 w 11"/>
                <a:gd name="T11" fmla="*/ 9480771 h 43"/>
                <a:gd name="T12" fmla="*/ 0 w 11"/>
                <a:gd name="T13" fmla="*/ 0 h 4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43"/>
                <a:gd name="T23" fmla="*/ 11 w 11"/>
                <a:gd name="T24" fmla="*/ 43 h 4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43">
                  <a:moveTo>
                    <a:pt x="0" y="0"/>
                  </a:moveTo>
                  <a:lnTo>
                    <a:pt x="0" y="0"/>
                  </a:lnTo>
                  <a:lnTo>
                    <a:pt x="0" y="43"/>
                  </a:lnTo>
                  <a:lnTo>
                    <a:pt x="11" y="43"/>
                  </a:lnTo>
                  <a:lnTo>
                    <a:pt x="11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55" name="Freeform 30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2398773" y="2575949"/>
              <a:ext cx="35964" cy="99805"/>
            </a:xfrm>
            <a:custGeom>
              <a:avLst/>
              <a:gdLst>
                <a:gd name="T0" fmla="*/ 25276857 w 27"/>
                <a:gd name="T1" fmla="*/ 0 h 76"/>
                <a:gd name="T2" fmla="*/ 25276857 w 27"/>
                <a:gd name="T3" fmla="*/ 0 h 76"/>
                <a:gd name="T4" fmla="*/ 0 w 27"/>
                <a:gd name="T5" fmla="*/ 110431090 h 76"/>
                <a:gd name="T6" fmla="*/ 17377220 w 27"/>
                <a:gd name="T7" fmla="*/ 119897182 h 76"/>
                <a:gd name="T8" fmla="*/ 42654081 w 27"/>
                <a:gd name="T9" fmla="*/ 9466094 h 76"/>
                <a:gd name="T10" fmla="*/ 42654081 w 27"/>
                <a:gd name="T11" fmla="*/ 9466094 h 76"/>
                <a:gd name="T12" fmla="*/ 25276857 w 27"/>
                <a:gd name="T13" fmla="*/ 0 h 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76"/>
                <a:gd name="T23" fmla="*/ 27 w 27"/>
                <a:gd name="T24" fmla="*/ 76 h 7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76">
                  <a:moveTo>
                    <a:pt x="16" y="0"/>
                  </a:moveTo>
                  <a:lnTo>
                    <a:pt x="16" y="0"/>
                  </a:lnTo>
                  <a:lnTo>
                    <a:pt x="0" y="70"/>
                  </a:lnTo>
                  <a:lnTo>
                    <a:pt x="11" y="76"/>
                  </a:lnTo>
                  <a:lnTo>
                    <a:pt x="27" y="6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56" name="Freeform 30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2421035" y="2462836"/>
              <a:ext cx="58228" cy="119767"/>
            </a:xfrm>
            <a:custGeom>
              <a:avLst/>
              <a:gdLst>
                <a:gd name="T0" fmla="*/ 52998430 w 43"/>
                <a:gd name="T1" fmla="*/ 9383781 h 92"/>
                <a:gd name="T2" fmla="*/ 52998430 w 43"/>
                <a:gd name="T3" fmla="*/ 0 h 92"/>
                <a:gd name="T4" fmla="*/ 0 w 43"/>
                <a:gd name="T5" fmla="*/ 134492580 h 92"/>
                <a:gd name="T6" fmla="*/ 17666142 w 43"/>
                <a:gd name="T7" fmla="*/ 143876358 h 92"/>
                <a:gd name="T8" fmla="*/ 69059125 w 43"/>
                <a:gd name="T9" fmla="*/ 9383781 h 92"/>
                <a:gd name="T10" fmla="*/ 69059125 w 43"/>
                <a:gd name="T11" fmla="*/ 0 h 92"/>
                <a:gd name="T12" fmla="*/ 52998430 w 43"/>
                <a:gd name="T13" fmla="*/ 9383781 h 9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3"/>
                <a:gd name="T22" fmla="*/ 0 h 92"/>
                <a:gd name="T23" fmla="*/ 43 w 43"/>
                <a:gd name="T24" fmla="*/ 92 h 9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3" h="92">
                  <a:moveTo>
                    <a:pt x="33" y="6"/>
                  </a:moveTo>
                  <a:lnTo>
                    <a:pt x="33" y="0"/>
                  </a:lnTo>
                  <a:lnTo>
                    <a:pt x="0" y="86"/>
                  </a:lnTo>
                  <a:lnTo>
                    <a:pt x="11" y="92"/>
                  </a:lnTo>
                  <a:lnTo>
                    <a:pt x="43" y="6"/>
                  </a:lnTo>
                  <a:lnTo>
                    <a:pt x="43" y="0"/>
                  </a:lnTo>
                  <a:lnTo>
                    <a:pt x="33" y="6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57" name="Freeform 31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2457001" y="2441231"/>
              <a:ext cx="22263" cy="28278"/>
            </a:xfrm>
            <a:custGeom>
              <a:avLst/>
              <a:gdLst>
                <a:gd name="T0" fmla="*/ 0 w 16"/>
                <a:gd name="T1" fmla="*/ 0 h 22"/>
                <a:gd name="T2" fmla="*/ 0 w 16"/>
                <a:gd name="T3" fmla="*/ 9265127 h 22"/>
                <a:gd name="T4" fmla="*/ 9901888 w 16"/>
                <a:gd name="T5" fmla="*/ 33970497 h 22"/>
                <a:gd name="T6" fmla="*/ 26405039 w 16"/>
                <a:gd name="T7" fmla="*/ 24705373 h 22"/>
                <a:gd name="T8" fmla="*/ 18154107 w 16"/>
                <a:gd name="T9" fmla="*/ 0 h 22"/>
                <a:gd name="T10" fmla="*/ 18154107 w 16"/>
                <a:gd name="T11" fmla="*/ 9265127 h 22"/>
                <a:gd name="T12" fmla="*/ 0 w 16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22"/>
                <a:gd name="T23" fmla="*/ 16 w 16"/>
                <a:gd name="T24" fmla="*/ 22 h 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22">
                  <a:moveTo>
                    <a:pt x="0" y="0"/>
                  </a:moveTo>
                  <a:lnTo>
                    <a:pt x="0" y="6"/>
                  </a:lnTo>
                  <a:lnTo>
                    <a:pt x="6" y="22"/>
                  </a:lnTo>
                  <a:lnTo>
                    <a:pt x="16" y="16"/>
                  </a:lnTo>
                  <a:lnTo>
                    <a:pt x="11" y="0"/>
                  </a:lnTo>
                  <a:lnTo>
                    <a:pt x="11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58" name="Freeform 31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2457001" y="2321466"/>
              <a:ext cx="68503" cy="128083"/>
            </a:xfrm>
            <a:custGeom>
              <a:avLst/>
              <a:gdLst>
                <a:gd name="T0" fmla="*/ 71297539 w 49"/>
                <a:gd name="T1" fmla="*/ 0 h 97"/>
                <a:gd name="T2" fmla="*/ 63007552 w 49"/>
                <a:gd name="T3" fmla="*/ 0 h 97"/>
                <a:gd name="T4" fmla="*/ 0 w 49"/>
                <a:gd name="T5" fmla="*/ 144349289 h 97"/>
                <a:gd name="T6" fmla="*/ 18238754 w 49"/>
                <a:gd name="T7" fmla="*/ 153867390 h 97"/>
                <a:gd name="T8" fmla="*/ 81246301 w 49"/>
                <a:gd name="T9" fmla="*/ 0 h 97"/>
                <a:gd name="T10" fmla="*/ 71297539 w 49"/>
                <a:gd name="T11" fmla="*/ 0 h 9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9"/>
                <a:gd name="T19" fmla="*/ 0 h 97"/>
                <a:gd name="T20" fmla="*/ 49 w 49"/>
                <a:gd name="T21" fmla="*/ 97 h 9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9" h="97">
                  <a:moveTo>
                    <a:pt x="43" y="0"/>
                  </a:moveTo>
                  <a:lnTo>
                    <a:pt x="38" y="0"/>
                  </a:lnTo>
                  <a:lnTo>
                    <a:pt x="0" y="91"/>
                  </a:lnTo>
                  <a:lnTo>
                    <a:pt x="11" y="97"/>
                  </a:lnTo>
                  <a:lnTo>
                    <a:pt x="49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59" name="Oval 312"/>
            <p:cNvSpPr>
              <a:spLocks noChangeArrowheads="1"/>
            </p:cNvSpPr>
            <p:nvPr>
              <p:custDataLst>
                <p:tags r:id="rId235"/>
              </p:custDataLst>
            </p:nvPr>
          </p:nvSpPr>
          <p:spPr bwMode="auto">
            <a:xfrm>
              <a:off x="2421025" y="2575949"/>
              <a:ext cx="6850" cy="6654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60" name="Oval 313"/>
            <p:cNvSpPr>
              <a:spLocks noChangeArrowheads="1"/>
            </p:cNvSpPr>
            <p:nvPr>
              <p:custDataLst>
                <p:tags r:id="rId236"/>
              </p:custDataLst>
            </p:nvPr>
          </p:nvSpPr>
          <p:spPr bwMode="auto">
            <a:xfrm>
              <a:off x="2354235" y="2965192"/>
              <a:ext cx="6850" cy="14971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61" name="Oval 314"/>
            <p:cNvSpPr>
              <a:spLocks noChangeArrowheads="1"/>
            </p:cNvSpPr>
            <p:nvPr>
              <p:custDataLst>
                <p:tags r:id="rId237"/>
              </p:custDataLst>
            </p:nvPr>
          </p:nvSpPr>
          <p:spPr bwMode="auto">
            <a:xfrm>
              <a:off x="2278892" y="3043392"/>
              <a:ext cx="8562" cy="8317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62" name="Oval 315"/>
            <p:cNvSpPr>
              <a:spLocks noChangeArrowheads="1"/>
            </p:cNvSpPr>
            <p:nvPr>
              <p:custDataLst>
                <p:tags r:id="rId238"/>
              </p:custDataLst>
            </p:nvPr>
          </p:nvSpPr>
          <p:spPr bwMode="auto">
            <a:xfrm>
              <a:off x="2331981" y="1902264"/>
              <a:ext cx="6850" cy="6654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63" name="Oval 316"/>
            <p:cNvSpPr>
              <a:spLocks noChangeArrowheads="1"/>
            </p:cNvSpPr>
            <p:nvPr>
              <p:custDataLst>
                <p:tags r:id="rId239"/>
              </p:custDataLst>
            </p:nvPr>
          </p:nvSpPr>
          <p:spPr bwMode="auto">
            <a:xfrm>
              <a:off x="2405622" y="1717622"/>
              <a:ext cx="6850" cy="6654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64" name="Oval 317"/>
            <p:cNvSpPr>
              <a:spLocks noChangeArrowheads="1"/>
            </p:cNvSpPr>
            <p:nvPr>
              <p:custDataLst>
                <p:tags r:id="rId240"/>
              </p:custDataLst>
            </p:nvPr>
          </p:nvSpPr>
          <p:spPr bwMode="auto">
            <a:xfrm>
              <a:off x="2472404" y="1562924"/>
              <a:ext cx="6850" cy="13307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65" name="Oval 318"/>
            <p:cNvSpPr>
              <a:spLocks noChangeArrowheads="1"/>
            </p:cNvSpPr>
            <p:nvPr>
              <p:custDataLst>
                <p:tags r:id="rId241"/>
              </p:custDataLst>
            </p:nvPr>
          </p:nvSpPr>
          <p:spPr bwMode="auto">
            <a:xfrm>
              <a:off x="2503229" y="1547953"/>
              <a:ext cx="6850" cy="6654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66" name="Freeform 31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2725875" y="1938858"/>
              <a:ext cx="58228" cy="113113"/>
            </a:xfrm>
            <a:custGeom>
              <a:avLst/>
              <a:gdLst>
                <a:gd name="T0" fmla="*/ 59422708 w 43"/>
                <a:gd name="T1" fmla="*/ 135883936 h 86"/>
                <a:gd name="T2" fmla="*/ 69059125 w 43"/>
                <a:gd name="T3" fmla="*/ 126403168 h 86"/>
                <a:gd name="T4" fmla="*/ 25695866 w 43"/>
                <a:gd name="T5" fmla="*/ 0 h 86"/>
                <a:gd name="T6" fmla="*/ 0 w 43"/>
                <a:gd name="T7" fmla="*/ 0 h 86"/>
                <a:gd name="T8" fmla="*/ 51392988 w 43"/>
                <a:gd name="T9" fmla="*/ 135883936 h 86"/>
                <a:gd name="T10" fmla="*/ 51392988 w 43"/>
                <a:gd name="T11" fmla="*/ 126403168 h 86"/>
                <a:gd name="T12" fmla="*/ 59422708 w 43"/>
                <a:gd name="T13" fmla="*/ 135883936 h 86"/>
                <a:gd name="T14" fmla="*/ 69059125 w 43"/>
                <a:gd name="T15" fmla="*/ 135883936 h 86"/>
                <a:gd name="T16" fmla="*/ 69059125 w 43"/>
                <a:gd name="T17" fmla="*/ 126403168 h 86"/>
                <a:gd name="T18" fmla="*/ 59422708 w 43"/>
                <a:gd name="T19" fmla="*/ 135883936 h 8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3"/>
                <a:gd name="T31" fmla="*/ 0 h 86"/>
                <a:gd name="T32" fmla="*/ 43 w 43"/>
                <a:gd name="T33" fmla="*/ 86 h 8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3" h="86">
                  <a:moveTo>
                    <a:pt x="37" y="86"/>
                  </a:moveTo>
                  <a:lnTo>
                    <a:pt x="43" y="80"/>
                  </a:lnTo>
                  <a:lnTo>
                    <a:pt x="16" y="0"/>
                  </a:lnTo>
                  <a:lnTo>
                    <a:pt x="0" y="0"/>
                  </a:lnTo>
                  <a:lnTo>
                    <a:pt x="32" y="86"/>
                  </a:lnTo>
                  <a:lnTo>
                    <a:pt x="32" y="80"/>
                  </a:lnTo>
                  <a:lnTo>
                    <a:pt x="37" y="86"/>
                  </a:lnTo>
                  <a:lnTo>
                    <a:pt x="43" y="86"/>
                  </a:lnTo>
                  <a:lnTo>
                    <a:pt x="43" y="80"/>
                  </a:lnTo>
                  <a:lnTo>
                    <a:pt x="37" y="86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67" name="Freeform 32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2510089" y="2043657"/>
              <a:ext cx="265451" cy="284446"/>
            </a:xfrm>
            <a:custGeom>
              <a:avLst/>
              <a:gdLst>
                <a:gd name="T0" fmla="*/ 8155777 w 193"/>
                <a:gd name="T1" fmla="*/ 333760665 h 215"/>
                <a:gd name="T2" fmla="*/ 17943474 w 193"/>
                <a:gd name="T3" fmla="*/ 341707584 h 215"/>
                <a:gd name="T4" fmla="*/ 314830576 w 193"/>
                <a:gd name="T5" fmla="*/ 9536558 h 215"/>
                <a:gd name="T6" fmla="*/ 306674802 w 193"/>
                <a:gd name="T7" fmla="*/ 0 h 215"/>
                <a:gd name="T8" fmla="*/ 0 w 193"/>
                <a:gd name="T9" fmla="*/ 324225293 h 215"/>
                <a:gd name="T10" fmla="*/ 8155777 w 193"/>
                <a:gd name="T11" fmla="*/ 333760665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3"/>
                <a:gd name="T19" fmla="*/ 0 h 215"/>
                <a:gd name="T20" fmla="*/ 193 w 193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3" h="215">
                  <a:moveTo>
                    <a:pt x="5" y="210"/>
                  </a:moveTo>
                  <a:lnTo>
                    <a:pt x="11" y="215"/>
                  </a:lnTo>
                  <a:lnTo>
                    <a:pt x="193" y="6"/>
                  </a:lnTo>
                  <a:lnTo>
                    <a:pt x="188" y="0"/>
                  </a:lnTo>
                  <a:lnTo>
                    <a:pt x="0" y="204"/>
                  </a:lnTo>
                  <a:lnTo>
                    <a:pt x="5" y="21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68" name="Freeform 32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2369649" y="1930542"/>
              <a:ext cx="109605" cy="28279"/>
            </a:xfrm>
            <a:custGeom>
              <a:avLst/>
              <a:gdLst>
                <a:gd name="T0" fmla="*/ 129994650 w 80"/>
                <a:gd name="T1" fmla="*/ 0 h 22"/>
                <a:gd name="T2" fmla="*/ 121870463 w 80"/>
                <a:gd name="T3" fmla="*/ 0 h 22"/>
                <a:gd name="T4" fmla="*/ 0 w 80"/>
                <a:gd name="T5" fmla="*/ 16986491 h 22"/>
                <a:gd name="T6" fmla="*/ 0 w 80"/>
                <a:gd name="T7" fmla="*/ 33971756 h 22"/>
                <a:gd name="T8" fmla="*/ 121870463 w 80"/>
                <a:gd name="T9" fmla="*/ 16986491 h 22"/>
                <a:gd name="T10" fmla="*/ 121870463 w 80"/>
                <a:gd name="T11" fmla="*/ 16986491 h 22"/>
                <a:gd name="T12" fmla="*/ 129994650 w 80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0"/>
                <a:gd name="T22" fmla="*/ 0 h 22"/>
                <a:gd name="T23" fmla="*/ 80 w 80"/>
                <a:gd name="T24" fmla="*/ 22 h 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0" h="22">
                  <a:moveTo>
                    <a:pt x="80" y="0"/>
                  </a:moveTo>
                  <a:lnTo>
                    <a:pt x="75" y="0"/>
                  </a:lnTo>
                  <a:lnTo>
                    <a:pt x="0" y="11"/>
                  </a:lnTo>
                  <a:lnTo>
                    <a:pt x="0" y="22"/>
                  </a:lnTo>
                  <a:lnTo>
                    <a:pt x="75" y="11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69" name="Freeform 32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2472414" y="1930542"/>
              <a:ext cx="59941" cy="34932"/>
            </a:xfrm>
            <a:custGeom>
              <a:avLst/>
              <a:gdLst>
                <a:gd name="T0" fmla="*/ 71090915 w 43"/>
                <a:gd name="T1" fmla="*/ 24867681 h 27"/>
                <a:gd name="T2" fmla="*/ 71090915 w 43"/>
                <a:gd name="T3" fmla="*/ 24867681 h 27"/>
                <a:gd name="T4" fmla="*/ 8265965 w 43"/>
                <a:gd name="T5" fmla="*/ 0 h 27"/>
                <a:gd name="T6" fmla="*/ 0 w 43"/>
                <a:gd name="T7" fmla="*/ 17097455 h 27"/>
                <a:gd name="T8" fmla="*/ 71090915 w 43"/>
                <a:gd name="T9" fmla="*/ 41965141 h 27"/>
                <a:gd name="T10" fmla="*/ 71090915 w 43"/>
                <a:gd name="T11" fmla="*/ 41965141 h 27"/>
                <a:gd name="T12" fmla="*/ 71090915 w 43"/>
                <a:gd name="T13" fmla="*/ 24867681 h 2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3"/>
                <a:gd name="T22" fmla="*/ 0 h 27"/>
                <a:gd name="T23" fmla="*/ 43 w 43"/>
                <a:gd name="T24" fmla="*/ 27 h 2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3" h="27">
                  <a:moveTo>
                    <a:pt x="43" y="16"/>
                  </a:moveTo>
                  <a:lnTo>
                    <a:pt x="43" y="16"/>
                  </a:lnTo>
                  <a:lnTo>
                    <a:pt x="5" y="0"/>
                  </a:lnTo>
                  <a:lnTo>
                    <a:pt x="0" y="11"/>
                  </a:lnTo>
                  <a:lnTo>
                    <a:pt x="43" y="27"/>
                  </a:lnTo>
                  <a:lnTo>
                    <a:pt x="43" y="16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70" name="Freeform 32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2532345" y="1952169"/>
              <a:ext cx="89054" cy="28278"/>
            </a:xfrm>
            <a:custGeom>
              <a:avLst/>
              <a:gdLst>
                <a:gd name="T0" fmla="*/ 105620810 w 65"/>
                <a:gd name="T1" fmla="*/ 9265127 h 22"/>
                <a:gd name="T2" fmla="*/ 105620810 w 65"/>
                <a:gd name="T3" fmla="*/ 9265127 h 22"/>
                <a:gd name="T4" fmla="*/ 0 w 65"/>
                <a:gd name="T5" fmla="*/ 0 h 22"/>
                <a:gd name="T6" fmla="*/ 0 w 65"/>
                <a:gd name="T7" fmla="*/ 16985862 h 22"/>
                <a:gd name="T8" fmla="*/ 105620810 w 65"/>
                <a:gd name="T9" fmla="*/ 33970497 h 22"/>
                <a:gd name="T10" fmla="*/ 105620810 w 65"/>
                <a:gd name="T11" fmla="*/ 33970497 h 22"/>
                <a:gd name="T12" fmla="*/ 105620810 w 65"/>
                <a:gd name="T13" fmla="*/ 9265127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5"/>
                <a:gd name="T22" fmla="*/ 0 h 22"/>
                <a:gd name="T23" fmla="*/ 65 w 65"/>
                <a:gd name="T24" fmla="*/ 22 h 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5" h="22">
                  <a:moveTo>
                    <a:pt x="65" y="6"/>
                  </a:moveTo>
                  <a:lnTo>
                    <a:pt x="65" y="6"/>
                  </a:lnTo>
                  <a:lnTo>
                    <a:pt x="0" y="0"/>
                  </a:lnTo>
                  <a:lnTo>
                    <a:pt x="0" y="11"/>
                  </a:lnTo>
                  <a:lnTo>
                    <a:pt x="65" y="22"/>
                  </a:lnTo>
                  <a:lnTo>
                    <a:pt x="65" y="6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71" name="Freeform 32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2621408" y="1930546"/>
              <a:ext cx="118168" cy="49903"/>
            </a:xfrm>
            <a:custGeom>
              <a:avLst/>
              <a:gdLst>
                <a:gd name="T0" fmla="*/ 140150034 w 86"/>
                <a:gd name="T1" fmla="*/ 9466094 h 38"/>
                <a:gd name="T2" fmla="*/ 130371950 w 86"/>
                <a:gd name="T3" fmla="*/ 0 h 38"/>
                <a:gd name="T4" fmla="*/ 0 w 86"/>
                <a:gd name="T5" fmla="*/ 34707341 h 38"/>
                <a:gd name="T6" fmla="*/ 0 w 86"/>
                <a:gd name="T7" fmla="*/ 59948591 h 38"/>
                <a:gd name="T8" fmla="*/ 140150034 w 86"/>
                <a:gd name="T9" fmla="*/ 17353044 h 38"/>
                <a:gd name="T10" fmla="*/ 140150034 w 86"/>
                <a:gd name="T11" fmla="*/ 9466094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6"/>
                <a:gd name="T19" fmla="*/ 0 h 38"/>
                <a:gd name="T20" fmla="*/ 86 w 86"/>
                <a:gd name="T21" fmla="*/ 38 h 3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6" h="38">
                  <a:moveTo>
                    <a:pt x="86" y="6"/>
                  </a:moveTo>
                  <a:lnTo>
                    <a:pt x="80" y="0"/>
                  </a:lnTo>
                  <a:lnTo>
                    <a:pt x="0" y="22"/>
                  </a:lnTo>
                  <a:lnTo>
                    <a:pt x="0" y="38"/>
                  </a:lnTo>
                  <a:lnTo>
                    <a:pt x="86" y="11"/>
                  </a:lnTo>
                  <a:lnTo>
                    <a:pt x="86" y="6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72" name="Oval 325"/>
            <p:cNvSpPr>
              <a:spLocks noChangeArrowheads="1"/>
            </p:cNvSpPr>
            <p:nvPr>
              <p:custDataLst>
                <p:tags r:id="rId248"/>
              </p:custDataLst>
            </p:nvPr>
          </p:nvSpPr>
          <p:spPr bwMode="auto">
            <a:xfrm>
              <a:off x="2361085" y="1945513"/>
              <a:ext cx="8562" cy="6654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73" name="Oval 326"/>
            <p:cNvSpPr>
              <a:spLocks noChangeArrowheads="1"/>
            </p:cNvSpPr>
            <p:nvPr>
              <p:custDataLst>
                <p:tags r:id="rId249"/>
              </p:custDataLst>
            </p:nvPr>
          </p:nvSpPr>
          <p:spPr bwMode="auto">
            <a:xfrm>
              <a:off x="2732717" y="1930542"/>
              <a:ext cx="15414" cy="14971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74" name="Oval 327"/>
            <p:cNvSpPr>
              <a:spLocks noChangeArrowheads="1"/>
            </p:cNvSpPr>
            <p:nvPr>
              <p:custDataLst>
                <p:tags r:id="rId250"/>
              </p:custDataLst>
            </p:nvPr>
          </p:nvSpPr>
          <p:spPr bwMode="auto">
            <a:xfrm>
              <a:off x="936225" y="2582604"/>
              <a:ext cx="15413" cy="6654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75" name="Rectangle 328"/>
            <p:cNvSpPr>
              <a:spLocks noChangeArrowheads="1"/>
            </p:cNvSpPr>
            <p:nvPr>
              <p:custDataLst>
                <p:tags r:id="rId251"/>
              </p:custDataLst>
            </p:nvPr>
          </p:nvSpPr>
          <p:spPr bwMode="auto">
            <a:xfrm>
              <a:off x="922514" y="2852079"/>
              <a:ext cx="13701" cy="21625"/>
            </a:xfrm>
            <a:prstGeom prst="rect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76" name="Freeform 32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1470551" y="2462855"/>
              <a:ext cx="30827" cy="56556"/>
            </a:xfrm>
            <a:custGeom>
              <a:avLst/>
              <a:gdLst>
                <a:gd name="T0" fmla="*/ 9971375 w 22"/>
                <a:gd name="T1" fmla="*/ 0 h 43"/>
                <a:gd name="T2" fmla="*/ 0 w 22"/>
                <a:gd name="T3" fmla="*/ 0 h 43"/>
                <a:gd name="T4" fmla="*/ 9971375 w 22"/>
                <a:gd name="T5" fmla="*/ 67941968 h 43"/>
                <a:gd name="T6" fmla="*/ 36560411 w 22"/>
                <a:gd name="T7" fmla="*/ 67941968 h 43"/>
                <a:gd name="T8" fmla="*/ 18280206 w 22"/>
                <a:gd name="T9" fmla="*/ 0 h 43"/>
                <a:gd name="T10" fmla="*/ 9971375 w 22"/>
                <a:gd name="T11" fmla="*/ 0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2"/>
                <a:gd name="T19" fmla="*/ 0 h 43"/>
                <a:gd name="T20" fmla="*/ 22 w 22"/>
                <a:gd name="T21" fmla="*/ 43 h 4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2" h="43">
                  <a:moveTo>
                    <a:pt x="6" y="0"/>
                  </a:moveTo>
                  <a:lnTo>
                    <a:pt x="0" y="0"/>
                  </a:lnTo>
                  <a:lnTo>
                    <a:pt x="6" y="43"/>
                  </a:lnTo>
                  <a:lnTo>
                    <a:pt x="22" y="43"/>
                  </a:lnTo>
                  <a:lnTo>
                    <a:pt x="11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77" name="Oval 330"/>
            <p:cNvSpPr>
              <a:spLocks noChangeArrowheads="1"/>
            </p:cNvSpPr>
            <p:nvPr>
              <p:custDataLst>
                <p:tags r:id="rId253"/>
              </p:custDataLst>
            </p:nvPr>
          </p:nvSpPr>
          <p:spPr bwMode="auto">
            <a:xfrm>
              <a:off x="1448287" y="1852379"/>
              <a:ext cx="8563" cy="14970"/>
            </a:xfrm>
            <a:prstGeom prst="ellipse">
              <a:avLst/>
            </a:prstGeom>
            <a:solidFill>
              <a:srgbClr val="25221E"/>
            </a:solidFill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78" name="Oval 331"/>
            <p:cNvSpPr>
              <a:spLocks noChangeArrowheads="1"/>
            </p:cNvSpPr>
            <p:nvPr>
              <p:custDataLst>
                <p:tags r:id="rId254"/>
              </p:custDataLst>
            </p:nvPr>
          </p:nvSpPr>
          <p:spPr bwMode="auto">
            <a:xfrm>
              <a:off x="1597283" y="2022033"/>
              <a:ext cx="6850" cy="14970"/>
            </a:xfrm>
            <a:prstGeom prst="ellipse">
              <a:avLst/>
            </a:prstGeom>
            <a:solidFill>
              <a:srgbClr val="25221E"/>
            </a:solidFill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79" name="Oval 332"/>
            <p:cNvSpPr>
              <a:spLocks noChangeArrowheads="1"/>
            </p:cNvSpPr>
            <p:nvPr>
              <p:custDataLst>
                <p:tags r:id="rId255"/>
              </p:custDataLst>
            </p:nvPr>
          </p:nvSpPr>
          <p:spPr bwMode="auto">
            <a:xfrm>
              <a:off x="1537331" y="2369686"/>
              <a:ext cx="15414" cy="14971"/>
            </a:xfrm>
            <a:prstGeom prst="ellipse">
              <a:avLst/>
            </a:prstGeom>
            <a:solidFill>
              <a:srgbClr val="25221E"/>
            </a:solidFill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80" name="Oval 333"/>
            <p:cNvSpPr>
              <a:spLocks noChangeArrowheads="1"/>
            </p:cNvSpPr>
            <p:nvPr>
              <p:custDataLst>
                <p:tags r:id="rId256"/>
              </p:custDataLst>
            </p:nvPr>
          </p:nvSpPr>
          <p:spPr bwMode="auto">
            <a:xfrm>
              <a:off x="1470551" y="2456184"/>
              <a:ext cx="15413" cy="6654"/>
            </a:xfrm>
            <a:prstGeom prst="ellipse">
              <a:avLst/>
            </a:prstGeom>
            <a:solidFill>
              <a:srgbClr val="25221E"/>
            </a:solidFill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81" name="Oval 334"/>
            <p:cNvSpPr>
              <a:spLocks noChangeArrowheads="1"/>
            </p:cNvSpPr>
            <p:nvPr>
              <p:custDataLst>
                <p:tags r:id="rId257"/>
              </p:custDataLst>
            </p:nvPr>
          </p:nvSpPr>
          <p:spPr bwMode="auto">
            <a:xfrm>
              <a:off x="1485963" y="2512740"/>
              <a:ext cx="8563" cy="13307"/>
            </a:xfrm>
            <a:prstGeom prst="ellipse">
              <a:avLst/>
            </a:prstGeom>
            <a:solidFill>
              <a:srgbClr val="25221E"/>
            </a:solidFill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82" name="Oval 335"/>
            <p:cNvSpPr>
              <a:spLocks noChangeArrowheads="1"/>
            </p:cNvSpPr>
            <p:nvPr>
              <p:custDataLst>
                <p:tags r:id="rId258"/>
              </p:custDataLst>
            </p:nvPr>
          </p:nvSpPr>
          <p:spPr bwMode="auto">
            <a:xfrm>
              <a:off x="1403750" y="1321727"/>
              <a:ext cx="6850" cy="13307"/>
            </a:xfrm>
            <a:prstGeom prst="ellipse">
              <a:avLst/>
            </a:prstGeom>
            <a:solidFill>
              <a:srgbClr val="25221E"/>
            </a:solidFill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83" name="Oval 336"/>
            <p:cNvSpPr>
              <a:spLocks noChangeArrowheads="1"/>
            </p:cNvSpPr>
            <p:nvPr>
              <p:custDataLst>
                <p:tags r:id="rId259"/>
              </p:custDataLst>
            </p:nvPr>
          </p:nvSpPr>
          <p:spPr bwMode="auto">
            <a:xfrm>
              <a:off x="2510081" y="2321447"/>
              <a:ext cx="15414" cy="6654"/>
            </a:xfrm>
            <a:prstGeom prst="ellipse">
              <a:avLst/>
            </a:prstGeom>
            <a:solidFill>
              <a:srgbClr val="25221E"/>
            </a:solidFill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84" name="Oval 337"/>
            <p:cNvSpPr>
              <a:spLocks noChangeArrowheads="1"/>
            </p:cNvSpPr>
            <p:nvPr>
              <p:custDataLst>
                <p:tags r:id="rId260"/>
              </p:custDataLst>
            </p:nvPr>
          </p:nvSpPr>
          <p:spPr bwMode="auto">
            <a:xfrm>
              <a:off x="2398762" y="2697381"/>
              <a:ext cx="13701" cy="13307"/>
            </a:xfrm>
            <a:prstGeom prst="ellipse">
              <a:avLst/>
            </a:prstGeom>
            <a:solidFill>
              <a:srgbClr val="25221E"/>
            </a:solidFill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85" name="Oval 338"/>
            <p:cNvSpPr>
              <a:spLocks noChangeArrowheads="1"/>
            </p:cNvSpPr>
            <p:nvPr>
              <p:custDataLst>
                <p:tags r:id="rId261"/>
              </p:custDataLst>
            </p:nvPr>
          </p:nvSpPr>
          <p:spPr bwMode="auto">
            <a:xfrm>
              <a:off x="1991168" y="3149831"/>
              <a:ext cx="6850" cy="6654"/>
            </a:xfrm>
            <a:prstGeom prst="ellipse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86" name="Freeform 339"/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989304" y="6227187"/>
              <a:ext cx="15414" cy="108122"/>
            </a:xfrm>
            <a:custGeom>
              <a:avLst/>
              <a:gdLst>
                <a:gd name="T0" fmla="*/ 18280845 w 11"/>
                <a:gd name="T1" fmla="*/ 112249619 h 81"/>
                <a:gd name="T2" fmla="*/ 18280845 w 11"/>
                <a:gd name="T3" fmla="*/ 120266354 h 81"/>
                <a:gd name="T4" fmla="*/ 18280845 w 11"/>
                <a:gd name="T5" fmla="*/ 0 h 81"/>
                <a:gd name="T6" fmla="*/ 0 w 11"/>
                <a:gd name="T7" fmla="*/ 0 h 81"/>
                <a:gd name="T8" fmla="*/ 0 w 11"/>
                <a:gd name="T9" fmla="*/ 120266354 h 81"/>
                <a:gd name="T10" fmla="*/ 0 w 11"/>
                <a:gd name="T11" fmla="*/ 129888220 h 81"/>
                <a:gd name="T12" fmla="*/ 0 w 11"/>
                <a:gd name="T13" fmla="*/ 120266354 h 81"/>
                <a:gd name="T14" fmla="*/ 0 w 11"/>
                <a:gd name="T15" fmla="*/ 120266354 h 81"/>
                <a:gd name="T16" fmla="*/ 0 w 11"/>
                <a:gd name="T17" fmla="*/ 129888220 h 81"/>
                <a:gd name="T18" fmla="*/ 18280845 w 11"/>
                <a:gd name="T19" fmla="*/ 112249619 h 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81"/>
                <a:gd name="T32" fmla="*/ 11 w 11"/>
                <a:gd name="T33" fmla="*/ 81 h 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81">
                  <a:moveTo>
                    <a:pt x="11" y="70"/>
                  </a:moveTo>
                  <a:lnTo>
                    <a:pt x="11" y="75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1" y="7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87" name="Freeform 340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1040682" y="5064452"/>
              <a:ext cx="82204" cy="78181"/>
            </a:xfrm>
            <a:custGeom>
              <a:avLst/>
              <a:gdLst>
                <a:gd name="T0" fmla="*/ 26440112 w 59"/>
                <a:gd name="T1" fmla="*/ 85960516 h 59"/>
                <a:gd name="T2" fmla="*/ 26440112 w 59"/>
                <a:gd name="T3" fmla="*/ 93920077 h 59"/>
                <a:gd name="T4" fmla="*/ 97495978 w 59"/>
                <a:gd name="T5" fmla="*/ 9551729 h 59"/>
                <a:gd name="T6" fmla="*/ 87580940 w 59"/>
                <a:gd name="T7" fmla="*/ 0 h 59"/>
                <a:gd name="T8" fmla="*/ 8261889 w 59"/>
                <a:gd name="T9" fmla="*/ 85960516 h 59"/>
                <a:gd name="T10" fmla="*/ 8261889 w 59"/>
                <a:gd name="T11" fmla="*/ 93920077 h 59"/>
                <a:gd name="T12" fmla="*/ 8261889 w 59"/>
                <a:gd name="T13" fmla="*/ 85960516 h 59"/>
                <a:gd name="T14" fmla="*/ 0 w 59"/>
                <a:gd name="T15" fmla="*/ 85960516 h 59"/>
                <a:gd name="T16" fmla="*/ 8261889 w 59"/>
                <a:gd name="T17" fmla="*/ 93920077 h 59"/>
                <a:gd name="T18" fmla="*/ 26440112 w 59"/>
                <a:gd name="T19" fmla="*/ 85960516 h 5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9"/>
                <a:gd name="T31" fmla="*/ 0 h 59"/>
                <a:gd name="T32" fmla="*/ 59 w 59"/>
                <a:gd name="T33" fmla="*/ 59 h 5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9" h="59">
                  <a:moveTo>
                    <a:pt x="16" y="54"/>
                  </a:moveTo>
                  <a:lnTo>
                    <a:pt x="16" y="59"/>
                  </a:lnTo>
                  <a:lnTo>
                    <a:pt x="59" y="6"/>
                  </a:lnTo>
                  <a:lnTo>
                    <a:pt x="53" y="0"/>
                  </a:lnTo>
                  <a:lnTo>
                    <a:pt x="5" y="54"/>
                  </a:lnTo>
                  <a:lnTo>
                    <a:pt x="5" y="59"/>
                  </a:lnTo>
                  <a:lnTo>
                    <a:pt x="5" y="54"/>
                  </a:lnTo>
                  <a:lnTo>
                    <a:pt x="0" y="54"/>
                  </a:lnTo>
                  <a:lnTo>
                    <a:pt x="5" y="59"/>
                  </a:lnTo>
                  <a:lnTo>
                    <a:pt x="16" y="54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88" name="Freeform 341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1047532" y="5135962"/>
              <a:ext cx="82204" cy="71527"/>
            </a:xfrm>
            <a:custGeom>
              <a:avLst/>
              <a:gdLst>
                <a:gd name="T0" fmla="*/ 97495978 w 59"/>
                <a:gd name="T1" fmla="*/ 76377592 h 54"/>
                <a:gd name="T2" fmla="*/ 89234092 w 59"/>
                <a:gd name="T3" fmla="*/ 68422543 h 54"/>
                <a:gd name="T4" fmla="*/ 18176929 w 59"/>
                <a:gd name="T5" fmla="*/ 0 h 54"/>
                <a:gd name="T6" fmla="*/ 0 w 59"/>
                <a:gd name="T7" fmla="*/ 7956316 h 54"/>
                <a:gd name="T8" fmla="*/ 79319034 w 59"/>
                <a:gd name="T9" fmla="*/ 85925440 h 54"/>
                <a:gd name="T10" fmla="*/ 71055856 w 59"/>
                <a:gd name="T11" fmla="*/ 76377592 h 54"/>
                <a:gd name="T12" fmla="*/ 97495978 w 59"/>
                <a:gd name="T13" fmla="*/ 76377592 h 54"/>
                <a:gd name="T14" fmla="*/ 97495978 w 59"/>
                <a:gd name="T15" fmla="*/ 76377592 h 54"/>
                <a:gd name="T16" fmla="*/ 89234092 w 59"/>
                <a:gd name="T17" fmla="*/ 68422543 h 54"/>
                <a:gd name="T18" fmla="*/ 97495978 w 59"/>
                <a:gd name="T19" fmla="*/ 76377592 h 5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9"/>
                <a:gd name="T31" fmla="*/ 0 h 54"/>
                <a:gd name="T32" fmla="*/ 59 w 59"/>
                <a:gd name="T33" fmla="*/ 54 h 5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9" h="54">
                  <a:moveTo>
                    <a:pt x="59" y="48"/>
                  </a:moveTo>
                  <a:lnTo>
                    <a:pt x="54" y="43"/>
                  </a:lnTo>
                  <a:lnTo>
                    <a:pt x="11" y="0"/>
                  </a:lnTo>
                  <a:lnTo>
                    <a:pt x="0" y="5"/>
                  </a:lnTo>
                  <a:lnTo>
                    <a:pt x="48" y="54"/>
                  </a:lnTo>
                  <a:lnTo>
                    <a:pt x="43" y="48"/>
                  </a:lnTo>
                  <a:lnTo>
                    <a:pt x="59" y="48"/>
                  </a:lnTo>
                  <a:lnTo>
                    <a:pt x="54" y="43"/>
                  </a:lnTo>
                  <a:lnTo>
                    <a:pt x="59" y="48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89" name="Rectangle 342"/>
            <p:cNvSpPr>
              <a:spLocks noChangeArrowheads="1"/>
            </p:cNvSpPr>
            <p:nvPr>
              <p:custDataLst>
                <p:tags r:id="rId265"/>
              </p:custDataLst>
            </p:nvPr>
          </p:nvSpPr>
          <p:spPr bwMode="auto">
            <a:xfrm>
              <a:off x="2262604" y="4623210"/>
              <a:ext cx="450444" cy="1231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800" b="1">
                  <a:solidFill>
                    <a:schemeClr val="tx1"/>
                  </a:solidFill>
                  <a:ea typeface="MS PGothic" pitchFamily="34" charset="-128"/>
                </a:rPr>
                <a:t>FO TASA</a:t>
              </a:r>
              <a:endParaRPr lang="es-ES" altLang="es-AR" sz="1400">
                <a:solidFill>
                  <a:schemeClr val="tx1"/>
                </a:solidFill>
                <a:ea typeface="MS PGothic" pitchFamily="34" charset="-128"/>
              </a:endParaRPr>
            </a:p>
          </p:txBody>
        </p:sp>
        <p:sp>
          <p:nvSpPr>
            <p:cNvPr id="291" name="Freeform 344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2052821" y="4665211"/>
              <a:ext cx="140432" cy="14971"/>
            </a:xfrm>
            <a:custGeom>
              <a:avLst/>
              <a:gdLst>
                <a:gd name="T0" fmla="*/ 166555074 w 102"/>
                <a:gd name="T1" fmla="*/ 8175334 h 11"/>
                <a:gd name="T2" fmla="*/ 166555074 w 102"/>
                <a:gd name="T3" fmla="*/ 0 h 11"/>
                <a:gd name="T4" fmla="*/ 0 w 102"/>
                <a:gd name="T5" fmla="*/ 0 h 11"/>
                <a:gd name="T6" fmla="*/ 0 w 102"/>
                <a:gd name="T7" fmla="*/ 17984694 h 11"/>
                <a:gd name="T8" fmla="*/ 166555074 w 102"/>
                <a:gd name="T9" fmla="*/ 17984694 h 11"/>
                <a:gd name="T10" fmla="*/ 166555074 w 102"/>
                <a:gd name="T11" fmla="*/ 8175334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2"/>
                <a:gd name="T19" fmla="*/ 0 h 11"/>
                <a:gd name="T20" fmla="*/ 102 w 102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2" h="11">
                  <a:moveTo>
                    <a:pt x="102" y="5"/>
                  </a:moveTo>
                  <a:lnTo>
                    <a:pt x="10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102" y="11"/>
                  </a:lnTo>
                  <a:lnTo>
                    <a:pt x="102" y="5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92" name="Freeform 348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2004877" y="4597030"/>
              <a:ext cx="8562" cy="269475"/>
            </a:xfrm>
            <a:custGeom>
              <a:avLst/>
              <a:gdLst>
                <a:gd name="T0" fmla="*/ 10155391 w 6"/>
                <a:gd name="T1" fmla="*/ 0 h 344"/>
                <a:gd name="T2" fmla="*/ 0 w 6"/>
                <a:gd name="T3" fmla="*/ 0 h 344"/>
                <a:gd name="T4" fmla="*/ 0 w 6"/>
                <a:gd name="T5" fmla="*/ 191975135 h 344"/>
                <a:gd name="T6" fmla="*/ 10155391 w 6"/>
                <a:gd name="T7" fmla="*/ 191975135 h 344"/>
                <a:gd name="T8" fmla="*/ 10155391 w 6"/>
                <a:gd name="T9" fmla="*/ 0 h 344"/>
                <a:gd name="T10" fmla="*/ 10155391 w 6"/>
                <a:gd name="T11" fmla="*/ 2790049 h 344"/>
                <a:gd name="T12" fmla="*/ 10155391 w 6"/>
                <a:gd name="T13" fmla="*/ 0 h 344"/>
                <a:gd name="T14" fmla="*/ 0 w 6"/>
                <a:gd name="T15" fmla="*/ 0 h 344"/>
                <a:gd name="T16" fmla="*/ 0 w 6"/>
                <a:gd name="T17" fmla="*/ 0 h 344"/>
                <a:gd name="T18" fmla="*/ 10155391 w 6"/>
                <a:gd name="T19" fmla="*/ 0 h 34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344"/>
                <a:gd name="T32" fmla="*/ 6 w 6"/>
                <a:gd name="T33" fmla="*/ 344 h 34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344">
                  <a:moveTo>
                    <a:pt x="6" y="0"/>
                  </a:moveTo>
                  <a:lnTo>
                    <a:pt x="0" y="0"/>
                  </a:lnTo>
                  <a:lnTo>
                    <a:pt x="0" y="344"/>
                  </a:lnTo>
                  <a:lnTo>
                    <a:pt x="6" y="344"/>
                  </a:lnTo>
                  <a:lnTo>
                    <a:pt x="6" y="0"/>
                  </a:lnTo>
                  <a:lnTo>
                    <a:pt x="6" y="5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25221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93" name="Freeform 349"/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1441427" y="1867332"/>
              <a:ext cx="15414" cy="226226"/>
            </a:xfrm>
            <a:custGeom>
              <a:avLst/>
              <a:gdLst>
                <a:gd name="T0" fmla="*/ 8309121 w 11"/>
                <a:gd name="T1" fmla="*/ 271766617 h 172"/>
                <a:gd name="T2" fmla="*/ 18280845 w 11"/>
                <a:gd name="T3" fmla="*/ 271766617 h 172"/>
                <a:gd name="T4" fmla="*/ 18280845 w 11"/>
                <a:gd name="T5" fmla="*/ 0 h 172"/>
                <a:gd name="T6" fmla="*/ 0 w 11"/>
                <a:gd name="T7" fmla="*/ 0 h 172"/>
                <a:gd name="T8" fmla="*/ 0 w 11"/>
                <a:gd name="T9" fmla="*/ 271766617 h 172"/>
                <a:gd name="T10" fmla="*/ 8309121 w 11"/>
                <a:gd name="T11" fmla="*/ 271766617 h 1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172"/>
                <a:gd name="T20" fmla="*/ 11 w 11"/>
                <a:gd name="T21" fmla="*/ 172 h 17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172">
                  <a:moveTo>
                    <a:pt x="5" y="172"/>
                  </a:moveTo>
                  <a:lnTo>
                    <a:pt x="11" y="172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172"/>
                  </a:lnTo>
                  <a:lnTo>
                    <a:pt x="5" y="172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94" name="Freeform 350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1537331" y="2037000"/>
              <a:ext cx="75354" cy="341004"/>
            </a:xfrm>
            <a:custGeom>
              <a:avLst/>
              <a:gdLst>
                <a:gd name="T0" fmla="*/ 8274638 w 54"/>
                <a:gd name="T1" fmla="*/ 400122205 h 258"/>
                <a:gd name="T2" fmla="*/ 18204980 w 54"/>
                <a:gd name="T3" fmla="*/ 409649461 h 258"/>
                <a:gd name="T4" fmla="*/ 89371797 w 54"/>
                <a:gd name="T5" fmla="*/ 0 h 258"/>
                <a:gd name="T6" fmla="*/ 71166802 w 54"/>
                <a:gd name="T7" fmla="*/ 0 h 258"/>
                <a:gd name="T8" fmla="*/ 0 w 54"/>
                <a:gd name="T9" fmla="*/ 400122205 h 258"/>
                <a:gd name="T10" fmla="*/ 8274638 w 54"/>
                <a:gd name="T11" fmla="*/ 400122205 h 2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4"/>
                <a:gd name="T19" fmla="*/ 0 h 258"/>
                <a:gd name="T20" fmla="*/ 54 w 54"/>
                <a:gd name="T21" fmla="*/ 258 h 25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4" h="258">
                  <a:moveTo>
                    <a:pt x="5" y="252"/>
                  </a:moveTo>
                  <a:lnTo>
                    <a:pt x="11" y="258"/>
                  </a:lnTo>
                  <a:lnTo>
                    <a:pt x="54" y="0"/>
                  </a:lnTo>
                  <a:lnTo>
                    <a:pt x="43" y="0"/>
                  </a:lnTo>
                  <a:lnTo>
                    <a:pt x="0" y="252"/>
                  </a:lnTo>
                  <a:lnTo>
                    <a:pt x="5" y="252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95" name="Rectangle 351"/>
            <p:cNvSpPr>
              <a:spLocks noChangeArrowheads="1"/>
            </p:cNvSpPr>
            <p:nvPr>
              <p:custDataLst>
                <p:tags r:id="rId270"/>
              </p:custDataLst>
            </p:nvPr>
          </p:nvSpPr>
          <p:spPr bwMode="auto">
            <a:xfrm>
              <a:off x="2398762" y="3164801"/>
              <a:ext cx="13701" cy="21625"/>
            </a:xfrm>
            <a:prstGeom prst="rect">
              <a:avLst/>
            </a:prstGeom>
            <a:solidFill>
              <a:srgbClr val="99CC00"/>
            </a:solidFill>
            <a:ln w="0">
              <a:solidFill>
                <a:srgbClr val="99CC00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/>
              <a:endParaRPr lang="es-AR" sz="1200" b="1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296" name="Freeform 352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1744564" y="4234390"/>
              <a:ext cx="22263" cy="21624"/>
            </a:xfrm>
            <a:custGeom>
              <a:avLst/>
              <a:gdLst>
                <a:gd name="T0" fmla="*/ 0 w 16"/>
                <a:gd name="T1" fmla="*/ 17858740 h 16"/>
                <a:gd name="T2" fmla="*/ 9901888 w 16"/>
                <a:gd name="T3" fmla="*/ 0 h 16"/>
                <a:gd name="T4" fmla="*/ 26405039 w 16"/>
                <a:gd name="T5" fmla="*/ 9741952 h 16"/>
                <a:gd name="T6" fmla="*/ 18154107 w 16"/>
                <a:gd name="T7" fmla="*/ 25976821 h 16"/>
                <a:gd name="T8" fmla="*/ 0 w 16"/>
                <a:gd name="T9" fmla="*/ 17858740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16"/>
                <a:gd name="T17" fmla="*/ 16 w 16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16">
                  <a:moveTo>
                    <a:pt x="0" y="11"/>
                  </a:moveTo>
                  <a:lnTo>
                    <a:pt x="6" y="0"/>
                  </a:lnTo>
                  <a:lnTo>
                    <a:pt x="16" y="6"/>
                  </a:lnTo>
                  <a:lnTo>
                    <a:pt x="11" y="16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25221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97" name="Freeform 353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684464" y="5887847"/>
              <a:ext cx="200373" cy="134737"/>
            </a:xfrm>
            <a:custGeom>
              <a:avLst/>
              <a:gdLst>
                <a:gd name="T0" fmla="*/ 8194247 w 145"/>
                <a:gd name="T1" fmla="*/ 17455055 h 102"/>
                <a:gd name="T2" fmla="*/ 0 w 145"/>
                <a:gd name="T3" fmla="*/ 17455055 h 102"/>
                <a:gd name="T4" fmla="*/ 227813405 w 145"/>
                <a:gd name="T5" fmla="*/ 161860768 h 102"/>
                <a:gd name="T6" fmla="*/ 237647268 w 145"/>
                <a:gd name="T7" fmla="*/ 144405719 h 102"/>
                <a:gd name="T8" fmla="*/ 8194247 w 145"/>
                <a:gd name="T9" fmla="*/ 7934574 h 102"/>
                <a:gd name="T10" fmla="*/ 0 w 145"/>
                <a:gd name="T11" fmla="*/ 7934574 h 102"/>
                <a:gd name="T12" fmla="*/ 8194247 w 145"/>
                <a:gd name="T13" fmla="*/ 7934574 h 102"/>
                <a:gd name="T14" fmla="*/ 0 w 145"/>
                <a:gd name="T15" fmla="*/ 0 h 102"/>
                <a:gd name="T16" fmla="*/ 0 w 145"/>
                <a:gd name="T17" fmla="*/ 7934574 h 102"/>
                <a:gd name="T18" fmla="*/ 8194247 w 145"/>
                <a:gd name="T19" fmla="*/ 17455055 h 10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5"/>
                <a:gd name="T31" fmla="*/ 0 h 102"/>
                <a:gd name="T32" fmla="*/ 145 w 145"/>
                <a:gd name="T33" fmla="*/ 102 h 10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5" h="102">
                  <a:moveTo>
                    <a:pt x="5" y="11"/>
                  </a:moveTo>
                  <a:lnTo>
                    <a:pt x="0" y="11"/>
                  </a:lnTo>
                  <a:lnTo>
                    <a:pt x="139" y="102"/>
                  </a:lnTo>
                  <a:lnTo>
                    <a:pt x="145" y="91"/>
                  </a:lnTo>
                  <a:lnTo>
                    <a:pt x="5" y="5"/>
                  </a:lnTo>
                  <a:lnTo>
                    <a:pt x="0" y="5"/>
                  </a:lnTo>
                  <a:lnTo>
                    <a:pt x="5" y="5"/>
                  </a:lnTo>
                  <a:lnTo>
                    <a:pt x="0" y="0"/>
                  </a:lnTo>
                  <a:lnTo>
                    <a:pt x="0" y="5"/>
                  </a:lnTo>
                  <a:lnTo>
                    <a:pt x="5" y="11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98" name="Freeform 354"/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528619" y="5894482"/>
              <a:ext cx="162695" cy="106459"/>
            </a:xfrm>
            <a:custGeom>
              <a:avLst/>
              <a:gdLst>
                <a:gd name="T0" fmla="*/ 17987527 w 118"/>
                <a:gd name="T1" fmla="*/ 119995866 h 81"/>
                <a:gd name="T2" fmla="*/ 17987527 w 118"/>
                <a:gd name="T3" fmla="*/ 127890559 h 81"/>
                <a:gd name="T4" fmla="*/ 192960150 w 118"/>
                <a:gd name="T5" fmla="*/ 9473885 h 81"/>
                <a:gd name="T6" fmla="*/ 184784352 w 118"/>
                <a:gd name="T7" fmla="*/ 0 h 81"/>
                <a:gd name="T8" fmla="*/ 0 w 118"/>
                <a:gd name="T9" fmla="*/ 110523237 h 81"/>
                <a:gd name="T10" fmla="*/ 0 w 118"/>
                <a:gd name="T11" fmla="*/ 119995866 h 81"/>
                <a:gd name="T12" fmla="*/ 0 w 118"/>
                <a:gd name="T13" fmla="*/ 110523237 h 81"/>
                <a:gd name="T14" fmla="*/ 0 w 118"/>
                <a:gd name="T15" fmla="*/ 110523237 h 81"/>
                <a:gd name="T16" fmla="*/ 0 w 118"/>
                <a:gd name="T17" fmla="*/ 119995866 h 81"/>
                <a:gd name="T18" fmla="*/ 17987527 w 118"/>
                <a:gd name="T19" fmla="*/ 119995866 h 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8"/>
                <a:gd name="T31" fmla="*/ 0 h 81"/>
                <a:gd name="T32" fmla="*/ 118 w 118"/>
                <a:gd name="T33" fmla="*/ 81 h 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8" h="81">
                  <a:moveTo>
                    <a:pt x="11" y="76"/>
                  </a:moveTo>
                  <a:lnTo>
                    <a:pt x="11" y="81"/>
                  </a:lnTo>
                  <a:lnTo>
                    <a:pt x="118" y="6"/>
                  </a:lnTo>
                  <a:lnTo>
                    <a:pt x="113" y="0"/>
                  </a:lnTo>
                  <a:lnTo>
                    <a:pt x="0" y="70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0" y="76"/>
                  </a:lnTo>
                  <a:lnTo>
                    <a:pt x="11" y="76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299" name="Freeform 355"/>
            <p:cNvSpPr>
              <a:spLocks/>
            </p:cNvSpPr>
            <p:nvPr>
              <p:custDataLst>
                <p:tags r:id="rId274"/>
              </p:custDataLst>
            </p:nvPr>
          </p:nvSpPr>
          <p:spPr bwMode="auto">
            <a:xfrm>
              <a:off x="520067" y="5994308"/>
              <a:ext cx="23976" cy="48239"/>
            </a:xfrm>
            <a:custGeom>
              <a:avLst/>
              <a:gdLst>
                <a:gd name="T0" fmla="*/ 10036547 w 17"/>
                <a:gd name="T1" fmla="*/ 57949380 h 37"/>
                <a:gd name="T2" fmla="*/ 18399682 w 17"/>
                <a:gd name="T3" fmla="*/ 57949380 h 37"/>
                <a:gd name="T4" fmla="*/ 28436231 w 17"/>
                <a:gd name="T5" fmla="*/ 0 h 37"/>
                <a:gd name="T6" fmla="*/ 10036547 w 17"/>
                <a:gd name="T7" fmla="*/ 0 h 37"/>
                <a:gd name="T8" fmla="*/ 0 w 17"/>
                <a:gd name="T9" fmla="*/ 57949380 h 37"/>
                <a:gd name="T10" fmla="*/ 10036547 w 17"/>
                <a:gd name="T11" fmla="*/ 57949380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37"/>
                <a:gd name="T20" fmla="*/ 17 w 17"/>
                <a:gd name="T21" fmla="*/ 37 h 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37">
                  <a:moveTo>
                    <a:pt x="6" y="37"/>
                  </a:moveTo>
                  <a:lnTo>
                    <a:pt x="11" y="37"/>
                  </a:lnTo>
                  <a:lnTo>
                    <a:pt x="17" y="0"/>
                  </a:lnTo>
                  <a:lnTo>
                    <a:pt x="6" y="0"/>
                  </a:lnTo>
                  <a:lnTo>
                    <a:pt x="0" y="37"/>
                  </a:lnTo>
                  <a:lnTo>
                    <a:pt x="6" y="37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00" name="Freeform 356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595411" y="5801332"/>
              <a:ext cx="95905" cy="99805"/>
            </a:xfrm>
            <a:custGeom>
              <a:avLst/>
              <a:gdLst>
                <a:gd name="T0" fmla="*/ 0 w 70"/>
                <a:gd name="T1" fmla="*/ 17353044 h 76"/>
                <a:gd name="T2" fmla="*/ 0 w 70"/>
                <a:gd name="T3" fmla="*/ 17353044 h 76"/>
                <a:gd name="T4" fmla="*/ 105620814 w 70"/>
                <a:gd name="T5" fmla="*/ 119897182 h 76"/>
                <a:gd name="T6" fmla="*/ 113745000 w 70"/>
                <a:gd name="T7" fmla="*/ 110431090 h 76"/>
                <a:gd name="T8" fmla="*/ 9749788 w 70"/>
                <a:gd name="T9" fmla="*/ 0 h 76"/>
                <a:gd name="T10" fmla="*/ 9749788 w 70"/>
                <a:gd name="T11" fmla="*/ 0 h 76"/>
                <a:gd name="T12" fmla="*/ 0 w 70"/>
                <a:gd name="T13" fmla="*/ 17353044 h 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0"/>
                <a:gd name="T22" fmla="*/ 0 h 76"/>
                <a:gd name="T23" fmla="*/ 70 w 70"/>
                <a:gd name="T24" fmla="*/ 76 h 7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0" h="76">
                  <a:moveTo>
                    <a:pt x="0" y="11"/>
                  </a:moveTo>
                  <a:lnTo>
                    <a:pt x="0" y="11"/>
                  </a:lnTo>
                  <a:lnTo>
                    <a:pt x="65" y="76"/>
                  </a:lnTo>
                  <a:lnTo>
                    <a:pt x="70" y="70"/>
                  </a:lnTo>
                  <a:lnTo>
                    <a:pt x="6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01" name="Freeform 357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513215" y="5781388"/>
              <a:ext cx="90768" cy="34931"/>
            </a:xfrm>
            <a:custGeom>
              <a:avLst/>
              <a:gdLst>
                <a:gd name="T0" fmla="*/ 8280472 w 65"/>
                <a:gd name="T1" fmla="*/ 9325717 h 27"/>
                <a:gd name="T2" fmla="*/ 0 w 65"/>
                <a:gd name="T3" fmla="*/ 17096942 h 27"/>
                <a:gd name="T4" fmla="*/ 97715279 w 65"/>
                <a:gd name="T5" fmla="*/ 41963882 h 27"/>
                <a:gd name="T6" fmla="*/ 107652619 w 65"/>
                <a:gd name="T7" fmla="*/ 24866935 h 27"/>
                <a:gd name="T8" fmla="*/ 8280472 w 65"/>
                <a:gd name="T9" fmla="*/ 0 h 27"/>
                <a:gd name="T10" fmla="*/ 8280472 w 65"/>
                <a:gd name="T11" fmla="*/ 9325717 h 2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5"/>
                <a:gd name="T19" fmla="*/ 0 h 27"/>
                <a:gd name="T20" fmla="*/ 65 w 65"/>
                <a:gd name="T21" fmla="*/ 27 h 2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5" h="27">
                  <a:moveTo>
                    <a:pt x="5" y="6"/>
                  </a:moveTo>
                  <a:lnTo>
                    <a:pt x="0" y="11"/>
                  </a:lnTo>
                  <a:lnTo>
                    <a:pt x="59" y="27"/>
                  </a:lnTo>
                  <a:lnTo>
                    <a:pt x="65" y="16"/>
                  </a:lnTo>
                  <a:lnTo>
                    <a:pt x="5" y="0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02" name="Freeform 358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2405622" y="1710970"/>
              <a:ext cx="15413" cy="21625"/>
            </a:xfrm>
            <a:custGeom>
              <a:avLst/>
              <a:gdLst>
                <a:gd name="T0" fmla="*/ 0 w 10"/>
                <a:gd name="T1" fmla="*/ 0 h 16"/>
                <a:gd name="T2" fmla="*/ 18280215 w 10"/>
                <a:gd name="T3" fmla="*/ 8118472 h 16"/>
                <a:gd name="T4" fmla="*/ 18280215 w 10"/>
                <a:gd name="T5" fmla="*/ 25978080 h 16"/>
                <a:gd name="T6" fmla="*/ 0 w 10"/>
                <a:gd name="T7" fmla="*/ 16236944 h 16"/>
                <a:gd name="T8" fmla="*/ 0 w 10"/>
                <a:gd name="T9" fmla="*/ 0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16"/>
                <a:gd name="T17" fmla="*/ 10 w 10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16">
                  <a:moveTo>
                    <a:pt x="0" y="0"/>
                  </a:moveTo>
                  <a:lnTo>
                    <a:pt x="10" y="5"/>
                  </a:lnTo>
                  <a:lnTo>
                    <a:pt x="10" y="16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5221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03" name="Freeform 359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842033" y="5736456"/>
              <a:ext cx="178109" cy="405877"/>
            </a:xfrm>
            <a:custGeom>
              <a:avLst/>
              <a:gdLst>
                <a:gd name="T0" fmla="*/ 211240951 w 129"/>
                <a:gd name="T1" fmla="*/ 0 h 308"/>
                <a:gd name="T2" fmla="*/ 34388148 w 129"/>
                <a:gd name="T3" fmla="*/ 94983755 h 308"/>
                <a:gd name="T4" fmla="*/ 8187167 w 129"/>
                <a:gd name="T5" fmla="*/ 227960494 h 308"/>
                <a:gd name="T6" fmla="*/ 34388148 w 129"/>
                <a:gd name="T7" fmla="*/ 322944210 h 308"/>
                <a:gd name="T8" fmla="*/ 112989819 w 129"/>
                <a:gd name="T9" fmla="*/ 379933763 h 308"/>
                <a:gd name="T10" fmla="*/ 171940770 w 129"/>
                <a:gd name="T11" fmla="*/ 487581807 h 30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9"/>
                <a:gd name="T19" fmla="*/ 0 h 308"/>
                <a:gd name="T20" fmla="*/ 129 w 129"/>
                <a:gd name="T21" fmla="*/ 308 h 30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9" h="308">
                  <a:moveTo>
                    <a:pt x="129" y="0"/>
                  </a:moveTo>
                  <a:cubicBezTo>
                    <a:pt x="85" y="18"/>
                    <a:pt x="42" y="36"/>
                    <a:pt x="21" y="60"/>
                  </a:cubicBezTo>
                  <a:cubicBezTo>
                    <a:pt x="0" y="84"/>
                    <a:pt x="5" y="120"/>
                    <a:pt x="5" y="144"/>
                  </a:cubicBezTo>
                  <a:cubicBezTo>
                    <a:pt x="5" y="168"/>
                    <a:pt x="10" y="188"/>
                    <a:pt x="21" y="204"/>
                  </a:cubicBezTo>
                  <a:cubicBezTo>
                    <a:pt x="32" y="220"/>
                    <a:pt x="55" y="223"/>
                    <a:pt x="69" y="240"/>
                  </a:cubicBezTo>
                  <a:cubicBezTo>
                    <a:pt x="83" y="257"/>
                    <a:pt x="99" y="297"/>
                    <a:pt x="105" y="308"/>
                  </a:cubicBezTo>
                </a:path>
              </a:pathLst>
            </a:custGeom>
            <a:noFill/>
            <a:ln w="2540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04" name="Freeform 360"/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1004729" y="5197527"/>
              <a:ext cx="104467" cy="543940"/>
            </a:xfrm>
            <a:custGeom>
              <a:avLst/>
              <a:gdLst>
                <a:gd name="T0" fmla="*/ 123900995 w 75"/>
                <a:gd name="T1" fmla="*/ 0 h 412"/>
                <a:gd name="T2" fmla="*/ 18171783 w 75"/>
                <a:gd name="T3" fmla="*/ 215699026 h 412"/>
                <a:gd name="T4" fmla="*/ 11563629 w 75"/>
                <a:gd name="T5" fmla="*/ 653439753 h 412"/>
                <a:gd name="T6" fmla="*/ 0 60000 65536"/>
                <a:gd name="T7" fmla="*/ 0 60000 65536"/>
                <a:gd name="T8" fmla="*/ 0 60000 65536"/>
                <a:gd name="T9" fmla="*/ 0 w 75"/>
                <a:gd name="T10" fmla="*/ 0 h 412"/>
                <a:gd name="T11" fmla="*/ 75 w 75"/>
                <a:gd name="T12" fmla="*/ 412 h 4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5" h="412">
                  <a:moveTo>
                    <a:pt x="75" y="0"/>
                  </a:moveTo>
                  <a:cubicBezTo>
                    <a:pt x="48" y="33"/>
                    <a:pt x="22" y="67"/>
                    <a:pt x="11" y="136"/>
                  </a:cubicBezTo>
                  <a:cubicBezTo>
                    <a:pt x="0" y="205"/>
                    <a:pt x="3" y="387"/>
                    <a:pt x="7" y="412"/>
                  </a:cubicBezTo>
                </a:path>
              </a:pathLst>
            </a:custGeom>
            <a:noFill/>
            <a:ln w="25400" cap="flat" cmpd="sng">
              <a:solidFill>
                <a:srgbClr val="99CC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05" name="Freeform 361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997869" y="6326991"/>
              <a:ext cx="244899" cy="254503"/>
            </a:xfrm>
            <a:custGeom>
              <a:avLst/>
              <a:gdLst>
                <a:gd name="T0" fmla="*/ 0 w 177"/>
                <a:gd name="T1" fmla="*/ 0 h 193"/>
                <a:gd name="T2" fmla="*/ 78768027 w 177"/>
                <a:gd name="T3" fmla="*/ 50691653 h 193"/>
                <a:gd name="T4" fmla="*/ 144407838 w 177"/>
                <a:gd name="T5" fmla="*/ 152076198 h 193"/>
                <a:gd name="T6" fmla="*/ 249431032 w 177"/>
                <a:gd name="T7" fmla="*/ 196431417 h 193"/>
                <a:gd name="T8" fmla="*/ 275687462 w 177"/>
                <a:gd name="T9" fmla="*/ 247124309 h 193"/>
                <a:gd name="T10" fmla="*/ 164098878 w 177"/>
                <a:gd name="T11" fmla="*/ 297815942 h 193"/>
                <a:gd name="T12" fmla="*/ 13128220 w 177"/>
                <a:gd name="T13" fmla="*/ 297815942 h 19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7"/>
                <a:gd name="T22" fmla="*/ 0 h 193"/>
                <a:gd name="T23" fmla="*/ 177 w 177"/>
                <a:gd name="T24" fmla="*/ 193 h 19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7" h="193">
                  <a:moveTo>
                    <a:pt x="0" y="0"/>
                  </a:moveTo>
                  <a:cubicBezTo>
                    <a:pt x="16" y="8"/>
                    <a:pt x="33" y="16"/>
                    <a:pt x="48" y="32"/>
                  </a:cubicBezTo>
                  <a:cubicBezTo>
                    <a:pt x="63" y="48"/>
                    <a:pt x="71" y="81"/>
                    <a:pt x="88" y="96"/>
                  </a:cubicBezTo>
                  <a:cubicBezTo>
                    <a:pt x="105" y="111"/>
                    <a:pt x="139" y="114"/>
                    <a:pt x="152" y="124"/>
                  </a:cubicBezTo>
                  <a:cubicBezTo>
                    <a:pt x="165" y="134"/>
                    <a:pt x="177" y="145"/>
                    <a:pt x="168" y="156"/>
                  </a:cubicBezTo>
                  <a:cubicBezTo>
                    <a:pt x="159" y="167"/>
                    <a:pt x="127" y="183"/>
                    <a:pt x="100" y="188"/>
                  </a:cubicBezTo>
                  <a:cubicBezTo>
                    <a:pt x="73" y="193"/>
                    <a:pt x="23" y="189"/>
                    <a:pt x="8" y="188"/>
                  </a:cubicBezTo>
                </a:path>
              </a:pathLst>
            </a:custGeom>
            <a:noFill/>
            <a:ln w="25400" cap="flat" cmpd="sng">
              <a:solidFill>
                <a:srgbClr val="99CC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06" name="Freeform 362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857437" y="2865385"/>
              <a:ext cx="313403" cy="1018017"/>
            </a:xfrm>
            <a:custGeom>
              <a:avLst/>
              <a:gdLst>
                <a:gd name="T0" fmla="*/ 81873190 w 227"/>
                <a:gd name="T1" fmla="*/ 0 h 772"/>
                <a:gd name="T2" fmla="*/ 3274979 w 227"/>
                <a:gd name="T3" fmla="*/ 107721241 h 772"/>
                <a:gd name="T4" fmla="*/ 62223322 w 227"/>
                <a:gd name="T5" fmla="*/ 158412979 h 772"/>
                <a:gd name="T6" fmla="*/ 94973122 w 227"/>
                <a:gd name="T7" fmla="*/ 278807154 h 772"/>
                <a:gd name="T8" fmla="*/ 167021359 w 227"/>
                <a:gd name="T9" fmla="*/ 361182565 h 772"/>
                <a:gd name="T10" fmla="*/ 271818136 w 227"/>
                <a:gd name="T11" fmla="*/ 411874303 h 772"/>
                <a:gd name="T12" fmla="*/ 363516320 w 227"/>
                <a:gd name="T13" fmla="*/ 684346327 h 772"/>
                <a:gd name="T14" fmla="*/ 317666548 w 227"/>
                <a:gd name="T15" fmla="*/ 975826336 h 772"/>
                <a:gd name="T16" fmla="*/ 239068356 w 227"/>
                <a:gd name="T17" fmla="*/ 1007508672 h 772"/>
                <a:gd name="T18" fmla="*/ 225969723 w 227"/>
                <a:gd name="T19" fmla="*/ 1222951075 h 77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27"/>
                <a:gd name="T31" fmla="*/ 0 h 772"/>
                <a:gd name="T32" fmla="*/ 227 w 227"/>
                <a:gd name="T33" fmla="*/ 772 h 77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27" h="772">
                  <a:moveTo>
                    <a:pt x="50" y="0"/>
                  </a:moveTo>
                  <a:cubicBezTo>
                    <a:pt x="27" y="25"/>
                    <a:pt x="4" y="51"/>
                    <a:pt x="2" y="68"/>
                  </a:cubicBezTo>
                  <a:cubicBezTo>
                    <a:pt x="0" y="85"/>
                    <a:pt x="29" y="82"/>
                    <a:pt x="38" y="100"/>
                  </a:cubicBezTo>
                  <a:cubicBezTo>
                    <a:pt x="47" y="118"/>
                    <a:pt x="47" y="155"/>
                    <a:pt x="58" y="176"/>
                  </a:cubicBezTo>
                  <a:cubicBezTo>
                    <a:pt x="69" y="197"/>
                    <a:pt x="84" y="214"/>
                    <a:pt x="102" y="228"/>
                  </a:cubicBezTo>
                  <a:cubicBezTo>
                    <a:pt x="120" y="242"/>
                    <a:pt x="146" y="226"/>
                    <a:pt x="166" y="260"/>
                  </a:cubicBezTo>
                  <a:cubicBezTo>
                    <a:pt x="186" y="294"/>
                    <a:pt x="217" y="373"/>
                    <a:pt x="222" y="432"/>
                  </a:cubicBezTo>
                  <a:cubicBezTo>
                    <a:pt x="227" y="491"/>
                    <a:pt x="207" y="582"/>
                    <a:pt x="194" y="616"/>
                  </a:cubicBezTo>
                  <a:cubicBezTo>
                    <a:pt x="181" y="650"/>
                    <a:pt x="155" y="610"/>
                    <a:pt x="146" y="636"/>
                  </a:cubicBezTo>
                  <a:cubicBezTo>
                    <a:pt x="137" y="662"/>
                    <a:pt x="139" y="750"/>
                    <a:pt x="138" y="772"/>
                  </a:cubicBezTo>
                </a:path>
              </a:pathLst>
            </a:custGeom>
            <a:noFill/>
            <a:ln w="25400" cap="flat" cmpd="sng">
              <a:solidFill>
                <a:srgbClr val="99CC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07" name="Freeform 363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797505" y="2842117"/>
              <a:ext cx="590842" cy="131411"/>
            </a:xfrm>
            <a:custGeom>
              <a:avLst/>
              <a:gdLst>
                <a:gd name="T0" fmla="*/ 0 w 428"/>
                <a:gd name="T1" fmla="*/ 0 h 108"/>
                <a:gd name="T2" fmla="*/ 150629553 w 428"/>
                <a:gd name="T3" fmla="*/ 32481967 h 108"/>
                <a:gd name="T4" fmla="*/ 379847273 w 428"/>
                <a:gd name="T5" fmla="*/ 75792414 h 108"/>
                <a:gd name="T6" fmla="*/ 582869270 w 428"/>
                <a:gd name="T7" fmla="*/ 86619752 h 108"/>
                <a:gd name="T8" fmla="*/ 700752840 w 428"/>
                <a:gd name="T9" fmla="*/ 146171169 h 10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28"/>
                <a:gd name="T16" fmla="*/ 0 h 108"/>
                <a:gd name="T17" fmla="*/ 428 w 428"/>
                <a:gd name="T18" fmla="*/ 108 h 10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28" h="108">
                  <a:moveTo>
                    <a:pt x="0" y="0"/>
                  </a:moveTo>
                  <a:cubicBezTo>
                    <a:pt x="26" y="7"/>
                    <a:pt x="53" y="15"/>
                    <a:pt x="92" y="24"/>
                  </a:cubicBezTo>
                  <a:cubicBezTo>
                    <a:pt x="131" y="33"/>
                    <a:pt x="188" y="49"/>
                    <a:pt x="232" y="56"/>
                  </a:cubicBezTo>
                  <a:cubicBezTo>
                    <a:pt x="276" y="63"/>
                    <a:pt x="324" y="55"/>
                    <a:pt x="356" y="64"/>
                  </a:cubicBezTo>
                  <a:cubicBezTo>
                    <a:pt x="388" y="73"/>
                    <a:pt x="416" y="102"/>
                    <a:pt x="428" y="108"/>
                  </a:cubicBezTo>
                </a:path>
              </a:pathLst>
            </a:custGeom>
            <a:noFill/>
            <a:ln w="25400" cap="flat" cmpd="sng">
              <a:solidFill>
                <a:srgbClr val="99CC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08" name="Freeform 364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612536" y="3888393"/>
              <a:ext cx="424721" cy="723589"/>
            </a:xfrm>
            <a:custGeom>
              <a:avLst/>
              <a:gdLst>
                <a:gd name="T0" fmla="*/ 503728884 w 308"/>
                <a:gd name="T1" fmla="*/ 14250230 h 549"/>
                <a:gd name="T2" fmla="*/ 444851584 w 308"/>
                <a:gd name="T3" fmla="*/ 33250115 h 549"/>
                <a:gd name="T4" fmla="*/ 209342302 w 308"/>
                <a:gd name="T5" fmla="*/ 210584917 h 549"/>
                <a:gd name="T6" fmla="*/ 52335256 w 308"/>
                <a:gd name="T7" fmla="*/ 223251504 h 549"/>
                <a:gd name="T8" fmla="*/ 32709053 w 308"/>
                <a:gd name="T9" fmla="*/ 330918830 h 549"/>
                <a:gd name="T10" fmla="*/ 6542067 w 308"/>
                <a:gd name="T11" fmla="*/ 546252066 h 549"/>
                <a:gd name="T12" fmla="*/ 71961449 w 308"/>
                <a:gd name="T13" fmla="*/ 869253965 h 54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08"/>
                <a:gd name="T22" fmla="*/ 0 h 549"/>
                <a:gd name="T23" fmla="*/ 308 w 308"/>
                <a:gd name="T24" fmla="*/ 549 h 54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08" h="549">
                  <a:moveTo>
                    <a:pt x="308" y="9"/>
                  </a:moveTo>
                  <a:cubicBezTo>
                    <a:pt x="305" y="4"/>
                    <a:pt x="302" y="0"/>
                    <a:pt x="272" y="21"/>
                  </a:cubicBezTo>
                  <a:cubicBezTo>
                    <a:pt x="242" y="42"/>
                    <a:pt x="168" y="113"/>
                    <a:pt x="128" y="133"/>
                  </a:cubicBezTo>
                  <a:cubicBezTo>
                    <a:pt x="88" y="153"/>
                    <a:pt x="50" y="128"/>
                    <a:pt x="32" y="141"/>
                  </a:cubicBezTo>
                  <a:cubicBezTo>
                    <a:pt x="14" y="154"/>
                    <a:pt x="25" y="175"/>
                    <a:pt x="20" y="209"/>
                  </a:cubicBezTo>
                  <a:cubicBezTo>
                    <a:pt x="15" y="243"/>
                    <a:pt x="0" y="288"/>
                    <a:pt x="4" y="345"/>
                  </a:cubicBezTo>
                  <a:cubicBezTo>
                    <a:pt x="8" y="402"/>
                    <a:pt x="26" y="475"/>
                    <a:pt x="44" y="549"/>
                  </a:cubicBezTo>
                </a:path>
              </a:pathLst>
            </a:custGeom>
            <a:noFill/>
            <a:ln w="25400" cap="flat" cmpd="sng">
              <a:solidFill>
                <a:srgbClr val="99CC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09" name="Freeform 365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1484242" y="4121276"/>
              <a:ext cx="280864" cy="121429"/>
            </a:xfrm>
            <a:custGeom>
              <a:avLst/>
              <a:gdLst>
                <a:gd name="T0" fmla="*/ 0 w 204"/>
                <a:gd name="T1" fmla="*/ 0 h 92"/>
                <a:gd name="T2" fmla="*/ 137163610 w 204"/>
                <a:gd name="T3" fmla="*/ 95135677 h 92"/>
                <a:gd name="T4" fmla="*/ 280858939 w 204"/>
                <a:gd name="T5" fmla="*/ 126847136 h 92"/>
                <a:gd name="T6" fmla="*/ 333111424 w 204"/>
                <a:gd name="T7" fmla="*/ 145874012 h 9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4"/>
                <a:gd name="T13" fmla="*/ 0 h 92"/>
                <a:gd name="T14" fmla="*/ 204 w 204"/>
                <a:gd name="T15" fmla="*/ 92 h 9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4" h="92">
                  <a:moveTo>
                    <a:pt x="0" y="0"/>
                  </a:moveTo>
                  <a:cubicBezTo>
                    <a:pt x="27" y="23"/>
                    <a:pt x="55" y="47"/>
                    <a:pt x="84" y="60"/>
                  </a:cubicBezTo>
                  <a:cubicBezTo>
                    <a:pt x="113" y="73"/>
                    <a:pt x="152" y="75"/>
                    <a:pt x="172" y="80"/>
                  </a:cubicBezTo>
                  <a:cubicBezTo>
                    <a:pt x="192" y="85"/>
                    <a:pt x="198" y="88"/>
                    <a:pt x="204" y="92"/>
                  </a:cubicBezTo>
                </a:path>
              </a:pathLst>
            </a:custGeom>
            <a:noFill/>
            <a:ln w="25400" cap="flat" cmpd="sng">
              <a:solidFill>
                <a:srgbClr val="99CC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10" name="Freeform 366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1342107" y="3936632"/>
              <a:ext cx="291139" cy="670362"/>
            </a:xfrm>
            <a:custGeom>
              <a:avLst/>
              <a:gdLst>
                <a:gd name="T0" fmla="*/ 345298088 w 211"/>
                <a:gd name="T1" fmla="*/ 0 h 508"/>
                <a:gd name="T2" fmla="*/ 175104138 w 211"/>
                <a:gd name="T3" fmla="*/ 240958947 h 508"/>
                <a:gd name="T4" fmla="*/ 11454980 w 211"/>
                <a:gd name="T5" fmla="*/ 443870895 h 508"/>
                <a:gd name="T6" fmla="*/ 109644721 w 211"/>
                <a:gd name="T7" fmla="*/ 735557572 h 508"/>
                <a:gd name="T8" fmla="*/ 50731389 w 211"/>
                <a:gd name="T9" fmla="*/ 760922658 h 508"/>
                <a:gd name="T10" fmla="*/ 103098655 w 211"/>
                <a:gd name="T11" fmla="*/ 805309354 h 50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11"/>
                <a:gd name="T19" fmla="*/ 0 h 508"/>
                <a:gd name="T20" fmla="*/ 211 w 211"/>
                <a:gd name="T21" fmla="*/ 508 h 50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1" h="508">
                  <a:moveTo>
                    <a:pt x="211" y="0"/>
                  </a:moveTo>
                  <a:cubicBezTo>
                    <a:pt x="176" y="52"/>
                    <a:pt x="141" y="105"/>
                    <a:pt x="107" y="152"/>
                  </a:cubicBezTo>
                  <a:cubicBezTo>
                    <a:pt x="73" y="199"/>
                    <a:pt x="14" y="228"/>
                    <a:pt x="7" y="280"/>
                  </a:cubicBezTo>
                  <a:cubicBezTo>
                    <a:pt x="0" y="332"/>
                    <a:pt x="63" y="431"/>
                    <a:pt x="67" y="464"/>
                  </a:cubicBezTo>
                  <a:cubicBezTo>
                    <a:pt x="71" y="497"/>
                    <a:pt x="32" y="473"/>
                    <a:pt x="31" y="480"/>
                  </a:cubicBezTo>
                  <a:cubicBezTo>
                    <a:pt x="30" y="487"/>
                    <a:pt x="46" y="507"/>
                    <a:pt x="63" y="508"/>
                  </a:cubicBezTo>
                </a:path>
              </a:pathLst>
            </a:custGeom>
            <a:noFill/>
            <a:ln w="25400" cap="flat" cmpd="sng">
              <a:solidFill>
                <a:srgbClr val="99CC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11" name="Freeform 367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1047533" y="3883402"/>
              <a:ext cx="590842" cy="48240"/>
            </a:xfrm>
            <a:custGeom>
              <a:avLst/>
              <a:gdLst>
                <a:gd name="T0" fmla="*/ 0 w 428"/>
                <a:gd name="T1" fmla="*/ 0 h 36"/>
                <a:gd name="T2" fmla="*/ 176825195 w 428"/>
                <a:gd name="T3" fmla="*/ 32194626 h 36"/>
                <a:gd name="T4" fmla="*/ 458436639 w 428"/>
                <a:gd name="T5" fmla="*/ 32194626 h 36"/>
                <a:gd name="T6" fmla="*/ 700752840 w 428"/>
                <a:gd name="T7" fmla="*/ 57950328 h 3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28"/>
                <a:gd name="T13" fmla="*/ 0 h 36"/>
                <a:gd name="T14" fmla="*/ 428 w 428"/>
                <a:gd name="T15" fmla="*/ 36 h 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28" h="36">
                  <a:moveTo>
                    <a:pt x="0" y="0"/>
                  </a:moveTo>
                  <a:cubicBezTo>
                    <a:pt x="30" y="8"/>
                    <a:pt x="61" y="17"/>
                    <a:pt x="108" y="20"/>
                  </a:cubicBezTo>
                  <a:cubicBezTo>
                    <a:pt x="155" y="23"/>
                    <a:pt x="227" y="17"/>
                    <a:pt x="280" y="20"/>
                  </a:cubicBezTo>
                  <a:cubicBezTo>
                    <a:pt x="333" y="23"/>
                    <a:pt x="379" y="19"/>
                    <a:pt x="428" y="36"/>
                  </a:cubicBezTo>
                </a:path>
              </a:pathLst>
            </a:custGeom>
            <a:noFill/>
            <a:ln w="25400" cap="flat" cmpd="sng">
              <a:solidFill>
                <a:srgbClr val="99CC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12" name="Freeform 368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744416" y="3883406"/>
              <a:ext cx="303127" cy="11644"/>
            </a:xfrm>
            <a:custGeom>
              <a:avLst/>
              <a:gdLst>
                <a:gd name="T0" fmla="*/ 359515263 w 220"/>
                <a:gd name="T1" fmla="*/ 6217106 h 9"/>
                <a:gd name="T2" fmla="*/ 169952465 w 220"/>
                <a:gd name="T3" fmla="*/ 12434212 h 9"/>
                <a:gd name="T4" fmla="*/ 0 w 220"/>
                <a:gd name="T5" fmla="*/ 12434212 h 9"/>
                <a:gd name="T6" fmla="*/ 0 60000 65536"/>
                <a:gd name="T7" fmla="*/ 0 60000 65536"/>
                <a:gd name="T8" fmla="*/ 0 60000 65536"/>
                <a:gd name="T9" fmla="*/ 0 w 220"/>
                <a:gd name="T10" fmla="*/ 0 h 9"/>
                <a:gd name="T11" fmla="*/ 220 w 220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0" h="9">
                  <a:moveTo>
                    <a:pt x="220" y="4"/>
                  </a:moveTo>
                  <a:cubicBezTo>
                    <a:pt x="180" y="5"/>
                    <a:pt x="141" y="7"/>
                    <a:pt x="104" y="8"/>
                  </a:cubicBezTo>
                  <a:cubicBezTo>
                    <a:pt x="67" y="9"/>
                    <a:pt x="10" y="0"/>
                    <a:pt x="0" y="8"/>
                  </a:cubicBezTo>
                </a:path>
              </a:pathLst>
            </a:custGeom>
            <a:noFill/>
            <a:ln w="25400" cap="flat" cmpd="sng">
              <a:solidFill>
                <a:srgbClr val="99CC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13" name="Rectangle 369"/>
            <p:cNvSpPr>
              <a:spLocks noChangeArrowheads="1"/>
            </p:cNvSpPr>
            <p:nvPr>
              <p:custDataLst>
                <p:tags r:id="rId288"/>
              </p:custDataLst>
            </p:nvPr>
          </p:nvSpPr>
          <p:spPr bwMode="auto">
            <a:xfrm>
              <a:off x="1068084" y="3840156"/>
              <a:ext cx="280864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Neuquén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314" name="Freeform 370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1359233" y="1456484"/>
              <a:ext cx="80492" cy="395895"/>
            </a:xfrm>
            <a:custGeom>
              <a:avLst/>
              <a:gdLst>
                <a:gd name="T0" fmla="*/ 82520712 w 59"/>
                <a:gd name="T1" fmla="*/ 0 h 300"/>
                <a:gd name="T2" fmla="*/ 76048352 w 59"/>
                <a:gd name="T3" fmla="*/ 114142185 h 300"/>
                <a:gd name="T4" fmla="*/ 63104897 w 59"/>
                <a:gd name="T5" fmla="*/ 221943209 h 300"/>
                <a:gd name="T6" fmla="*/ 30743087 w 59"/>
                <a:gd name="T7" fmla="*/ 298038393 h 300"/>
                <a:gd name="T8" fmla="*/ 11326002 w 59"/>
                <a:gd name="T9" fmla="*/ 399497037 h 300"/>
                <a:gd name="T10" fmla="*/ 95465451 w 59"/>
                <a:gd name="T11" fmla="*/ 475592220 h 3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9"/>
                <a:gd name="T19" fmla="*/ 0 h 300"/>
                <a:gd name="T20" fmla="*/ 59 w 59"/>
                <a:gd name="T21" fmla="*/ 300 h 3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9" h="300">
                  <a:moveTo>
                    <a:pt x="51" y="0"/>
                  </a:moveTo>
                  <a:cubicBezTo>
                    <a:pt x="50" y="24"/>
                    <a:pt x="49" y="49"/>
                    <a:pt x="47" y="72"/>
                  </a:cubicBezTo>
                  <a:cubicBezTo>
                    <a:pt x="45" y="95"/>
                    <a:pt x="44" y="121"/>
                    <a:pt x="39" y="140"/>
                  </a:cubicBezTo>
                  <a:cubicBezTo>
                    <a:pt x="34" y="159"/>
                    <a:pt x="24" y="169"/>
                    <a:pt x="19" y="188"/>
                  </a:cubicBezTo>
                  <a:cubicBezTo>
                    <a:pt x="14" y="207"/>
                    <a:pt x="0" y="234"/>
                    <a:pt x="7" y="252"/>
                  </a:cubicBezTo>
                  <a:cubicBezTo>
                    <a:pt x="14" y="270"/>
                    <a:pt x="51" y="273"/>
                    <a:pt x="59" y="300"/>
                  </a:cubicBezTo>
                </a:path>
              </a:pathLst>
            </a:custGeom>
            <a:noFill/>
            <a:ln w="25400" cap="flat" cmpd="sng">
              <a:solidFill>
                <a:srgbClr val="99CC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15" name="Freeform 371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1831897" y="3761971"/>
              <a:ext cx="657633" cy="124756"/>
            </a:xfrm>
            <a:custGeom>
              <a:avLst/>
              <a:gdLst>
                <a:gd name="T0" fmla="*/ 0 w 476"/>
                <a:gd name="T1" fmla="*/ 102039940 h 94"/>
                <a:gd name="T2" fmla="*/ 163858173 w 476"/>
                <a:gd name="T3" fmla="*/ 146681843 h 94"/>
                <a:gd name="T4" fmla="*/ 301499710 w 476"/>
                <a:gd name="T5" fmla="*/ 121172184 h 94"/>
                <a:gd name="T6" fmla="*/ 458804725 w 476"/>
                <a:gd name="T7" fmla="*/ 102039940 h 94"/>
                <a:gd name="T8" fmla="*/ 544011671 w 476"/>
                <a:gd name="T9" fmla="*/ 70152847 h 94"/>
                <a:gd name="T10" fmla="*/ 779967952 w 476"/>
                <a:gd name="T11" fmla="*/ 0 h 9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76"/>
                <a:gd name="T19" fmla="*/ 0 h 94"/>
                <a:gd name="T20" fmla="*/ 476 w 476"/>
                <a:gd name="T21" fmla="*/ 94 h 9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76" h="94">
                  <a:moveTo>
                    <a:pt x="0" y="64"/>
                  </a:moveTo>
                  <a:cubicBezTo>
                    <a:pt x="34" y="77"/>
                    <a:pt x="69" y="90"/>
                    <a:pt x="100" y="92"/>
                  </a:cubicBezTo>
                  <a:cubicBezTo>
                    <a:pt x="131" y="94"/>
                    <a:pt x="154" y="81"/>
                    <a:pt x="184" y="76"/>
                  </a:cubicBezTo>
                  <a:cubicBezTo>
                    <a:pt x="214" y="71"/>
                    <a:pt x="255" y="69"/>
                    <a:pt x="280" y="64"/>
                  </a:cubicBezTo>
                  <a:cubicBezTo>
                    <a:pt x="305" y="59"/>
                    <a:pt x="299" y="55"/>
                    <a:pt x="332" y="44"/>
                  </a:cubicBezTo>
                  <a:cubicBezTo>
                    <a:pt x="365" y="33"/>
                    <a:pt x="420" y="16"/>
                    <a:pt x="476" y="0"/>
                  </a:cubicBezTo>
                </a:path>
              </a:pathLst>
            </a:custGeom>
            <a:noFill/>
            <a:ln w="25400" cap="flat" cmpd="sng">
              <a:solidFill>
                <a:srgbClr val="99CC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16" name="Freeform 372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1205101" y="2374693"/>
              <a:ext cx="282577" cy="83171"/>
            </a:xfrm>
            <a:custGeom>
              <a:avLst/>
              <a:gdLst>
                <a:gd name="T0" fmla="*/ 0 w 204"/>
                <a:gd name="T1" fmla="*/ 0 h 63"/>
                <a:gd name="T2" fmla="*/ 98572159 w 204"/>
                <a:gd name="T3" fmla="*/ 47578391 h 63"/>
                <a:gd name="T4" fmla="*/ 167572257 w 204"/>
                <a:gd name="T5" fmla="*/ 19031102 h 63"/>
                <a:gd name="T6" fmla="*/ 335143231 w 204"/>
                <a:gd name="T7" fmla="*/ 99914241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4"/>
                <a:gd name="T13" fmla="*/ 0 h 63"/>
                <a:gd name="T14" fmla="*/ 204 w 20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4" h="63">
                  <a:moveTo>
                    <a:pt x="0" y="0"/>
                  </a:moveTo>
                  <a:cubicBezTo>
                    <a:pt x="21" y="14"/>
                    <a:pt x="43" y="28"/>
                    <a:pt x="60" y="30"/>
                  </a:cubicBezTo>
                  <a:cubicBezTo>
                    <a:pt x="77" y="32"/>
                    <a:pt x="78" y="6"/>
                    <a:pt x="102" y="12"/>
                  </a:cubicBezTo>
                  <a:cubicBezTo>
                    <a:pt x="126" y="18"/>
                    <a:pt x="184" y="56"/>
                    <a:pt x="204" y="63"/>
                  </a:cubicBezTo>
                </a:path>
              </a:pathLst>
            </a:custGeom>
            <a:noFill/>
            <a:ln w="25400" cap="flat" cmpd="sng">
              <a:solidFill>
                <a:srgbClr val="99CC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17" name="Freeform 373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1379784" y="2556007"/>
              <a:ext cx="279152" cy="409202"/>
            </a:xfrm>
            <a:custGeom>
              <a:avLst/>
              <a:gdLst>
                <a:gd name="T0" fmla="*/ 0 w 202"/>
                <a:gd name="T1" fmla="*/ 491578017 h 311"/>
                <a:gd name="T2" fmla="*/ 32780917 w 202"/>
                <a:gd name="T3" fmla="*/ 472610564 h 311"/>
                <a:gd name="T4" fmla="*/ 186847406 w 202"/>
                <a:gd name="T5" fmla="*/ 447320627 h 311"/>
                <a:gd name="T6" fmla="*/ 317968471 w 202"/>
                <a:gd name="T7" fmla="*/ 273450348 h 311"/>
                <a:gd name="T8" fmla="*/ 268798392 w 202"/>
                <a:gd name="T9" fmla="*/ 137515014 h 311"/>
                <a:gd name="T10" fmla="*/ 157345831 w 202"/>
                <a:gd name="T11" fmla="*/ 131192529 h 311"/>
                <a:gd name="T12" fmla="*/ 163902012 w 202"/>
                <a:gd name="T13" fmla="*/ 36355236 h 311"/>
                <a:gd name="T14" fmla="*/ 193403587 w 202"/>
                <a:gd name="T15" fmla="*/ 4741550 h 311"/>
                <a:gd name="T16" fmla="*/ 216350222 w 202"/>
                <a:gd name="T17" fmla="*/ 7903422 h 3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2"/>
                <a:gd name="T28" fmla="*/ 0 h 311"/>
                <a:gd name="T29" fmla="*/ 202 w 202"/>
                <a:gd name="T30" fmla="*/ 311 h 3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2" h="311">
                  <a:moveTo>
                    <a:pt x="0" y="311"/>
                  </a:moveTo>
                  <a:cubicBezTo>
                    <a:pt x="0" y="307"/>
                    <a:pt x="1" y="304"/>
                    <a:pt x="20" y="299"/>
                  </a:cubicBezTo>
                  <a:cubicBezTo>
                    <a:pt x="39" y="294"/>
                    <a:pt x="85" y="304"/>
                    <a:pt x="114" y="283"/>
                  </a:cubicBezTo>
                  <a:cubicBezTo>
                    <a:pt x="143" y="262"/>
                    <a:pt x="186" y="206"/>
                    <a:pt x="194" y="173"/>
                  </a:cubicBezTo>
                  <a:cubicBezTo>
                    <a:pt x="202" y="140"/>
                    <a:pt x="180" y="102"/>
                    <a:pt x="164" y="87"/>
                  </a:cubicBezTo>
                  <a:cubicBezTo>
                    <a:pt x="148" y="72"/>
                    <a:pt x="107" y="94"/>
                    <a:pt x="96" y="83"/>
                  </a:cubicBezTo>
                  <a:cubicBezTo>
                    <a:pt x="85" y="72"/>
                    <a:pt x="96" y="36"/>
                    <a:pt x="100" y="23"/>
                  </a:cubicBezTo>
                  <a:cubicBezTo>
                    <a:pt x="104" y="10"/>
                    <a:pt x="113" y="6"/>
                    <a:pt x="118" y="3"/>
                  </a:cubicBezTo>
                  <a:cubicBezTo>
                    <a:pt x="123" y="0"/>
                    <a:pt x="127" y="2"/>
                    <a:pt x="132" y="5"/>
                  </a:cubicBezTo>
                </a:path>
              </a:pathLst>
            </a:custGeom>
            <a:noFill/>
            <a:ln w="2540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18" name="Freeform 374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1551043" y="2524384"/>
              <a:ext cx="849442" cy="632101"/>
            </a:xfrm>
            <a:custGeom>
              <a:avLst/>
              <a:gdLst>
                <a:gd name="T0" fmla="*/ 0 w 616"/>
                <a:gd name="T1" fmla="*/ 39631888 h 479"/>
                <a:gd name="T2" fmla="*/ 399058412 w 616"/>
                <a:gd name="T3" fmla="*/ 42803052 h 479"/>
                <a:gd name="T4" fmla="*/ 480831659 w 616"/>
                <a:gd name="T5" fmla="*/ 7926630 h 479"/>
                <a:gd name="T6" fmla="*/ 660735871 w 616"/>
                <a:gd name="T7" fmla="*/ 93531472 h 479"/>
                <a:gd name="T8" fmla="*/ 618212453 w 616"/>
                <a:gd name="T9" fmla="*/ 160113127 h 479"/>
                <a:gd name="T10" fmla="*/ 601857292 w 616"/>
                <a:gd name="T11" fmla="*/ 363028107 h 479"/>
                <a:gd name="T12" fmla="*/ 703258170 w 616"/>
                <a:gd name="T13" fmla="*/ 512044672 h 479"/>
                <a:gd name="T14" fmla="*/ 958393564 w 616"/>
                <a:gd name="T15" fmla="*/ 673743495 h 479"/>
                <a:gd name="T16" fmla="*/ 997644672 w 616"/>
                <a:gd name="T17" fmla="*/ 759348300 h 47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16"/>
                <a:gd name="T28" fmla="*/ 0 h 479"/>
                <a:gd name="T29" fmla="*/ 616 w 616"/>
                <a:gd name="T30" fmla="*/ 479 h 47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16" h="479">
                  <a:moveTo>
                    <a:pt x="0" y="25"/>
                  </a:moveTo>
                  <a:cubicBezTo>
                    <a:pt x="97" y="27"/>
                    <a:pt x="195" y="30"/>
                    <a:pt x="244" y="27"/>
                  </a:cubicBezTo>
                  <a:cubicBezTo>
                    <a:pt x="293" y="24"/>
                    <a:pt x="267" y="0"/>
                    <a:pt x="294" y="5"/>
                  </a:cubicBezTo>
                  <a:cubicBezTo>
                    <a:pt x="321" y="10"/>
                    <a:pt x="390" y="43"/>
                    <a:pt x="404" y="59"/>
                  </a:cubicBezTo>
                  <a:cubicBezTo>
                    <a:pt x="418" y="75"/>
                    <a:pt x="384" y="73"/>
                    <a:pt x="378" y="101"/>
                  </a:cubicBezTo>
                  <a:cubicBezTo>
                    <a:pt x="372" y="129"/>
                    <a:pt x="359" y="192"/>
                    <a:pt x="368" y="229"/>
                  </a:cubicBezTo>
                  <a:cubicBezTo>
                    <a:pt x="377" y="266"/>
                    <a:pt x="394" y="290"/>
                    <a:pt x="430" y="323"/>
                  </a:cubicBezTo>
                  <a:cubicBezTo>
                    <a:pt x="466" y="356"/>
                    <a:pt x="556" y="399"/>
                    <a:pt x="586" y="425"/>
                  </a:cubicBezTo>
                  <a:cubicBezTo>
                    <a:pt x="616" y="451"/>
                    <a:pt x="613" y="465"/>
                    <a:pt x="610" y="479"/>
                  </a:cubicBezTo>
                </a:path>
              </a:pathLst>
            </a:custGeom>
            <a:noFill/>
            <a:ln w="2540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19" name="Freeform 375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1996315" y="2875384"/>
              <a:ext cx="417871" cy="357637"/>
            </a:xfrm>
            <a:custGeom>
              <a:avLst/>
              <a:gdLst>
                <a:gd name="T0" fmla="*/ 112860745 w 303"/>
                <a:gd name="T1" fmla="*/ 0 h 271"/>
                <a:gd name="T2" fmla="*/ 116132125 w 303"/>
                <a:gd name="T3" fmla="*/ 123658565 h 271"/>
                <a:gd name="T4" fmla="*/ 70332780 w 303"/>
                <a:gd name="T5" fmla="*/ 202926309 h 271"/>
                <a:gd name="T6" fmla="*/ 17991958 w 303"/>
                <a:gd name="T7" fmla="*/ 323413522 h 271"/>
                <a:gd name="T8" fmla="*/ 181558494 w 303"/>
                <a:gd name="T9" fmla="*/ 428046769 h 271"/>
                <a:gd name="T10" fmla="*/ 495604697 w 303"/>
                <a:gd name="T11" fmla="*/ 336096333 h 27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3"/>
                <a:gd name="T19" fmla="*/ 0 h 271"/>
                <a:gd name="T20" fmla="*/ 303 w 303"/>
                <a:gd name="T21" fmla="*/ 271 h 27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3" h="271">
                  <a:moveTo>
                    <a:pt x="69" y="0"/>
                  </a:moveTo>
                  <a:cubicBezTo>
                    <a:pt x="72" y="28"/>
                    <a:pt x="75" y="57"/>
                    <a:pt x="71" y="78"/>
                  </a:cubicBezTo>
                  <a:cubicBezTo>
                    <a:pt x="67" y="99"/>
                    <a:pt x="53" y="107"/>
                    <a:pt x="43" y="128"/>
                  </a:cubicBezTo>
                  <a:cubicBezTo>
                    <a:pt x="33" y="149"/>
                    <a:pt x="0" y="180"/>
                    <a:pt x="11" y="204"/>
                  </a:cubicBezTo>
                  <a:cubicBezTo>
                    <a:pt x="22" y="228"/>
                    <a:pt x="62" y="269"/>
                    <a:pt x="111" y="270"/>
                  </a:cubicBezTo>
                  <a:cubicBezTo>
                    <a:pt x="160" y="271"/>
                    <a:pt x="272" y="222"/>
                    <a:pt x="303" y="212"/>
                  </a:cubicBezTo>
                </a:path>
              </a:pathLst>
            </a:custGeom>
            <a:noFill/>
            <a:ln w="2540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20" name="Freeform 376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2044257" y="3045054"/>
              <a:ext cx="102755" cy="23288"/>
            </a:xfrm>
            <a:custGeom>
              <a:avLst/>
              <a:gdLst>
                <a:gd name="T0" fmla="*/ 121869791 w 74"/>
                <a:gd name="T1" fmla="*/ 15542682 h 18"/>
                <a:gd name="T2" fmla="*/ 42818739 w 74"/>
                <a:gd name="T3" fmla="*/ 24867305 h 18"/>
                <a:gd name="T4" fmla="*/ 0 w 74"/>
                <a:gd name="T5" fmla="*/ 0 h 18"/>
                <a:gd name="T6" fmla="*/ 0 60000 65536"/>
                <a:gd name="T7" fmla="*/ 0 60000 65536"/>
                <a:gd name="T8" fmla="*/ 0 60000 65536"/>
                <a:gd name="T9" fmla="*/ 0 w 74"/>
                <a:gd name="T10" fmla="*/ 0 h 18"/>
                <a:gd name="T11" fmla="*/ 74 w 74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4" h="18">
                  <a:moveTo>
                    <a:pt x="74" y="10"/>
                  </a:moveTo>
                  <a:cubicBezTo>
                    <a:pt x="56" y="14"/>
                    <a:pt x="38" y="18"/>
                    <a:pt x="26" y="16"/>
                  </a:cubicBezTo>
                  <a:cubicBezTo>
                    <a:pt x="14" y="14"/>
                    <a:pt x="7" y="7"/>
                    <a:pt x="0" y="0"/>
                  </a:cubicBezTo>
                </a:path>
              </a:pathLst>
            </a:custGeom>
            <a:noFill/>
            <a:ln w="2540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grpSp>
          <p:nvGrpSpPr>
            <p:cNvPr id="4" name="Group 378"/>
            <p:cNvGrpSpPr>
              <a:grpSpLocks/>
            </p:cNvGrpSpPr>
            <p:nvPr>
              <p:custDataLst>
                <p:tags r:id="rId296"/>
              </p:custDataLst>
            </p:nvPr>
          </p:nvGrpSpPr>
          <p:grpSpPr bwMode="auto">
            <a:xfrm>
              <a:off x="1523824" y="2668110"/>
              <a:ext cx="549365" cy="279233"/>
              <a:chOff x="4232" y="1286"/>
              <a:chExt cx="398" cy="212"/>
            </a:xfrm>
          </p:grpSpPr>
          <p:sp>
            <p:nvSpPr>
              <p:cNvPr id="336" name="Freeform 381"/>
              <p:cNvSpPr>
                <a:spLocks/>
              </p:cNvSpPr>
              <p:nvPr/>
            </p:nvSpPr>
            <p:spPr bwMode="auto">
              <a:xfrm>
                <a:off x="4336" y="1387"/>
                <a:ext cx="294" cy="33"/>
              </a:xfrm>
              <a:custGeom>
                <a:avLst/>
                <a:gdLst>
                  <a:gd name="T0" fmla="*/ 294 w 294"/>
                  <a:gd name="T1" fmla="*/ 32 h 32"/>
                  <a:gd name="T2" fmla="*/ 252 w 294"/>
                  <a:gd name="T3" fmla="*/ 12 h 32"/>
                  <a:gd name="T4" fmla="*/ 160 w 294"/>
                  <a:gd name="T5" fmla="*/ 18 h 32"/>
                  <a:gd name="T6" fmla="*/ 72 w 294"/>
                  <a:gd name="T7" fmla="*/ 26 h 32"/>
                  <a:gd name="T8" fmla="*/ 0 w 294"/>
                  <a:gd name="T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4" h="32">
                    <a:moveTo>
                      <a:pt x="294" y="32"/>
                    </a:moveTo>
                    <a:cubicBezTo>
                      <a:pt x="284" y="23"/>
                      <a:pt x="274" y="14"/>
                      <a:pt x="252" y="12"/>
                    </a:cubicBezTo>
                    <a:cubicBezTo>
                      <a:pt x="230" y="10"/>
                      <a:pt x="190" y="16"/>
                      <a:pt x="160" y="18"/>
                    </a:cubicBezTo>
                    <a:cubicBezTo>
                      <a:pt x="130" y="20"/>
                      <a:pt x="99" y="29"/>
                      <a:pt x="72" y="26"/>
                    </a:cubicBezTo>
                    <a:cubicBezTo>
                      <a:pt x="45" y="23"/>
                      <a:pt x="22" y="11"/>
                      <a:pt x="0" y="0"/>
                    </a:cubicBezTo>
                  </a:path>
                </a:pathLst>
              </a:custGeom>
              <a:noFill/>
              <a:ln w="25400" cap="flat">
                <a:solidFill>
                  <a:srgbClr val="92D050"/>
                </a:solidFill>
                <a:prstDash val="solid"/>
                <a:round/>
                <a:headEnd/>
                <a:tailEnd/>
              </a:ln>
              <a:effectLst/>
              <a:extLst/>
            </p:spPr>
            <p:txBody>
              <a:bodyPr/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AR" sz="1200" b="1" kern="0">
                  <a:solidFill>
                    <a:srgbClr val="043F52"/>
                  </a:solidFill>
                  <a:ea typeface="ＭＳ Ｐゴシック"/>
                </a:endParaRPr>
              </a:p>
            </p:txBody>
          </p:sp>
          <p:sp>
            <p:nvSpPr>
              <p:cNvPr id="338" name="Freeform 383"/>
              <p:cNvSpPr>
                <a:spLocks/>
              </p:cNvSpPr>
              <p:nvPr/>
            </p:nvSpPr>
            <p:spPr bwMode="auto">
              <a:xfrm>
                <a:off x="4232" y="1286"/>
                <a:ext cx="21" cy="212"/>
              </a:xfrm>
              <a:custGeom>
                <a:avLst/>
                <a:gdLst>
                  <a:gd name="T0" fmla="*/ 0 w 21"/>
                  <a:gd name="T1" fmla="*/ 0 h 212"/>
                  <a:gd name="T2" fmla="*/ 6 w 21"/>
                  <a:gd name="T3" fmla="*/ 70 h 212"/>
                  <a:gd name="T4" fmla="*/ 20 w 21"/>
                  <a:gd name="T5" fmla="*/ 154 h 212"/>
                  <a:gd name="T6" fmla="*/ 12 w 21"/>
                  <a:gd name="T7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" h="212">
                    <a:moveTo>
                      <a:pt x="0" y="0"/>
                    </a:moveTo>
                    <a:cubicBezTo>
                      <a:pt x="1" y="22"/>
                      <a:pt x="3" y="44"/>
                      <a:pt x="6" y="70"/>
                    </a:cubicBezTo>
                    <a:cubicBezTo>
                      <a:pt x="9" y="96"/>
                      <a:pt x="19" y="130"/>
                      <a:pt x="20" y="154"/>
                    </a:cubicBezTo>
                    <a:cubicBezTo>
                      <a:pt x="21" y="178"/>
                      <a:pt x="13" y="203"/>
                      <a:pt x="12" y="212"/>
                    </a:cubicBezTo>
                  </a:path>
                </a:pathLst>
              </a:custGeom>
              <a:noFill/>
              <a:ln w="25400" cap="flat">
                <a:solidFill>
                  <a:srgbClr val="92D050"/>
                </a:solidFill>
                <a:prstDash val="solid"/>
                <a:round/>
                <a:headEnd/>
                <a:tailEnd/>
              </a:ln>
              <a:effectLst/>
              <a:extLst/>
            </p:spPr>
            <p:txBody>
              <a:bodyPr/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AR" sz="1200" b="1" kern="0">
                  <a:solidFill>
                    <a:srgbClr val="043F52"/>
                  </a:solidFill>
                  <a:ea typeface="ＭＳ Ｐゴシック"/>
                </a:endParaRPr>
              </a:p>
            </p:txBody>
          </p:sp>
        </p:grpSp>
        <p:sp>
          <p:nvSpPr>
            <p:cNvPr id="322" name="Rectangle 385"/>
            <p:cNvSpPr>
              <a:spLocks noChangeArrowheads="1"/>
            </p:cNvSpPr>
            <p:nvPr>
              <p:custDataLst>
                <p:tags r:id="rId297"/>
              </p:custDataLst>
            </p:nvPr>
          </p:nvSpPr>
          <p:spPr bwMode="auto">
            <a:xfrm>
              <a:off x="2094325" y="2798848"/>
              <a:ext cx="237244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Rosario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323" name="Rectangle 386"/>
            <p:cNvSpPr>
              <a:spLocks noChangeArrowheads="1"/>
            </p:cNvSpPr>
            <p:nvPr>
              <p:custDataLst>
                <p:tags r:id="rId298"/>
              </p:custDataLst>
            </p:nvPr>
          </p:nvSpPr>
          <p:spPr bwMode="auto">
            <a:xfrm>
              <a:off x="1725435" y="2757282"/>
              <a:ext cx="442429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 dirty="0" err="1">
                  <a:solidFill>
                    <a:srgbClr val="25221E"/>
                  </a:solidFill>
                  <a:ea typeface="MS PGothic" pitchFamily="34" charset="-128"/>
                </a:rPr>
                <a:t>Cda.de</a:t>
              </a:r>
              <a:r>
                <a:rPr lang="es-ES" altLang="es-AR" sz="500" b="1" dirty="0">
                  <a:solidFill>
                    <a:srgbClr val="25221E"/>
                  </a:solidFill>
                  <a:ea typeface="MS PGothic" pitchFamily="34" charset="-128"/>
                </a:rPr>
                <a:t> Gomez</a:t>
              </a:r>
              <a:endParaRPr lang="es-ES" altLang="es-AR" sz="1400" dirty="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324" name="Rectangle 387"/>
            <p:cNvSpPr>
              <a:spLocks noChangeArrowheads="1"/>
            </p:cNvSpPr>
            <p:nvPr>
              <p:custDataLst>
                <p:tags r:id="rId299"/>
              </p:custDataLst>
            </p:nvPr>
          </p:nvSpPr>
          <p:spPr bwMode="auto">
            <a:xfrm>
              <a:off x="2135511" y="2560998"/>
              <a:ext cx="264496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Santa Fe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325" name="Rectangle 388"/>
            <p:cNvSpPr>
              <a:spLocks noChangeArrowheads="1"/>
            </p:cNvSpPr>
            <p:nvPr>
              <p:custDataLst>
                <p:tags r:id="rId300"/>
              </p:custDataLst>
            </p:nvPr>
          </p:nvSpPr>
          <p:spPr bwMode="auto">
            <a:xfrm>
              <a:off x="2120953" y="2993488"/>
              <a:ext cx="139462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Pilar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327" name="Rectangle 206"/>
            <p:cNvSpPr>
              <a:spLocks noChangeArrowheads="1"/>
            </p:cNvSpPr>
            <p:nvPr>
              <p:custDataLst>
                <p:tags r:id="rId301"/>
              </p:custDataLst>
            </p:nvPr>
          </p:nvSpPr>
          <p:spPr bwMode="auto">
            <a:xfrm>
              <a:off x="1760123" y="3020084"/>
              <a:ext cx="330219" cy="76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es-ES" altLang="es-AR" sz="500" b="1">
                  <a:solidFill>
                    <a:srgbClr val="25221E"/>
                  </a:solidFill>
                  <a:ea typeface="MS PGothic" pitchFamily="34" charset="-128"/>
                </a:rPr>
                <a:t>Pergamino</a:t>
              </a:r>
              <a:endParaRPr lang="es-ES" altLang="es-AR" sz="1400">
                <a:solidFill>
                  <a:srgbClr val="043F52"/>
                </a:solidFill>
                <a:ea typeface="MS PGothic" pitchFamily="34" charset="-128"/>
              </a:endParaRPr>
            </a:p>
          </p:txBody>
        </p:sp>
        <p:sp>
          <p:nvSpPr>
            <p:cNvPr id="328" name="Freeform 339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985880" y="6140669"/>
              <a:ext cx="15414" cy="106459"/>
            </a:xfrm>
            <a:custGeom>
              <a:avLst/>
              <a:gdLst>
                <a:gd name="T0" fmla="*/ 18280845 w 11"/>
                <a:gd name="T1" fmla="*/ 110523237 h 81"/>
                <a:gd name="T2" fmla="*/ 18280845 w 11"/>
                <a:gd name="T3" fmla="*/ 118416676 h 81"/>
                <a:gd name="T4" fmla="*/ 18280845 w 11"/>
                <a:gd name="T5" fmla="*/ 0 h 81"/>
                <a:gd name="T6" fmla="*/ 0 w 11"/>
                <a:gd name="T7" fmla="*/ 0 h 81"/>
                <a:gd name="T8" fmla="*/ 0 w 11"/>
                <a:gd name="T9" fmla="*/ 118416676 h 81"/>
                <a:gd name="T10" fmla="*/ 0 w 11"/>
                <a:gd name="T11" fmla="*/ 127890559 h 81"/>
                <a:gd name="T12" fmla="*/ 0 w 11"/>
                <a:gd name="T13" fmla="*/ 118416676 h 81"/>
                <a:gd name="T14" fmla="*/ 0 w 11"/>
                <a:gd name="T15" fmla="*/ 118416676 h 81"/>
                <a:gd name="T16" fmla="*/ 0 w 11"/>
                <a:gd name="T17" fmla="*/ 127890559 h 81"/>
                <a:gd name="T18" fmla="*/ 18280845 w 11"/>
                <a:gd name="T19" fmla="*/ 110523237 h 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81"/>
                <a:gd name="T32" fmla="*/ 11 w 11"/>
                <a:gd name="T33" fmla="*/ 81 h 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81">
                  <a:moveTo>
                    <a:pt x="11" y="70"/>
                  </a:moveTo>
                  <a:lnTo>
                    <a:pt x="11" y="75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1" y="7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29" name="Freeform 132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 rot="15621665">
              <a:off x="2073421" y="3698974"/>
              <a:ext cx="234542" cy="101043"/>
            </a:xfrm>
            <a:custGeom>
              <a:avLst/>
              <a:gdLst>
                <a:gd name="T0" fmla="*/ 778133325 w 59"/>
                <a:gd name="T1" fmla="*/ 41736988 h 199"/>
                <a:gd name="T2" fmla="*/ 850182263 w 59"/>
                <a:gd name="T3" fmla="*/ 43068979 h 199"/>
                <a:gd name="T4" fmla="*/ 158506965 w 59"/>
                <a:gd name="T5" fmla="*/ 0 h 199"/>
                <a:gd name="T6" fmla="*/ 0 w 59"/>
                <a:gd name="T7" fmla="*/ 1109836 h 199"/>
                <a:gd name="T8" fmla="*/ 619622625 w 59"/>
                <a:gd name="T9" fmla="*/ 43068979 h 199"/>
                <a:gd name="T10" fmla="*/ 778133325 w 59"/>
                <a:gd name="T11" fmla="*/ 44178814 h 199"/>
                <a:gd name="T12" fmla="*/ 619622625 w 59"/>
                <a:gd name="T13" fmla="*/ 43068979 h 199"/>
                <a:gd name="T14" fmla="*/ 691675357 w 59"/>
                <a:gd name="T15" fmla="*/ 44178814 h 199"/>
                <a:gd name="T16" fmla="*/ 778133325 w 59"/>
                <a:gd name="T17" fmla="*/ 44178814 h 199"/>
                <a:gd name="T18" fmla="*/ 778133325 w 59"/>
                <a:gd name="T19" fmla="*/ 41736988 h 19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9"/>
                <a:gd name="T31" fmla="*/ 0 h 199"/>
                <a:gd name="T32" fmla="*/ 59 w 59"/>
                <a:gd name="T33" fmla="*/ 199 h 19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9" h="199">
                  <a:moveTo>
                    <a:pt x="54" y="188"/>
                  </a:moveTo>
                  <a:lnTo>
                    <a:pt x="59" y="194"/>
                  </a:lnTo>
                  <a:lnTo>
                    <a:pt x="11" y="0"/>
                  </a:lnTo>
                  <a:lnTo>
                    <a:pt x="0" y="5"/>
                  </a:lnTo>
                  <a:lnTo>
                    <a:pt x="43" y="194"/>
                  </a:lnTo>
                  <a:lnTo>
                    <a:pt x="54" y="199"/>
                  </a:lnTo>
                  <a:lnTo>
                    <a:pt x="43" y="194"/>
                  </a:lnTo>
                  <a:lnTo>
                    <a:pt x="48" y="199"/>
                  </a:lnTo>
                  <a:lnTo>
                    <a:pt x="54" y="199"/>
                  </a:lnTo>
                  <a:lnTo>
                    <a:pt x="54" y="188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AR"/>
            </a:p>
          </p:txBody>
        </p:sp>
        <p:sp>
          <p:nvSpPr>
            <p:cNvPr id="330" name="412 Rectángulo"/>
            <p:cNvSpPr/>
            <p:nvPr/>
          </p:nvSpPr>
          <p:spPr bwMode="auto">
            <a:xfrm>
              <a:off x="1991168" y="4592038"/>
              <a:ext cx="931646" cy="174680"/>
            </a:xfrm>
            <a:prstGeom prst="rect">
              <a:avLst/>
            </a:prstGeom>
            <a:noFill/>
            <a:ln w="12700" cap="flat" cmpd="sng" algn="ctr">
              <a:solidFill>
                <a:schemeClr val="accent6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 algn="ctr">
                <a:defRPr/>
              </a:pPr>
              <a:endParaRPr lang="es-AR" sz="2000" dirty="0">
                <a:solidFill>
                  <a:schemeClr val="bg2"/>
                </a:solidFill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331" name="405 Forma libre"/>
            <p:cNvSpPr/>
            <p:nvPr/>
          </p:nvSpPr>
          <p:spPr bwMode="auto">
            <a:xfrm>
              <a:off x="769774" y="6079251"/>
              <a:ext cx="289186" cy="314153"/>
            </a:xfrm>
            <a:custGeom>
              <a:avLst/>
              <a:gdLst>
                <a:gd name="connsiteX0" fmla="*/ 177800 w 263525"/>
                <a:gd name="connsiteY0" fmla="*/ 66675 h 266700"/>
                <a:gd name="connsiteX1" fmla="*/ 53975 w 263525"/>
                <a:gd name="connsiteY1" fmla="*/ 19050 h 266700"/>
                <a:gd name="connsiteX2" fmla="*/ 34925 w 263525"/>
                <a:gd name="connsiteY2" fmla="*/ 180975 h 266700"/>
                <a:gd name="connsiteX3" fmla="*/ 263525 w 263525"/>
                <a:gd name="connsiteY3" fmla="*/ 26670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3525" h="266700">
                  <a:moveTo>
                    <a:pt x="177800" y="66675"/>
                  </a:moveTo>
                  <a:cubicBezTo>
                    <a:pt x="127793" y="33337"/>
                    <a:pt x="77787" y="0"/>
                    <a:pt x="53975" y="19050"/>
                  </a:cubicBezTo>
                  <a:cubicBezTo>
                    <a:pt x="30163" y="38100"/>
                    <a:pt x="0" y="139700"/>
                    <a:pt x="34925" y="180975"/>
                  </a:cubicBezTo>
                  <a:cubicBezTo>
                    <a:pt x="69850" y="222250"/>
                    <a:pt x="166687" y="244475"/>
                    <a:pt x="263525" y="266700"/>
                  </a:cubicBezTo>
                </a:path>
              </a:pathLst>
            </a:custGeom>
            <a:noFill/>
            <a:ln w="25400" cap="flat" cmpd="sng" algn="ctr">
              <a:solidFill>
                <a:srgbClr val="92D05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AR" sz="2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</p:grpSp>
      <p:sp>
        <p:nvSpPr>
          <p:cNvPr id="321" name="320 Rectángulo"/>
          <p:cNvSpPr/>
          <p:nvPr/>
        </p:nvSpPr>
        <p:spPr>
          <a:xfrm>
            <a:off x="3059832" y="1712997"/>
            <a:ext cx="6084168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2913" lvl="1" indent="-441325" defTabSz="895350">
              <a:lnSpc>
                <a:spcPct val="150000"/>
              </a:lnSpc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</a:pPr>
            <a:r>
              <a:rPr lang="es-ES_tradnl" altLang="es-AR" sz="1600" dirty="0" smtClean="0"/>
              <a:t>Llegamos con red propia a 376 localidades </a:t>
            </a:r>
          </a:p>
          <a:p>
            <a:pPr marL="442913" lvl="1" indent="-441325" defTabSz="895350">
              <a:lnSpc>
                <a:spcPct val="150000"/>
              </a:lnSpc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</a:pPr>
            <a:r>
              <a:rPr lang="es-ES_tradnl" altLang="es-AR" sz="1600" dirty="0" smtClean="0"/>
              <a:t>Cubrimos el 84% de la población</a:t>
            </a:r>
          </a:p>
          <a:p>
            <a:pPr marL="442913" lvl="1" indent="-441325" defTabSz="895350">
              <a:lnSpc>
                <a:spcPct val="150000"/>
              </a:lnSpc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</a:pPr>
            <a:r>
              <a:rPr lang="es-ES_tradnl" altLang="es-AR" sz="1600" dirty="0" smtClean="0"/>
              <a:t>Invertimos constantemente en desarrollo de red y servicios</a:t>
            </a:r>
          </a:p>
          <a:p>
            <a:pPr marL="442913" lvl="1" indent="-441325" defTabSz="895350">
              <a:lnSpc>
                <a:spcPct val="150000"/>
              </a:lnSpc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</a:pPr>
            <a:r>
              <a:rPr lang="es-ES_tradnl" altLang="es-AR" sz="1600" dirty="0" smtClean="0"/>
              <a:t>Tenemos un equipo de profesionales y técnicos capacitados, a lo largo de Argentina y también en el mundo</a:t>
            </a:r>
          </a:p>
          <a:p>
            <a:pPr marL="442913" lvl="1" indent="-441325" defTabSz="895350">
              <a:lnSpc>
                <a:spcPct val="150000"/>
              </a:lnSpc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</a:pPr>
            <a:r>
              <a:rPr lang="es-ES_tradnl" altLang="es-AR" sz="1600" dirty="0" smtClean="0"/>
              <a:t>Desde Telefónica Mayorista atendemos a 400 clientes Prestadores de servicios que incluyen:</a:t>
            </a:r>
          </a:p>
          <a:p>
            <a:pPr marL="900113" lvl="3" indent="-441325" defTabSz="895350">
              <a:lnSpc>
                <a:spcPct val="150000"/>
              </a:lnSpc>
              <a:buClr>
                <a:schemeClr val="tx2"/>
              </a:buClr>
              <a:buSzPct val="120000"/>
              <a:buFont typeface="Courier New" panose="02070309020205020404" pitchFamily="49" charset="0"/>
              <a:buChar char="o"/>
            </a:pPr>
            <a:r>
              <a:rPr lang="es-ES_tradnl" altLang="es-AR" sz="1600" dirty="0" smtClean="0"/>
              <a:t>Cooperativas</a:t>
            </a:r>
          </a:p>
          <a:p>
            <a:pPr marL="900113" lvl="3" indent="-441325" defTabSz="895350">
              <a:lnSpc>
                <a:spcPct val="150000"/>
              </a:lnSpc>
              <a:buClr>
                <a:schemeClr val="tx2"/>
              </a:buClr>
              <a:buSzPct val="120000"/>
              <a:buFont typeface="Courier New" panose="02070309020205020404" pitchFamily="49" charset="0"/>
              <a:buChar char="o"/>
            </a:pPr>
            <a:r>
              <a:rPr lang="es-ES_tradnl" altLang="es-AR" sz="1600" dirty="0" err="1" smtClean="0"/>
              <a:t>ISP´s</a:t>
            </a:r>
            <a:r>
              <a:rPr lang="es-ES_tradnl" altLang="es-AR" sz="1600" dirty="0" smtClean="0"/>
              <a:t> (inalámbricos y fijos)</a:t>
            </a:r>
          </a:p>
          <a:p>
            <a:pPr marL="900113" lvl="3" indent="-441325" defTabSz="895350">
              <a:lnSpc>
                <a:spcPct val="150000"/>
              </a:lnSpc>
              <a:buClr>
                <a:schemeClr val="tx2"/>
              </a:buClr>
              <a:buSzPct val="120000"/>
              <a:buFont typeface="Courier New" panose="02070309020205020404" pitchFamily="49" charset="0"/>
              <a:buChar char="o"/>
            </a:pPr>
            <a:r>
              <a:rPr lang="es-ES_tradnl" altLang="es-AR" sz="1600" dirty="0" smtClean="0"/>
              <a:t>Cableras</a:t>
            </a:r>
          </a:p>
          <a:p>
            <a:pPr marL="900113" lvl="3" indent="-441325" defTabSz="895350">
              <a:lnSpc>
                <a:spcPct val="150000"/>
              </a:lnSpc>
              <a:buClr>
                <a:schemeClr val="tx2"/>
              </a:buClr>
              <a:buSzPct val="120000"/>
              <a:buFont typeface="Courier New" panose="02070309020205020404" pitchFamily="49" charset="0"/>
              <a:buChar char="o"/>
            </a:pPr>
            <a:r>
              <a:rPr lang="es-ES_tradnl" altLang="es-AR" sz="1600" dirty="0"/>
              <a:t>Canales de </a:t>
            </a:r>
            <a:r>
              <a:rPr lang="es-ES_tradnl" altLang="es-AR" sz="1600" dirty="0" smtClean="0"/>
              <a:t>TV</a:t>
            </a:r>
            <a:endParaRPr lang="es-ES_tradnl" altLang="es-AR" sz="1600" dirty="0"/>
          </a:p>
          <a:p>
            <a:pPr marL="900113" lvl="3" indent="-441325" defTabSz="895350">
              <a:lnSpc>
                <a:spcPct val="150000"/>
              </a:lnSpc>
              <a:buClr>
                <a:schemeClr val="tx2"/>
              </a:buClr>
              <a:buSzPct val="120000"/>
              <a:buFont typeface="Courier New" panose="02070309020205020404" pitchFamily="49" charset="0"/>
              <a:buChar char="o"/>
            </a:pPr>
            <a:r>
              <a:rPr lang="es-ES_tradnl" altLang="es-AR" sz="1600" dirty="0" smtClean="0"/>
              <a:t>Otros prestadores</a:t>
            </a:r>
          </a:p>
        </p:txBody>
      </p:sp>
    </p:spTree>
    <p:extLst>
      <p:ext uri="{BB962C8B-B14F-4D97-AF65-F5344CB8AC3E}">
        <p14:creationId xmlns:p14="http://schemas.microsoft.com/office/powerpoint/2010/main" val="63358206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/>
          </p:nvPr>
        </p:nvSpPr>
        <p:spPr>
          <a:xfrm>
            <a:off x="35496" y="44624"/>
            <a:ext cx="9082906" cy="67710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s-AR" sz="2200" b="1" dirty="0" smtClean="0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La misión de Telefónica Mayorista es dar soluciones a las necesidades de los Prestadores, en particular de los </a:t>
            </a:r>
            <a:r>
              <a:rPr lang="es-AR" sz="2200" b="1" dirty="0" err="1" smtClean="0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ISPs</a:t>
            </a:r>
            <a:endParaRPr lang="es-AR" sz="2200" b="1" dirty="0">
              <a:solidFill>
                <a:srgbClr val="123E5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CuadroTexto 1"/>
          <p:cNvSpPr txBox="1"/>
          <p:nvPr/>
        </p:nvSpPr>
        <p:spPr>
          <a:xfrm>
            <a:off x="179512" y="1566261"/>
            <a:ext cx="15841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AR" sz="1600" dirty="0" smtClean="0">
                <a:solidFill>
                  <a:schemeClr val="tx1"/>
                </a:solidFill>
              </a:rPr>
              <a:t>Conectividad a Internet:</a:t>
            </a:r>
            <a:endParaRPr lang="es-ES" sz="1600" dirty="0" err="1" smtClean="0">
              <a:solidFill>
                <a:schemeClr val="tx1"/>
              </a:solidFill>
            </a:endParaRPr>
          </a:p>
        </p:txBody>
      </p:sp>
      <p:sp>
        <p:nvSpPr>
          <p:cNvPr id="5" name="CuadroTexto 4"/>
          <p:cNvSpPr txBox="1"/>
          <p:nvPr/>
        </p:nvSpPr>
        <p:spPr>
          <a:xfrm>
            <a:off x="179512" y="3371631"/>
            <a:ext cx="17235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AR" sz="1600" dirty="0" smtClean="0"/>
              <a:t>Enlaces y redes de datos:</a:t>
            </a:r>
            <a:endParaRPr lang="es-ES" sz="1600" dirty="0" err="1" smtClean="0">
              <a:solidFill>
                <a:schemeClr val="tx1"/>
              </a:solidFill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179512" y="5466710"/>
            <a:ext cx="1584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AR" sz="1600" dirty="0" smtClean="0"/>
              <a:t>Equipamiento:</a:t>
            </a:r>
            <a:endParaRPr lang="es-ES" sz="1600" dirty="0" err="1" smtClean="0">
              <a:solidFill>
                <a:schemeClr val="tx1"/>
              </a:solidFill>
            </a:endParaRPr>
          </a:p>
        </p:txBody>
      </p:sp>
      <p:cxnSp>
        <p:nvCxnSpPr>
          <p:cNvPr id="4" name="Conector recto de flecha 3"/>
          <p:cNvCxnSpPr/>
          <p:nvPr/>
        </p:nvCxnSpPr>
        <p:spPr bwMode="auto">
          <a:xfrm>
            <a:off x="2695198" y="6381328"/>
            <a:ext cx="6197282" cy="21486"/>
          </a:xfrm>
          <a:prstGeom prst="straightConnector1">
            <a:avLst/>
          </a:prstGeom>
          <a:ln>
            <a:headEnd type="none" w="med" len="med"/>
            <a:tailEnd type="triangle"/>
          </a:ln>
          <a:ex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" name="CuadroTexto 8"/>
          <p:cNvSpPr txBox="1"/>
          <p:nvPr/>
        </p:nvSpPr>
        <p:spPr>
          <a:xfrm>
            <a:off x="4423390" y="6402814"/>
            <a:ext cx="23401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AR" sz="1600" dirty="0" smtClean="0"/>
              <a:t>+ valor agregado</a:t>
            </a:r>
            <a:endParaRPr lang="es-ES" sz="1600" dirty="0" err="1" smtClean="0">
              <a:solidFill>
                <a:schemeClr val="tx1"/>
              </a:solidFill>
            </a:endParaRPr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3110" y="1495323"/>
            <a:ext cx="1112884" cy="728746"/>
          </a:xfrm>
          <a:prstGeom prst="rect">
            <a:avLst/>
          </a:prstGeom>
        </p:spPr>
      </p:pic>
      <p:sp>
        <p:nvSpPr>
          <p:cNvPr id="11" name="CuadroTexto 10"/>
          <p:cNvSpPr txBox="1"/>
          <p:nvPr/>
        </p:nvSpPr>
        <p:spPr>
          <a:xfrm>
            <a:off x="2128970" y="1831943"/>
            <a:ext cx="66075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s-ES" sz="1100" dirty="0" smtClean="0">
                <a:solidFill>
                  <a:schemeClr val="tx1"/>
                </a:solidFill>
              </a:rPr>
              <a:t>Internet</a:t>
            </a:r>
            <a:endParaRPr lang="es-AR" sz="1100" dirty="0" err="1" smtClean="0">
              <a:solidFill>
                <a:schemeClr val="tx1"/>
              </a:solidFill>
            </a:endParaRPr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40595" y="1340768"/>
            <a:ext cx="978442" cy="1160909"/>
          </a:xfrm>
          <a:prstGeom prst="rect">
            <a:avLst/>
          </a:prstGeom>
        </p:spPr>
      </p:pic>
      <p:cxnSp>
        <p:nvCxnSpPr>
          <p:cNvPr id="13" name="Conector recto 12"/>
          <p:cNvCxnSpPr/>
          <p:nvPr/>
        </p:nvCxnSpPr>
        <p:spPr bwMode="auto">
          <a:xfrm>
            <a:off x="2863015" y="1994332"/>
            <a:ext cx="696080" cy="0"/>
          </a:xfrm>
          <a:prstGeom prst="line">
            <a:avLst/>
          </a:prstGeom>
          <a:ln w="28575">
            <a:headEnd type="none" w="med" len="med"/>
            <a:tailEnd type="none" w="med" len="med"/>
          </a:ln>
          <a:extLst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4" name="CuadroTexto 13"/>
          <p:cNvSpPr txBox="1"/>
          <p:nvPr/>
        </p:nvSpPr>
        <p:spPr>
          <a:xfrm>
            <a:off x="3822920" y="1532951"/>
            <a:ext cx="49885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s-ES" sz="1100" dirty="0" smtClean="0">
                <a:solidFill>
                  <a:schemeClr val="tx1"/>
                </a:solidFill>
              </a:rPr>
              <a:t>NOC</a:t>
            </a:r>
            <a:endParaRPr lang="es-AR" sz="1100" dirty="0" err="1" smtClean="0">
              <a:solidFill>
                <a:schemeClr val="tx1"/>
              </a:solidFill>
            </a:endParaRPr>
          </a:p>
        </p:txBody>
      </p:sp>
      <p:pic>
        <p:nvPicPr>
          <p:cNvPr id="24" name="Imagen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6293" y="3359124"/>
            <a:ext cx="1106822" cy="689106"/>
          </a:xfrm>
          <a:prstGeom prst="rect">
            <a:avLst/>
          </a:prstGeom>
        </p:spPr>
      </p:pic>
      <p:pic>
        <p:nvPicPr>
          <p:cNvPr id="25" name="Imagen 2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58390" y="3212976"/>
            <a:ext cx="973112" cy="1097762"/>
          </a:xfrm>
          <a:prstGeom prst="rect">
            <a:avLst/>
          </a:prstGeom>
        </p:spPr>
      </p:pic>
      <p:cxnSp>
        <p:nvCxnSpPr>
          <p:cNvPr id="26" name="Conector recto 25"/>
          <p:cNvCxnSpPr/>
          <p:nvPr/>
        </p:nvCxnSpPr>
        <p:spPr bwMode="auto">
          <a:xfrm>
            <a:off x="4142721" y="3830835"/>
            <a:ext cx="393102" cy="1"/>
          </a:xfrm>
          <a:prstGeom prst="line">
            <a:avLst/>
          </a:prstGeom>
          <a:ln w="28575">
            <a:headEnd type="none" w="med" len="med"/>
            <a:tailEnd type="none" w="med" len="med"/>
          </a:ln>
          <a:extLst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7" name="CuadroTexto 26"/>
          <p:cNvSpPr txBox="1"/>
          <p:nvPr/>
        </p:nvSpPr>
        <p:spPr>
          <a:xfrm>
            <a:off x="4639414" y="3284984"/>
            <a:ext cx="679994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050" dirty="0" smtClean="0">
                <a:solidFill>
                  <a:schemeClr val="tx1"/>
                </a:solidFill>
              </a:rPr>
              <a:t>NOC</a:t>
            </a:r>
          </a:p>
          <a:p>
            <a:pPr algn="ctr"/>
            <a:r>
              <a:rPr lang="es-ES" sz="1050" dirty="0" smtClean="0">
                <a:solidFill>
                  <a:schemeClr val="tx1"/>
                </a:solidFill>
              </a:rPr>
              <a:t>Distante</a:t>
            </a:r>
            <a:endParaRPr lang="es-AR" sz="1050" dirty="0" err="1" smtClean="0">
              <a:solidFill>
                <a:schemeClr val="tx1"/>
              </a:solidFill>
            </a:endParaRPr>
          </a:p>
        </p:txBody>
      </p:sp>
      <p:pic>
        <p:nvPicPr>
          <p:cNvPr id="28" name="Imagen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87464" y="3249033"/>
            <a:ext cx="935970" cy="1025646"/>
          </a:xfrm>
          <a:prstGeom prst="rect">
            <a:avLst/>
          </a:prstGeom>
        </p:spPr>
      </p:pic>
      <p:cxnSp>
        <p:nvCxnSpPr>
          <p:cNvPr id="29" name="Conector recto 28"/>
          <p:cNvCxnSpPr/>
          <p:nvPr/>
        </p:nvCxnSpPr>
        <p:spPr bwMode="auto">
          <a:xfrm>
            <a:off x="2840996" y="3830835"/>
            <a:ext cx="393102" cy="1"/>
          </a:xfrm>
          <a:prstGeom prst="line">
            <a:avLst/>
          </a:prstGeom>
          <a:ln w="28575">
            <a:headEnd type="none" w="med" len="med"/>
            <a:tailEnd type="none" w="med" len="med"/>
          </a:ln>
          <a:extLst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0" name="CuadroTexto 29"/>
          <p:cNvSpPr txBox="1"/>
          <p:nvPr/>
        </p:nvSpPr>
        <p:spPr>
          <a:xfrm>
            <a:off x="2044341" y="3356992"/>
            <a:ext cx="78620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50" dirty="0" smtClean="0">
                <a:solidFill>
                  <a:schemeClr val="tx1"/>
                </a:solidFill>
              </a:rPr>
              <a:t>NOC Cabecera</a:t>
            </a:r>
            <a:endParaRPr lang="es-AR" sz="1050" dirty="0" err="1" smtClean="0">
              <a:solidFill>
                <a:schemeClr val="tx1"/>
              </a:solidFill>
            </a:endParaRPr>
          </a:p>
        </p:txBody>
      </p:sp>
      <p:sp>
        <p:nvSpPr>
          <p:cNvPr id="23" name="CuadroTexto 22"/>
          <p:cNvSpPr txBox="1"/>
          <p:nvPr/>
        </p:nvSpPr>
        <p:spPr>
          <a:xfrm>
            <a:off x="3443384" y="3707187"/>
            <a:ext cx="6158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s-ES" sz="1100" dirty="0" smtClean="0">
                <a:solidFill>
                  <a:schemeClr val="tx1"/>
                </a:solidFill>
              </a:rPr>
              <a:t>Red IP</a:t>
            </a:r>
            <a:endParaRPr lang="es-AR" sz="1100" dirty="0" err="1" smtClean="0">
              <a:solidFill>
                <a:schemeClr val="tx1"/>
              </a:solidFill>
            </a:endParaRPr>
          </a:p>
        </p:txBody>
      </p:sp>
      <p:grpSp>
        <p:nvGrpSpPr>
          <p:cNvPr id="32" name="Grupo 31"/>
          <p:cNvGrpSpPr/>
          <p:nvPr/>
        </p:nvGrpSpPr>
        <p:grpSpPr>
          <a:xfrm>
            <a:off x="5292080" y="2741233"/>
            <a:ext cx="3213488" cy="903791"/>
            <a:chOff x="481379" y="2987122"/>
            <a:chExt cx="5314757" cy="1388637"/>
          </a:xfrm>
        </p:grpSpPr>
        <p:grpSp>
          <p:nvGrpSpPr>
            <p:cNvPr id="34" name="Grupo 33"/>
            <p:cNvGrpSpPr/>
            <p:nvPr/>
          </p:nvGrpSpPr>
          <p:grpSpPr>
            <a:xfrm>
              <a:off x="2838164" y="3016344"/>
              <a:ext cx="2957972" cy="1304925"/>
              <a:chOff x="821940" y="786238"/>
              <a:chExt cx="2957972" cy="1304925"/>
            </a:xfrm>
          </p:grpSpPr>
          <p:pic>
            <p:nvPicPr>
              <p:cNvPr id="46" name="Imagen 45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821940" y="959966"/>
                <a:ext cx="1419225" cy="819150"/>
              </a:xfrm>
              <a:prstGeom prst="rect">
                <a:avLst/>
              </a:prstGeom>
            </p:spPr>
          </p:pic>
          <p:pic>
            <p:nvPicPr>
              <p:cNvPr id="47" name="Imagen 46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532137" y="786238"/>
                <a:ext cx="1247775" cy="1304925"/>
              </a:xfrm>
              <a:prstGeom prst="rect">
                <a:avLst/>
              </a:prstGeom>
            </p:spPr>
          </p:pic>
          <p:cxnSp>
            <p:nvCxnSpPr>
              <p:cNvPr id="48" name="Conector recto 47"/>
              <p:cNvCxnSpPr/>
              <p:nvPr/>
            </p:nvCxnSpPr>
            <p:spPr bwMode="auto">
              <a:xfrm>
                <a:off x="2055405" y="1520880"/>
                <a:ext cx="523963" cy="0"/>
              </a:xfrm>
              <a:prstGeom prst="line">
                <a:avLst/>
              </a:prstGeom>
              <a:ln w="28575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</p:cxnSp>
          <p:sp>
            <p:nvSpPr>
              <p:cNvPr id="49" name="CuadroTexto 48"/>
              <p:cNvSpPr txBox="1"/>
              <p:nvPr/>
            </p:nvSpPr>
            <p:spPr>
              <a:xfrm>
                <a:off x="2827165" y="928643"/>
                <a:ext cx="801191" cy="3901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s-ES" sz="1050" dirty="0" smtClean="0">
                    <a:solidFill>
                      <a:schemeClr val="tx1"/>
                    </a:solidFill>
                  </a:rPr>
                  <a:t>NOC</a:t>
                </a:r>
                <a:endParaRPr lang="es-AR" sz="1050" dirty="0" err="1" smtClean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35" name="Imagen 3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49077" y="2996952"/>
              <a:ext cx="1171575" cy="1143000"/>
            </a:xfrm>
            <a:prstGeom prst="rect">
              <a:avLst/>
            </a:prstGeom>
          </p:spPr>
        </p:pic>
        <p:sp>
          <p:nvSpPr>
            <p:cNvPr id="36" name="CuadroTexto 35"/>
            <p:cNvSpPr txBox="1"/>
            <p:nvPr/>
          </p:nvSpPr>
          <p:spPr>
            <a:xfrm>
              <a:off x="1985149" y="3985628"/>
              <a:ext cx="1710548" cy="3901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s-ES" sz="1050" dirty="0" smtClean="0">
                  <a:solidFill>
                    <a:schemeClr val="tx1"/>
                  </a:solidFill>
                </a:rPr>
                <a:t>Grilla Canales</a:t>
              </a:r>
              <a:endParaRPr lang="es-AR" sz="105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7" name="CuadroTexto 36"/>
            <p:cNvSpPr txBox="1"/>
            <p:nvPr/>
          </p:nvSpPr>
          <p:spPr>
            <a:xfrm>
              <a:off x="1508776" y="3380024"/>
              <a:ext cx="1127287" cy="63839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s-ES" sz="1050" dirty="0" smtClean="0">
                  <a:solidFill>
                    <a:schemeClr val="tx1"/>
                  </a:solidFill>
                </a:rPr>
                <a:t>Cabezal</a:t>
              </a:r>
            </a:p>
            <a:p>
              <a:pPr algn="l"/>
              <a:r>
                <a:rPr lang="es-ES" sz="1050" dirty="0" smtClean="0">
                  <a:solidFill>
                    <a:schemeClr val="tx1"/>
                  </a:solidFill>
                </a:rPr>
                <a:t>Satelital</a:t>
              </a:r>
              <a:endParaRPr lang="es-AR" sz="105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8" name="Conector recto 37"/>
            <p:cNvCxnSpPr/>
            <p:nvPr/>
          </p:nvCxnSpPr>
          <p:spPr bwMode="auto">
            <a:xfrm>
              <a:off x="2563890" y="3750986"/>
              <a:ext cx="385323" cy="0"/>
            </a:xfrm>
            <a:prstGeom prst="line">
              <a:avLst/>
            </a:prstGeom>
            <a:ln w="28575">
              <a:headEnd type="none" w="med" len="med"/>
              <a:tailEnd type="none" w="med" len="med"/>
            </a:ln>
            <a:extLst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39" name="Elipse 38"/>
            <p:cNvSpPr/>
            <p:nvPr/>
          </p:nvSpPr>
          <p:spPr bwMode="auto">
            <a:xfrm rot="1987359">
              <a:off x="940494" y="3313128"/>
              <a:ext cx="212314" cy="503261"/>
            </a:xfrm>
            <a:prstGeom prst="ellipse">
              <a:avLst/>
            </a:prstGeom>
            <a:noFill/>
            <a:ln w="25400" cap="flat" cmpd="sng" algn="ctr">
              <a:solidFill>
                <a:srgbClr val="43204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AR" sz="1050" b="0" i="0" u="sng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ヒラギノ角ゴ ProN W3" charset="-128"/>
                <a:sym typeface="Gill Sans" charset="0"/>
              </a:endParaRPr>
            </a:p>
          </p:txBody>
        </p:sp>
        <p:sp>
          <p:nvSpPr>
            <p:cNvPr id="40" name="Triángulo isósceles 39"/>
            <p:cNvSpPr/>
            <p:nvPr/>
          </p:nvSpPr>
          <p:spPr bwMode="auto">
            <a:xfrm rot="18649838">
              <a:off x="893771" y="3411837"/>
              <a:ext cx="134255" cy="163533"/>
            </a:xfrm>
            <a:prstGeom prst="triangle">
              <a:avLst/>
            </a:prstGeom>
            <a:solidFill>
              <a:schemeClr val="bg1"/>
            </a:solidFill>
            <a:ln w="25400" cap="flat" cmpd="sng" algn="ctr">
              <a:solidFill>
                <a:srgbClr val="43204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es-AR" sz="1050" u="sng">
                <a:ea typeface="ヒラギノ角ゴ ProN W3" charset="-128"/>
                <a:sym typeface="Gill Sans" charset="0"/>
              </a:endParaRPr>
            </a:p>
          </p:txBody>
        </p:sp>
        <p:sp>
          <p:nvSpPr>
            <p:cNvPr id="41" name="Triángulo isósceles 40"/>
            <p:cNvSpPr/>
            <p:nvPr/>
          </p:nvSpPr>
          <p:spPr bwMode="auto">
            <a:xfrm>
              <a:off x="945021" y="3628626"/>
              <a:ext cx="477674" cy="380150"/>
            </a:xfrm>
            <a:prstGeom prst="triangle">
              <a:avLst/>
            </a:prstGeom>
            <a:noFill/>
            <a:ln w="25400" cap="flat" cmpd="sng" algn="ctr">
              <a:solidFill>
                <a:srgbClr val="43204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es-AR" sz="1050" u="sng">
                <a:ea typeface="ヒラギノ角ゴ ProN W3" charset="-128"/>
                <a:sym typeface="Gill Sans" charset="0"/>
              </a:endParaRPr>
            </a:p>
          </p:txBody>
        </p:sp>
        <p:grpSp>
          <p:nvGrpSpPr>
            <p:cNvPr id="42" name="Grupo 41"/>
            <p:cNvGrpSpPr/>
            <p:nvPr/>
          </p:nvGrpSpPr>
          <p:grpSpPr>
            <a:xfrm>
              <a:off x="481379" y="2987122"/>
              <a:ext cx="242706" cy="364360"/>
              <a:chOff x="7713670" y="3098837"/>
              <a:chExt cx="458630" cy="568337"/>
            </a:xfrm>
          </p:grpSpPr>
          <p:sp>
            <p:nvSpPr>
              <p:cNvPr id="43" name="Rectángulo redondeado 42"/>
              <p:cNvSpPr/>
              <p:nvPr/>
            </p:nvSpPr>
            <p:spPr bwMode="auto">
              <a:xfrm rot="2406912">
                <a:off x="7713670" y="3458767"/>
                <a:ext cx="151788" cy="208407"/>
              </a:xfrm>
              <a:prstGeom prst="roundRect">
                <a:avLst/>
              </a:prstGeom>
              <a:noFill/>
              <a:ln w="25400" cap="flat" cmpd="sng" algn="ctr">
                <a:solidFill>
                  <a:srgbClr val="43204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endParaRPr lang="es-AR" sz="1050" u="sng">
                  <a:ea typeface="ヒラギノ角ゴ ProN W3" charset="-128"/>
                  <a:sym typeface="Gill Sans" charset="0"/>
                </a:endParaRPr>
              </a:p>
            </p:txBody>
          </p:sp>
          <p:sp>
            <p:nvSpPr>
              <p:cNvPr id="44" name="Rectángulo redondeado 43"/>
              <p:cNvSpPr/>
              <p:nvPr/>
            </p:nvSpPr>
            <p:spPr bwMode="auto">
              <a:xfrm rot="7839770">
                <a:off x="7860038" y="3201914"/>
                <a:ext cx="165893" cy="367663"/>
              </a:xfrm>
              <a:prstGeom prst="roundRect">
                <a:avLst/>
              </a:prstGeom>
              <a:noFill/>
              <a:ln w="25400" cap="flat" cmpd="sng" algn="ctr">
                <a:solidFill>
                  <a:srgbClr val="43204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endParaRPr lang="es-AR" sz="1050" u="sng">
                  <a:ea typeface="ヒラギノ角ゴ ProN W3" charset="-128"/>
                  <a:sym typeface="Gill Sans" charset="0"/>
                </a:endParaRPr>
              </a:p>
            </p:txBody>
          </p:sp>
          <p:sp>
            <p:nvSpPr>
              <p:cNvPr id="45" name="Rectángulo redondeado 44"/>
              <p:cNvSpPr/>
              <p:nvPr/>
            </p:nvSpPr>
            <p:spPr bwMode="auto">
              <a:xfrm rot="2406912">
                <a:off x="8020512" y="3098837"/>
                <a:ext cx="151788" cy="208407"/>
              </a:xfrm>
              <a:prstGeom prst="roundRect">
                <a:avLst/>
              </a:prstGeom>
              <a:noFill/>
              <a:ln w="25400" cap="flat" cmpd="sng" algn="ctr">
                <a:solidFill>
                  <a:srgbClr val="43204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endParaRPr lang="es-AR" sz="1050" u="sng">
                  <a:ea typeface="ヒラギノ角ゴ ProN W3" charset="-128"/>
                  <a:sym typeface="Gill Sans" charset="0"/>
                </a:endParaRPr>
              </a:p>
            </p:txBody>
          </p:sp>
        </p:grpSp>
      </p:grpSp>
      <p:sp>
        <p:nvSpPr>
          <p:cNvPr id="33" name="CuadroTexto 32"/>
          <p:cNvSpPr txBox="1"/>
          <p:nvPr/>
        </p:nvSpPr>
        <p:spPr>
          <a:xfrm>
            <a:off x="6849384" y="3068960"/>
            <a:ext cx="59663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s-ES" sz="1050" dirty="0" smtClean="0">
                <a:solidFill>
                  <a:schemeClr val="tx1"/>
                </a:solidFill>
              </a:rPr>
              <a:t>Red IP</a:t>
            </a:r>
            <a:endParaRPr lang="es-AR" sz="1050" dirty="0" err="1" smtClean="0">
              <a:solidFill>
                <a:schemeClr val="tx1"/>
              </a:solidFill>
            </a:endParaRPr>
          </a:p>
        </p:txBody>
      </p:sp>
      <p:pic>
        <p:nvPicPr>
          <p:cNvPr id="51" name="Imagen 5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8950" y="4197948"/>
            <a:ext cx="976980" cy="536143"/>
          </a:xfrm>
          <a:prstGeom prst="rect">
            <a:avLst/>
          </a:prstGeom>
        </p:spPr>
      </p:pic>
      <p:sp>
        <p:nvSpPr>
          <p:cNvPr id="52" name="CuadroTexto 51"/>
          <p:cNvSpPr txBox="1"/>
          <p:nvPr/>
        </p:nvSpPr>
        <p:spPr>
          <a:xfrm>
            <a:off x="7176997" y="4445294"/>
            <a:ext cx="44755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dirty="0" smtClean="0">
                <a:solidFill>
                  <a:schemeClr val="tx1"/>
                </a:solidFill>
              </a:rPr>
              <a:t>VPN</a:t>
            </a:r>
          </a:p>
        </p:txBody>
      </p:sp>
      <p:cxnSp>
        <p:nvCxnSpPr>
          <p:cNvPr id="53" name="Conector recto 52"/>
          <p:cNvCxnSpPr/>
          <p:nvPr/>
        </p:nvCxnSpPr>
        <p:spPr bwMode="auto">
          <a:xfrm>
            <a:off x="7741370" y="4541852"/>
            <a:ext cx="360691" cy="0"/>
          </a:xfrm>
          <a:prstGeom prst="line">
            <a:avLst/>
          </a:prstGeom>
          <a:ln w="28575">
            <a:headEnd type="none" w="med" len="med"/>
            <a:tailEnd type="none" w="med" len="med"/>
          </a:ln>
          <a:extLst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56" name="CuadroTexto 55"/>
          <p:cNvSpPr txBox="1"/>
          <p:nvPr/>
        </p:nvSpPr>
        <p:spPr>
          <a:xfrm>
            <a:off x="6695169" y="4211332"/>
            <a:ext cx="35458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s-ES" sz="1000" dirty="0" smtClean="0">
                <a:solidFill>
                  <a:schemeClr val="tx1"/>
                </a:solidFill>
              </a:rPr>
              <a:t>4G</a:t>
            </a:r>
          </a:p>
        </p:txBody>
      </p:sp>
      <p:grpSp>
        <p:nvGrpSpPr>
          <p:cNvPr id="57" name="Grupo 56"/>
          <p:cNvGrpSpPr/>
          <p:nvPr/>
        </p:nvGrpSpPr>
        <p:grpSpPr>
          <a:xfrm flipH="1">
            <a:off x="6630339" y="4135148"/>
            <a:ext cx="443841" cy="361919"/>
            <a:chOff x="7030476" y="3445869"/>
            <a:chExt cx="778565" cy="703899"/>
          </a:xfrm>
        </p:grpSpPr>
        <p:sp>
          <p:nvSpPr>
            <p:cNvPr id="66" name="Arco 65"/>
            <p:cNvSpPr/>
            <p:nvPr/>
          </p:nvSpPr>
          <p:spPr bwMode="auto">
            <a:xfrm>
              <a:off x="7092280" y="3526791"/>
              <a:ext cx="648072" cy="622977"/>
            </a:xfrm>
            <a:prstGeom prst="arc">
              <a:avLst/>
            </a:prstGeom>
            <a:noFill/>
            <a:ln w="25400" cap="flat" cmpd="sng" algn="ctr">
              <a:solidFill>
                <a:srgbClr val="43204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AR" sz="10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</a:endParaRPr>
            </a:p>
          </p:txBody>
        </p:sp>
        <p:sp>
          <p:nvSpPr>
            <p:cNvPr id="67" name="Arco 66"/>
            <p:cNvSpPr/>
            <p:nvPr/>
          </p:nvSpPr>
          <p:spPr bwMode="auto">
            <a:xfrm>
              <a:off x="7030476" y="3445869"/>
              <a:ext cx="778565" cy="669761"/>
            </a:xfrm>
            <a:prstGeom prst="arc">
              <a:avLst/>
            </a:prstGeom>
            <a:noFill/>
            <a:ln w="25400" cap="flat" cmpd="sng" algn="ctr">
              <a:solidFill>
                <a:srgbClr val="43204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AR" sz="10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</a:endParaRPr>
            </a:p>
          </p:txBody>
        </p:sp>
      </p:grpSp>
      <p:sp>
        <p:nvSpPr>
          <p:cNvPr id="58" name="CuadroTexto 57"/>
          <p:cNvSpPr txBox="1"/>
          <p:nvPr/>
        </p:nvSpPr>
        <p:spPr>
          <a:xfrm>
            <a:off x="6593745" y="4556364"/>
            <a:ext cx="35458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s-ES" sz="1000" dirty="0">
                <a:solidFill>
                  <a:schemeClr val="tx1"/>
                </a:solidFill>
              </a:rPr>
              <a:t>3</a:t>
            </a:r>
            <a:r>
              <a:rPr lang="es-ES" sz="1000" dirty="0" smtClean="0">
                <a:solidFill>
                  <a:schemeClr val="tx1"/>
                </a:solidFill>
              </a:rPr>
              <a:t>G</a:t>
            </a:r>
          </a:p>
        </p:txBody>
      </p:sp>
      <p:grpSp>
        <p:nvGrpSpPr>
          <p:cNvPr id="59" name="Grupo 58"/>
          <p:cNvGrpSpPr/>
          <p:nvPr/>
        </p:nvGrpSpPr>
        <p:grpSpPr>
          <a:xfrm flipH="1">
            <a:off x="6528915" y="4480180"/>
            <a:ext cx="443841" cy="361919"/>
            <a:chOff x="7030476" y="3445869"/>
            <a:chExt cx="778565" cy="703899"/>
          </a:xfrm>
        </p:grpSpPr>
        <p:sp>
          <p:nvSpPr>
            <p:cNvPr id="64" name="Arco 63"/>
            <p:cNvSpPr/>
            <p:nvPr/>
          </p:nvSpPr>
          <p:spPr bwMode="auto">
            <a:xfrm>
              <a:off x="7092280" y="3526791"/>
              <a:ext cx="648072" cy="622977"/>
            </a:xfrm>
            <a:prstGeom prst="arc">
              <a:avLst/>
            </a:prstGeom>
            <a:noFill/>
            <a:ln w="25400" cap="flat" cmpd="sng" algn="ctr">
              <a:solidFill>
                <a:srgbClr val="43204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AR" sz="10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</a:endParaRPr>
            </a:p>
          </p:txBody>
        </p:sp>
        <p:sp>
          <p:nvSpPr>
            <p:cNvPr id="65" name="Arco 64"/>
            <p:cNvSpPr/>
            <p:nvPr/>
          </p:nvSpPr>
          <p:spPr bwMode="auto">
            <a:xfrm>
              <a:off x="7030476" y="3445869"/>
              <a:ext cx="778565" cy="669761"/>
            </a:xfrm>
            <a:prstGeom prst="arc">
              <a:avLst/>
            </a:prstGeom>
            <a:noFill/>
            <a:ln w="25400" cap="flat" cmpd="sng" algn="ctr">
              <a:solidFill>
                <a:srgbClr val="43204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AR" sz="10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</a:endParaRPr>
            </a:p>
          </p:txBody>
        </p:sp>
      </p:grpSp>
      <p:sp>
        <p:nvSpPr>
          <p:cNvPr id="60" name="CuadroTexto 59"/>
          <p:cNvSpPr txBox="1"/>
          <p:nvPr/>
        </p:nvSpPr>
        <p:spPr>
          <a:xfrm>
            <a:off x="6744739" y="4839144"/>
            <a:ext cx="54694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s-ES" sz="1000" dirty="0" smtClean="0">
                <a:solidFill>
                  <a:schemeClr val="tx1"/>
                </a:solidFill>
              </a:rPr>
              <a:t>GPRS</a:t>
            </a:r>
          </a:p>
        </p:txBody>
      </p:sp>
      <p:grpSp>
        <p:nvGrpSpPr>
          <p:cNvPr id="61" name="Grupo 60"/>
          <p:cNvGrpSpPr/>
          <p:nvPr/>
        </p:nvGrpSpPr>
        <p:grpSpPr>
          <a:xfrm flipH="1">
            <a:off x="6679908" y="4762960"/>
            <a:ext cx="443841" cy="361919"/>
            <a:chOff x="7030476" y="3445869"/>
            <a:chExt cx="778565" cy="703899"/>
          </a:xfrm>
        </p:grpSpPr>
        <p:sp>
          <p:nvSpPr>
            <p:cNvPr id="62" name="Arco 61"/>
            <p:cNvSpPr/>
            <p:nvPr/>
          </p:nvSpPr>
          <p:spPr bwMode="auto">
            <a:xfrm>
              <a:off x="7092280" y="3526791"/>
              <a:ext cx="648072" cy="622977"/>
            </a:xfrm>
            <a:prstGeom prst="arc">
              <a:avLst/>
            </a:prstGeom>
            <a:noFill/>
            <a:ln w="25400" cap="flat" cmpd="sng" algn="ctr">
              <a:solidFill>
                <a:srgbClr val="43204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AR" sz="10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</a:endParaRPr>
            </a:p>
          </p:txBody>
        </p:sp>
        <p:sp>
          <p:nvSpPr>
            <p:cNvPr id="63" name="Arco 62"/>
            <p:cNvSpPr/>
            <p:nvPr/>
          </p:nvSpPr>
          <p:spPr bwMode="auto">
            <a:xfrm>
              <a:off x="7030476" y="3445869"/>
              <a:ext cx="778565" cy="669761"/>
            </a:xfrm>
            <a:prstGeom prst="arc">
              <a:avLst/>
            </a:prstGeom>
            <a:noFill/>
            <a:ln w="25400" cap="flat" cmpd="sng" algn="ctr">
              <a:solidFill>
                <a:srgbClr val="43204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AR" sz="1000" u="sng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</a:endParaRPr>
            </a:p>
          </p:txBody>
        </p:sp>
      </p:grpSp>
      <p:pic>
        <p:nvPicPr>
          <p:cNvPr id="68" name="Imagen 6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3881" y="5593940"/>
            <a:ext cx="637999" cy="643372"/>
          </a:xfrm>
          <a:prstGeom prst="rect">
            <a:avLst/>
          </a:prstGeom>
        </p:spPr>
      </p:pic>
      <p:pic>
        <p:nvPicPr>
          <p:cNvPr id="69" name="Imagen 6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58054" y="3900743"/>
            <a:ext cx="978442" cy="1160909"/>
          </a:xfrm>
          <a:prstGeom prst="rect">
            <a:avLst/>
          </a:prstGeom>
        </p:spPr>
      </p:pic>
      <p:sp>
        <p:nvSpPr>
          <p:cNvPr id="70" name="CuadroTexto 69"/>
          <p:cNvSpPr txBox="1"/>
          <p:nvPr/>
        </p:nvSpPr>
        <p:spPr>
          <a:xfrm>
            <a:off x="8274078" y="4071181"/>
            <a:ext cx="49885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s-ES" sz="1100" dirty="0" smtClean="0">
                <a:solidFill>
                  <a:schemeClr val="tx1"/>
                </a:solidFill>
              </a:rPr>
              <a:t>NOC</a:t>
            </a:r>
            <a:endParaRPr lang="es-AR" sz="1100" dirty="0" err="1" smtClean="0">
              <a:solidFill>
                <a:schemeClr val="tx1"/>
              </a:solidFill>
            </a:endParaRPr>
          </a:p>
        </p:txBody>
      </p:sp>
      <p:pic>
        <p:nvPicPr>
          <p:cNvPr id="71" name="Imagen 7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4980" y="1549226"/>
            <a:ext cx="1311276" cy="655638"/>
          </a:xfrm>
          <a:prstGeom prst="rect">
            <a:avLst/>
          </a:prstGeom>
        </p:spPr>
      </p:pic>
      <p:cxnSp>
        <p:nvCxnSpPr>
          <p:cNvPr id="15" name="Conector recto 14"/>
          <p:cNvCxnSpPr/>
          <p:nvPr/>
        </p:nvCxnSpPr>
        <p:spPr bwMode="auto">
          <a:xfrm>
            <a:off x="390942" y="2420888"/>
            <a:ext cx="8241349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  <a:ex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72" name="Conector recto 71"/>
          <p:cNvCxnSpPr/>
          <p:nvPr/>
        </p:nvCxnSpPr>
        <p:spPr bwMode="auto">
          <a:xfrm>
            <a:off x="543342" y="5085184"/>
            <a:ext cx="8241349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 w="med" len="med"/>
            <a:tailEnd type="none" w="med" len="med"/>
          </a:ln>
          <a:ex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6" name="CuadroTexto 15"/>
          <p:cNvSpPr txBox="1"/>
          <p:nvPr/>
        </p:nvSpPr>
        <p:spPr>
          <a:xfrm>
            <a:off x="2531526" y="1124744"/>
            <a:ext cx="1387808" cy="307777"/>
          </a:xfrm>
          <a:prstGeom prst="rect">
            <a:avLst/>
          </a:prstGeom>
          <a:ln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AR" sz="1400" b="1" dirty="0" err="1" smtClean="0">
                <a:solidFill>
                  <a:schemeClr val="bg1"/>
                </a:solidFill>
              </a:rPr>
              <a:t>IPTransit</a:t>
            </a:r>
            <a:endParaRPr lang="es-ES" sz="1400" b="1" dirty="0" err="1" smtClean="0">
              <a:solidFill>
                <a:schemeClr val="bg1"/>
              </a:solidFill>
            </a:endParaRPr>
          </a:p>
        </p:txBody>
      </p:sp>
      <p:sp>
        <p:nvSpPr>
          <p:cNvPr id="73" name="CuadroTexto 72"/>
          <p:cNvSpPr txBox="1"/>
          <p:nvPr/>
        </p:nvSpPr>
        <p:spPr>
          <a:xfrm>
            <a:off x="2891566" y="2833191"/>
            <a:ext cx="1387808" cy="307777"/>
          </a:xfrm>
          <a:prstGeom prst="rect">
            <a:avLst/>
          </a:prstGeom>
          <a:ln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AR" sz="1400" b="1" dirty="0" smtClean="0">
                <a:solidFill>
                  <a:schemeClr val="bg1"/>
                </a:solidFill>
              </a:rPr>
              <a:t>Enlace </a:t>
            </a:r>
            <a:r>
              <a:rPr lang="es-AR" sz="1400" b="1" dirty="0" err="1" smtClean="0">
                <a:solidFill>
                  <a:schemeClr val="bg1"/>
                </a:solidFill>
              </a:rPr>
              <a:t>PaP</a:t>
            </a:r>
            <a:r>
              <a:rPr lang="es-AR" sz="1400" b="1" dirty="0" smtClean="0">
                <a:solidFill>
                  <a:schemeClr val="bg1"/>
                </a:solidFill>
              </a:rPr>
              <a:t> pi</a:t>
            </a:r>
            <a:endParaRPr lang="es-ES" sz="1400" b="1" dirty="0" err="1" smtClean="0">
              <a:solidFill>
                <a:schemeClr val="bg1"/>
              </a:solidFill>
            </a:endParaRPr>
          </a:p>
        </p:txBody>
      </p:sp>
      <p:sp>
        <p:nvSpPr>
          <p:cNvPr id="74" name="CuadroTexto 73"/>
          <p:cNvSpPr txBox="1"/>
          <p:nvPr/>
        </p:nvSpPr>
        <p:spPr>
          <a:xfrm>
            <a:off x="6896171" y="3717032"/>
            <a:ext cx="1387808" cy="307777"/>
          </a:xfrm>
          <a:prstGeom prst="rect">
            <a:avLst/>
          </a:prstGeom>
          <a:ln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AR" sz="1400" b="1" dirty="0" smtClean="0">
                <a:solidFill>
                  <a:schemeClr val="bg1"/>
                </a:solidFill>
              </a:rPr>
              <a:t>M2M</a:t>
            </a:r>
            <a:endParaRPr lang="es-ES" sz="1400" b="1" dirty="0" err="1" smtClean="0">
              <a:solidFill>
                <a:schemeClr val="bg1"/>
              </a:solidFill>
            </a:endParaRPr>
          </a:p>
        </p:txBody>
      </p:sp>
      <p:sp>
        <p:nvSpPr>
          <p:cNvPr id="75" name="CuadroTexto 74"/>
          <p:cNvSpPr txBox="1"/>
          <p:nvPr/>
        </p:nvSpPr>
        <p:spPr>
          <a:xfrm>
            <a:off x="5647988" y="2505464"/>
            <a:ext cx="3100476" cy="307777"/>
          </a:xfrm>
          <a:prstGeom prst="rect">
            <a:avLst/>
          </a:prstGeom>
          <a:ln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AR" sz="1400" b="1" dirty="0" smtClean="0">
                <a:solidFill>
                  <a:schemeClr val="bg1"/>
                </a:solidFill>
              </a:rPr>
              <a:t>Transporte de Señales de TV</a:t>
            </a:r>
            <a:endParaRPr lang="es-ES" sz="1400" b="1" dirty="0" err="1" smtClean="0">
              <a:solidFill>
                <a:schemeClr val="bg1"/>
              </a:solidFill>
            </a:endParaRPr>
          </a:p>
        </p:txBody>
      </p:sp>
      <p:sp>
        <p:nvSpPr>
          <p:cNvPr id="76" name="CuadroTexto 75"/>
          <p:cNvSpPr txBox="1"/>
          <p:nvPr/>
        </p:nvSpPr>
        <p:spPr>
          <a:xfrm>
            <a:off x="5362951" y="1104999"/>
            <a:ext cx="1800443" cy="307777"/>
          </a:xfrm>
          <a:prstGeom prst="rect">
            <a:avLst/>
          </a:prstGeom>
          <a:ln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AR" sz="1400" b="1" dirty="0" smtClean="0">
                <a:solidFill>
                  <a:schemeClr val="bg1"/>
                </a:solidFill>
              </a:rPr>
              <a:t>Suite de Seguridad</a:t>
            </a:r>
            <a:endParaRPr lang="es-ES" sz="1400" b="1" dirty="0" err="1" smtClean="0">
              <a:solidFill>
                <a:schemeClr val="bg1"/>
              </a:solidFill>
            </a:endParaRPr>
          </a:p>
        </p:txBody>
      </p:sp>
      <p:sp>
        <p:nvSpPr>
          <p:cNvPr id="77" name="CuadroTexto 76"/>
          <p:cNvSpPr txBox="1"/>
          <p:nvPr/>
        </p:nvSpPr>
        <p:spPr>
          <a:xfrm>
            <a:off x="7360656" y="1104999"/>
            <a:ext cx="1387808" cy="307777"/>
          </a:xfrm>
          <a:prstGeom prst="rect">
            <a:avLst/>
          </a:prstGeom>
          <a:ln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AR" sz="1400" b="1" dirty="0" err="1" smtClean="0">
                <a:solidFill>
                  <a:schemeClr val="bg1"/>
                </a:solidFill>
              </a:rPr>
              <a:t>DDoS</a:t>
            </a:r>
            <a:r>
              <a:rPr lang="es-AR" sz="1400" b="1" dirty="0" smtClean="0">
                <a:solidFill>
                  <a:schemeClr val="bg1"/>
                </a:solidFill>
              </a:rPr>
              <a:t> </a:t>
            </a:r>
            <a:r>
              <a:rPr lang="es-AR" sz="1400" b="1" dirty="0" err="1" smtClean="0">
                <a:solidFill>
                  <a:schemeClr val="bg1"/>
                </a:solidFill>
              </a:rPr>
              <a:t>Shield</a:t>
            </a:r>
            <a:endParaRPr lang="es-ES" sz="1400" b="1" dirty="0" err="1" smtClean="0">
              <a:solidFill>
                <a:schemeClr val="bg1"/>
              </a:solidFill>
            </a:endParaRPr>
          </a:p>
        </p:txBody>
      </p:sp>
      <p:sp>
        <p:nvSpPr>
          <p:cNvPr id="78" name="CuadroTexto 77"/>
          <p:cNvSpPr txBox="1"/>
          <p:nvPr/>
        </p:nvSpPr>
        <p:spPr>
          <a:xfrm>
            <a:off x="2915816" y="5169769"/>
            <a:ext cx="1875040" cy="307777"/>
          </a:xfrm>
          <a:prstGeom prst="rect">
            <a:avLst/>
          </a:prstGeom>
          <a:ln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AR" sz="1400" b="1" dirty="0" err="1" smtClean="0">
                <a:solidFill>
                  <a:schemeClr val="bg1"/>
                </a:solidFill>
              </a:rPr>
              <a:t>Networking</a:t>
            </a:r>
            <a:endParaRPr lang="es-ES" sz="1400" b="1" dirty="0" err="1" smtClean="0">
              <a:solidFill>
                <a:schemeClr val="bg1"/>
              </a:solidFill>
            </a:endParaRPr>
          </a:p>
        </p:txBody>
      </p:sp>
      <p:pic>
        <p:nvPicPr>
          <p:cNvPr id="79" name="Imagen 7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9462" y="5593940"/>
            <a:ext cx="1026800" cy="560327"/>
          </a:xfrm>
          <a:prstGeom prst="rect">
            <a:avLst/>
          </a:prstGeom>
        </p:spPr>
      </p:pic>
      <p:pic>
        <p:nvPicPr>
          <p:cNvPr id="80" name="Imagen 7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5172" y="1560792"/>
            <a:ext cx="999276" cy="716080"/>
          </a:xfrm>
          <a:prstGeom prst="rect">
            <a:avLst/>
          </a:prstGeom>
          <a:solidFill>
            <a:schemeClr val="tx1"/>
          </a:solidFill>
        </p:spPr>
      </p:pic>
    </p:spTree>
    <p:extLst>
      <p:ext uri="{BB962C8B-B14F-4D97-AF65-F5344CB8AC3E}">
        <p14:creationId xmlns:p14="http://schemas.microsoft.com/office/powerpoint/2010/main" val="57279595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/>
          </p:nvPr>
        </p:nvSpPr>
        <p:spPr>
          <a:xfrm>
            <a:off x="62110" y="44624"/>
            <a:ext cx="8974386" cy="67710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s-AR" sz="2200" b="1" dirty="0" smtClean="0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Los cambios en los hábitos de consumo de contenidos audiovisuales multiplican la necesidad de ancho de banda</a:t>
            </a:r>
            <a:endParaRPr lang="es-AR" sz="2200" b="1" dirty="0">
              <a:solidFill>
                <a:srgbClr val="123E5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8" descr="http://300palabrasdemarketing.com/wp-content/uploads/2012/04/Samsung-AdHub-platform-for-Smart-TV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11960" y="2636912"/>
            <a:ext cx="2873713" cy="2088232"/>
          </a:xfrm>
          <a:prstGeom prst="rect">
            <a:avLst/>
          </a:prstGeom>
          <a:noFill/>
        </p:spPr>
      </p:pic>
      <p:pic>
        <p:nvPicPr>
          <p:cNvPr id="9" name="Picture 4" descr="http://www.queveo.cl/wp-content/uploads/2011/12/familia-viendo-tv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4346" y="2708920"/>
            <a:ext cx="2743478" cy="2000245"/>
          </a:xfrm>
          <a:prstGeom prst="rect">
            <a:avLst/>
          </a:prstGeom>
          <a:noFill/>
        </p:spPr>
      </p:pic>
      <p:pic>
        <p:nvPicPr>
          <p:cNvPr id="13" name="Picture 2" descr="http://www.iprofesional.com/adjuntos/jpg/2013/10/388763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648816" y="4060675"/>
            <a:ext cx="2943541" cy="2149253"/>
          </a:xfrm>
          <a:prstGeom prst="rect">
            <a:avLst/>
          </a:prstGeom>
          <a:noFill/>
        </p:spPr>
      </p:pic>
      <p:pic>
        <p:nvPicPr>
          <p:cNvPr id="14" name="Picture 4" descr="http://corporate.comcast.com/images/Cloud-TV-TV-and-Tablet-Live-Show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841060" y="1268760"/>
            <a:ext cx="3024225" cy="2054676"/>
          </a:xfrm>
          <a:prstGeom prst="rect">
            <a:avLst/>
          </a:prstGeom>
          <a:noFill/>
        </p:spPr>
      </p:pic>
      <p:sp>
        <p:nvSpPr>
          <p:cNvPr id="15" name="14 Rectángulo"/>
          <p:cNvSpPr/>
          <p:nvPr/>
        </p:nvSpPr>
        <p:spPr>
          <a:xfrm>
            <a:off x="1619672" y="4941168"/>
            <a:ext cx="422138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2913" lvl="1" indent="-441325" defTabSz="895350">
              <a:lnSpc>
                <a:spcPct val="150000"/>
              </a:lnSpc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</a:pPr>
            <a:r>
              <a:rPr lang="es-ES_tradnl" altLang="es-AR" sz="1600" dirty="0" err="1" smtClean="0"/>
              <a:t>Broadcast</a:t>
            </a:r>
            <a:r>
              <a:rPr lang="es-ES_tradnl" altLang="es-AR" sz="1600" dirty="0" smtClean="0"/>
              <a:t>, </a:t>
            </a:r>
            <a:r>
              <a:rPr lang="es-ES_tradnl" altLang="es-AR" sz="1600" dirty="0" err="1" smtClean="0"/>
              <a:t>On</a:t>
            </a:r>
            <a:r>
              <a:rPr lang="es-ES_tradnl" altLang="es-AR" sz="1600" dirty="0" smtClean="0"/>
              <a:t> </a:t>
            </a:r>
            <a:r>
              <a:rPr lang="es-ES_tradnl" altLang="es-AR" sz="1600" dirty="0" err="1" smtClean="0"/>
              <a:t>Demand</a:t>
            </a:r>
            <a:endParaRPr lang="es-ES_tradnl" altLang="es-AR" sz="1600" dirty="0" smtClean="0"/>
          </a:p>
          <a:p>
            <a:pPr marL="442913" lvl="1" indent="-441325" defTabSz="895350">
              <a:lnSpc>
                <a:spcPct val="150000"/>
              </a:lnSpc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</a:pPr>
            <a:r>
              <a:rPr lang="es-ES_tradnl" altLang="es-AR" sz="1600" dirty="0" smtClean="0"/>
              <a:t>Múltiples plataformas</a:t>
            </a:r>
          </a:p>
          <a:p>
            <a:pPr marL="442913" lvl="1" indent="-441325" defTabSz="895350">
              <a:lnSpc>
                <a:spcPct val="150000"/>
              </a:lnSpc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</a:pPr>
            <a:r>
              <a:rPr lang="es-ES_tradnl" altLang="es-AR" sz="1600" dirty="0" smtClean="0"/>
              <a:t>Múltiples dispositivos</a:t>
            </a:r>
          </a:p>
          <a:p>
            <a:pPr marL="442913" lvl="1" indent="-441325" defTabSz="895350">
              <a:lnSpc>
                <a:spcPct val="150000"/>
              </a:lnSpc>
              <a:buClr>
                <a:schemeClr val="tx2"/>
              </a:buClr>
              <a:buSzPct val="120000"/>
              <a:buFont typeface="Wingdings" panose="05000000000000000000" pitchFamily="2" charset="2"/>
              <a:buChar char="§"/>
            </a:pPr>
            <a:r>
              <a:rPr lang="es-ES_tradnl" altLang="es-AR" sz="1600" dirty="0" smtClean="0"/>
              <a:t>Redes sociales</a:t>
            </a:r>
          </a:p>
        </p:txBody>
      </p:sp>
      <p:sp>
        <p:nvSpPr>
          <p:cNvPr id="2" name="1 Flecha derecha"/>
          <p:cNvSpPr/>
          <p:nvPr/>
        </p:nvSpPr>
        <p:spPr bwMode="auto">
          <a:xfrm>
            <a:off x="3419872" y="2924944"/>
            <a:ext cx="432048" cy="1656184"/>
          </a:xfrm>
          <a:prstGeom prst="rightArrow">
            <a:avLst/>
          </a:prstGeom>
          <a:gradFill>
            <a:gsLst>
              <a:gs pos="47000">
                <a:schemeClr val="tx1"/>
              </a:gs>
              <a:gs pos="100000">
                <a:schemeClr val="tx1">
                  <a:lumMod val="50000"/>
                  <a:lumOff val="50000"/>
                </a:schemeClr>
              </a:gs>
            </a:gsLst>
            <a:lin ang="2700000" scaled="0"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2800" b="0" i="0" u="sng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ea typeface="ヒラギノ角ゴ ProN W3" charset="-128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287325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/>
          </p:nvPr>
        </p:nvSpPr>
        <p:spPr>
          <a:xfrm>
            <a:off x="35496" y="44624"/>
            <a:ext cx="9082906" cy="67710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s-AR" sz="2200" b="1" dirty="0" smtClean="0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El tráfico en la redes se ve dominado por el video, que impulsa su crecimiento y presenta desafíos para los Prestadores con redes</a:t>
            </a:r>
            <a:endParaRPr lang="es-AR" sz="2200" b="1" dirty="0">
              <a:solidFill>
                <a:srgbClr val="123E5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2" descr="http://www.cisco.com/c/dam/en/us/solutions/collateral/service-provider/visual-networking-index-vni/VNI_Hyperconnectivity_WP.doc/_jcr_content/renditions/VNI_Hyperconnectivity_WP_1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628800"/>
            <a:ext cx="7938880" cy="4320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469423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65 Grupo"/>
          <p:cNvGrpSpPr/>
          <p:nvPr/>
        </p:nvGrpSpPr>
        <p:grpSpPr>
          <a:xfrm>
            <a:off x="2760479" y="980728"/>
            <a:ext cx="4193592" cy="3816424"/>
            <a:chOff x="2858393" y="260649"/>
            <a:chExt cx="4593927" cy="4536503"/>
          </a:xfrm>
        </p:grpSpPr>
        <p:pic>
          <p:nvPicPr>
            <p:cNvPr id="4" name="Picture 2" descr="C:\Users\doyon\AppData\Local\Microsoft\Windows\Temporary Internet Files\Content.IE5\YXBBNVJJ\lupe-160478_640[1]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 rot="16200000">
              <a:off x="2887105" y="231937"/>
              <a:ext cx="4536503" cy="4593927"/>
            </a:xfrm>
            <a:prstGeom prst="rect">
              <a:avLst/>
            </a:prstGeom>
            <a:noFill/>
          </p:spPr>
        </p:pic>
        <p:sp>
          <p:nvSpPr>
            <p:cNvPr id="5" name="64 Forma libre"/>
            <p:cNvSpPr/>
            <p:nvPr/>
          </p:nvSpPr>
          <p:spPr bwMode="auto">
            <a:xfrm>
              <a:off x="3361454" y="4086225"/>
              <a:ext cx="934321" cy="491059"/>
            </a:xfrm>
            <a:custGeom>
              <a:avLst/>
              <a:gdLst>
                <a:gd name="connsiteX0" fmla="*/ 934321 w 934321"/>
                <a:gd name="connsiteY0" fmla="*/ 485775 h 491059"/>
                <a:gd name="connsiteX1" fmla="*/ 934321 w 934321"/>
                <a:gd name="connsiteY1" fmla="*/ 485775 h 491059"/>
                <a:gd name="connsiteX2" fmla="*/ 715246 w 934321"/>
                <a:gd name="connsiteY2" fmla="*/ 476250 h 491059"/>
                <a:gd name="connsiteX3" fmla="*/ 534271 w 934321"/>
                <a:gd name="connsiteY3" fmla="*/ 457200 h 491059"/>
                <a:gd name="connsiteX4" fmla="*/ 429496 w 934321"/>
                <a:gd name="connsiteY4" fmla="*/ 428625 h 491059"/>
                <a:gd name="connsiteX5" fmla="*/ 400921 w 934321"/>
                <a:gd name="connsiteY5" fmla="*/ 419100 h 491059"/>
                <a:gd name="connsiteX6" fmla="*/ 372346 w 934321"/>
                <a:gd name="connsiteY6" fmla="*/ 409575 h 491059"/>
                <a:gd name="connsiteX7" fmla="*/ 305671 w 934321"/>
                <a:gd name="connsiteY7" fmla="*/ 371475 h 491059"/>
                <a:gd name="connsiteX8" fmla="*/ 277096 w 934321"/>
                <a:gd name="connsiteY8" fmla="*/ 361950 h 491059"/>
                <a:gd name="connsiteX9" fmla="*/ 219946 w 934321"/>
                <a:gd name="connsiteY9" fmla="*/ 323850 h 491059"/>
                <a:gd name="connsiteX10" fmla="*/ 191371 w 934321"/>
                <a:gd name="connsiteY10" fmla="*/ 304800 h 491059"/>
                <a:gd name="connsiteX11" fmla="*/ 124696 w 934321"/>
                <a:gd name="connsiteY11" fmla="*/ 276225 h 491059"/>
                <a:gd name="connsiteX12" fmla="*/ 67546 w 934321"/>
                <a:gd name="connsiteY12" fmla="*/ 219075 h 491059"/>
                <a:gd name="connsiteX13" fmla="*/ 38971 w 934321"/>
                <a:gd name="connsiteY13" fmla="*/ 190500 h 491059"/>
                <a:gd name="connsiteX14" fmla="*/ 871 w 934321"/>
                <a:gd name="connsiteY14" fmla="*/ 104775 h 491059"/>
                <a:gd name="connsiteX15" fmla="*/ 10396 w 934321"/>
                <a:gd name="connsiteY15" fmla="*/ 28575 h 491059"/>
                <a:gd name="connsiteX16" fmla="*/ 38971 w 934321"/>
                <a:gd name="connsiteY16" fmla="*/ 19050 h 491059"/>
                <a:gd name="connsiteX17" fmla="*/ 77071 w 934321"/>
                <a:gd name="connsiteY17" fmla="*/ 0 h 491059"/>
                <a:gd name="connsiteX18" fmla="*/ 439021 w 934321"/>
                <a:gd name="connsiteY18" fmla="*/ 9525 h 491059"/>
                <a:gd name="connsiteX19" fmla="*/ 496171 w 934321"/>
                <a:gd name="connsiteY19" fmla="*/ 28575 h 491059"/>
                <a:gd name="connsiteX20" fmla="*/ 534271 w 934321"/>
                <a:gd name="connsiteY20" fmla="*/ 38100 h 491059"/>
                <a:gd name="connsiteX21" fmla="*/ 591421 w 934321"/>
                <a:gd name="connsiteY21" fmla="*/ 57150 h 491059"/>
                <a:gd name="connsiteX22" fmla="*/ 619996 w 934321"/>
                <a:gd name="connsiteY22" fmla="*/ 66675 h 491059"/>
                <a:gd name="connsiteX23" fmla="*/ 677146 w 934321"/>
                <a:gd name="connsiteY23" fmla="*/ 104775 h 491059"/>
                <a:gd name="connsiteX24" fmla="*/ 705721 w 934321"/>
                <a:gd name="connsiteY24" fmla="*/ 123825 h 491059"/>
                <a:gd name="connsiteX25" fmla="*/ 724771 w 934321"/>
                <a:gd name="connsiteY25" fmla="*/ 152400 h 491059"/>
                <a:gd name="connsiteX26" fmla="*/ 781921 w 934321"/>
                <a:gd name="connsiteY26" fmla="*/ 200025 h 491059"/>
                <a:gd name="connsiteX27" fmla="*/ 820021 w 934321"/>
                <a:gd name="connsiteY27" fmla="*/ 257175 h 491059"/>
                <a:gd name="connsiteX28" fmla="*/ 839071 w 934321"/>
                <a:gd name="connsiteY28" fmla="*/ 314325 h 491059"/>
                <a:gd name="connsiteX29" fmla="*/ 867646 w 934321"/>
                <a:gd name="connsiteY29" fmla="*/ 428625 h 491059"/>
                <a:gd name="connsiteX30" fmla="*/ 934321 w 934321"/>
                <a:gd name="connsiteY30" fmla="*/ 485775 h 49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34321" h="491059">
                  <a:moveTo>
                    <a:pt x="934321" y="485775"/>
                  </a:moveTo>
                  <a:lnTo>
                    <a:pt x="934321" y="485775"/>
                  </a:lnTo>
                  <a:lnTo>
                    <a:pt x="715246" y="476250"/>
                  </a:lnTo>
                  <a:cubicBezTo>
                    <a:pt x="621582" y="471046"/>
                    <a:pt x="609200" y="470824"/>
                    <a:pt x="534271" y="457200"/>
                  </a:cubicBezTo>
                  <a:cubicBezTo>
                    <a:pt x="475033" y="446430"/>
                    <a:pt x="491985" y="449455"/>
                    <a:pt x="429496" y="428625"/>
                  </a:cubicBezTo>
                  <a:lnTo>
                    <a:pt x="400921" y="419100"/>
                  </a:lnTo>
                  <a:lnTo>
                    <a:pt x="372346" y="409575"/>
                  </a:lnTo>
                  <a:cubicBezTo>
                    <a:pt x="343648" y="390443"/>
                    <a:pt x="339508" y="385977"/>
                    <a:pt x="305671" y="371475"/>
                  </a:cubicBezTo>
                  <a:cubicBezTo>
                    <a:pt x="296443" y="367520"/>
                    <a:pt x="286621" y="365125"/>
                    <a:pt x="277096" y="361950"/>
                  </a:cubicBezTo>
                  <a:cubicBezTo>
                    <a:pt x="222927" y="307781"/>
                    <a:pt x="275085" y="351419"/>
                    <a:pt x="219946" y="323850"/>
                  </a:cubicBezTo>
                  <a:cubicBezTo>
                    <a:pt x="209707" y="318730"/>
                    <a:pt x="201610" y="309920"/>
                    <a:pt x="191371" y="304800"/>
                  </a:cubicBezTo>
                  <a:cubicBezTo>
                    <a:pt x="159258" y="288743"/>
                    <a:pt x="157730" y="302652"/>
                    <a:pt x="124696" y="276225"/>
                  </a:cubicBezTo>
                  <a:cubicBezTo>
                    <a:pt x="103659" y="259395"/>
                    <a:pt x="86596" y="238125"/>
                    <a:pt x="67546" y="219075"/>
                  </a:cubicBezTo>
                  <a:lnTo>
                    <a:pt x="38971" y="190500"/>
                  </a:lnTo>
                  <a:cubicBezTo>
                    <a:pt x="16301" y="122490"/>
                    <a:pt x="31060" y="150058"/>
                    <a:pt x="871" y="104775"/>
                  </a:cubicBezTo>
                  <a:cubicBezTo>
                    <a:pt x="4046" y="79375"/>
                    <a:pt x="0" y="51966"/>
                    <a:pt x="10396" y="28575"/>
                  </a:cubicBezTo>
                  <a:cubicBezTo>
                    <a:pt x="14474" y="19400"/>
                    <a:pt x="29743" y="23005"/>
                    <a:pt x="38971" y="19050"/>
                  </a:cubicBezTo>
                  <a:cubicBezTo>
                    <a:pt x="52022" y="13457"/>
                    <a:pt x="64371" y="6350"/>
                    <a:pt x="77071" y="0"/>
                  </a:cubicBezTo>
                  <a:cubicBezTo>
                    <a:pt x="197721" y="3175"/>
                    <a:pt x="318609" y="1315"/>
                    <a:pt x="439021" y="9525"/>
                  </a:cubicBezTo>
                  <a:cubicBezTo>
                    <a:pt x="459055" y="10891"/>
                    <a:pt x="476690" y="23705"/>
                    <a:pt x="496171" y="28575"/>
                  </a:cubicBezTo>
                  <a:cubicBezTo>
                    <a:pt x="508871" y="31750"/>
                    <a:pt x="521732" y="34338"/>
                    <a:pt x="534271" y="38100"/>
                  </a:cubicBezTo>
                  <a:cubicBezTo>
                    <a:pt x="553505" y="43870"/>
                    <a:pt x="572371" y="50800"/>
                    <a:pt x="591421" y="57150"/>
                  </a:cubicBezTo>
                  <a:lnTo>
                    <a:pt x="619996" y="66675"/>
                  </a:lnTo>
                  <a:lnTo>
                    <a:pt x="677146" y="104775"/>
                  </a:lnTo>
                  <a:lnTo>
                    <a:pt x="705721" y="123825"/>
                  </a:lnTo>
                  <a:cubicBezTo>
                    <a:pt x="712071" y="133350"/>
                    <a:pt x="716676" y="144305"/>
                    <a:pt x="724771" y="152400"/>
                  </a:cubicBezTo>
                  <a:cubicBezTo>
                    <a:pt x="779804" y="207433"/>
                    <a:pt x="727306" y="129806"/>
                    <a:pt x="781921" y="200025"/>
                  </a:cubicBezTo>
                  <a:cubicBezTo>
                    <a:pt x="795977" y="218097"/>
                    <a:pt x="807321" y="238125"/>
                    <a:pt x="820021" y="257175"/>
                  </a:cubicBezTo>
                  <a:cubicBezTo>
                    <a:pt x="831160" y="273883"/>
                    <a:pt x="839071" y="314325"/>
                    <a:pt x="839071" y="314325"/>
                  </a:cubicBezTo>
                  <a:cubicBezTo>
                    <a:pt x="842503" y="341780"/>
                    <a:pt x="841505" y="402484"/>
                    <a:pt x="867646" y="428625"/>
                  </a:cubicBezTo>
                  <a:cubicBezTo>
                    <a:pt x="930080" y="491059"/>
                    <a:pt x="924796" y="438058"/>
                    <a:pt x="934321" y="485775"/>
                  </a:cubicBezTo>
                  <a:close/>
                </a:path>
              </a:pathLst>
            </a:custGeom>
            <a:solidFill>
              <a:schemeClr val="bg1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AR" sz="20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</p:grpSp>
      <p:sp>
        <p:nvSpPr>
          <p:cNvPr id="7" name="Título 6"/>
          <p:cNvSpPr>
            <a:spLocks noGrp="1"/>
          </p:cNvSpPr>
          <p:nvPr>
            <p:ph type="title"/>
          </p:nvPr>
        </p:nvSpPr>
        <p:spPr>
          <a:xfrm>
            <a:off x="62110" y="99147"/>
            <a:ext cx="8974386" cy="67710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s-AR" sz="2200" b="1" dirty="0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E</a:t>
            </a:r>
            <a:r>
              <a:rPr lang="es-AR" sz="2200" b="1" dirty="0" smtClean="0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n el negocio Telefónica Mayorista participa como </a:t>
            </a:r>
            <a:r>
              <a:rPr lang="es-AR" sz="2200" b="1" dirty="0" err="1" smtClean="0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carrier</a:t>
            </a:r>
            <a:r>
              <a:rPr lang="es-AR" sz="2200" b="1" dirty="0" smtClean="0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 de contenidos audiovisuales para Prestadores</a:t>
            </a:r>
            <a:endParaRPr lang="es-AR" sz="2200" b="1" dirty="0">
              <a:solidFill>
                <a:srgbClr val="123E5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4" descr="C:\Users\ecoffey\AppData\Local\Temp\Rar$DRa0.400\30009_Device_cloud_white_default_256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5085" y="2296500"/>
            <a:ext cx="2032600" cy="203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C:\Users\ecoffey\AppData\Local\Temp\Rar$DRa0.080\30032_Device_generic_building_default_256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192" y="2708920"/>
            <a:ext cx="936104" cy="936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 descr="C:\Users\ecoffey\AppData\Local\Temp\Rar$DRa0.583\Cisco Icons November\30067_Device_router_3057\Png_256\30067_Device_router_3057_warning_256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3212976"/>
            <a:ext cx="576064" cy="325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6" descr="C:\Users\ecoffey\AppData\Local\Temp\Rar$DRa0.572\30070_Device_satellite_unreachable_256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515023">
            <a:off x="33148" y="1196058"/>
            <a:ext cx="1228200" cy="881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0" descr="C:\Users\ecoffey\AppData\Local\Temp\Rar$DRa0.793\30071_Device_satellite_dish_unknown_64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04056" y="2348880"/>
            <a:ext cx="1475656" cy="1475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 descr="C:\Users\ecoffey\AppData\Local\Temp\Rar$DRa0.583\Cisco Icons November\30067_Device_router_3057\Png_256\30067_Device_router_3057_warning_256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4149080"/>
            <a:ext cx="576064" cy="325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8" descr="C:\Users\ecoffey\AppData\Local\Temp\Rar$DRa0.583\Cisco Icons November\30067_Device_router_3057\Png_256\30067_Device_router_3057_warning_256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800" y="4149080"/>
            <a:ext cx="576064" cy="325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0" descr="C:\Users\ecoffey\AppData\Local\Temp\Rar$DRa0.567\30063_Device_repeater_unknown_64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6" y="3068960"/>
            <a:ext cx="487680" cy="487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0" descr="C:\Users\ecoffey\AppData\Local\Temp\Rar$DRa0.567\30063_Device_repeater_unknown_64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136" y="3068960"/>
            <a:ext cx="487680" cy="487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0" descr="C:\Users\ecoffey\AppData\Local\Temp\Rar$DRa0.567\30063_Device_repeater_unknown_64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4525496"/>
            <a:ext cx="487680" cy="487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8" descr="C:\Users\ecoffey\AppData\Local\Temp\Rar$DRa0.583\Cisco Icons November\30067_Device_router_3057\Png_256\30067_Device_router_3057_warning_256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760" y="3212976"/>
            <a:ext cx="576064" cy="325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0" descr="C:\Users\ecoffey\AppData\Local\Temp\Rar$DRa0.567\30063_Device_repeater_unknown_64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8" y="4509120"/>
            <a:ext cx="487680" cy="487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" descr="C:\Users\ecoffey\AppData\Local\Temp\Rar$DRa0.080\30032_Device_generic_building_default_256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6" y="4941168"/>
            <a:ext cx="936104" cy="936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" descr="C:\Users\ecoffey\AppData\Local\Temp\Rar$DRa0.080\30032_Device_generic_building_default_256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7784" y="4941168"/>
            <a:ext cx="936104" cy="936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43 Rectángulo redondeado"/>
          <p:cNvSpPr/>
          <p:nvPr/>
        </p:nvSpPr>
        <p:spPr bwMode="auto">
          <a:xfrm>
            <a:off x="683568" y="4005064"/>
            <a:ext cx="1584176" cy="504056"/>
          </a:xfrm>
          <a:prstGeom prst="roundRect">
            <a:avLst/>
          </a:prstGeom>
          <a:solidFill>
            <a:srgbClr val="4BACC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AR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ea typeface="ヒラギノ角ゴ ProN W3" charset="0"/>
                <a:cs typeface="ヒラギノ角ゴ ProN W3" charset="0"/>
                <a:sym typeface="Gill Sans" charset="0"/>
              </a:rPr>
              <a:t>Head End</a:t>
            </a:r>
            <a:endParaRPr kumimoji="0" lang="es-AR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3" name="44 Rectángulo redondeado"/>
          <p:cNvSpPr/>
          <p:nvPr/>
        </p:nvSpPr>
        <p:spPr bwMode="auto">
          <a:xfrm>
            <a:off x="2339752" y="5949280"/>
            <a:ext cx="1368152" cy="360040"/>
          </a:xfrm>
          <a:prstGeom prst="roundRect">
            <a:avLst/>
          </a:prstGeom>
          <a:solidFill>
            <a:srgbClr val="4BACC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AR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ea typeface="ヒラギノ角ゴ ProN W3" charset="0"/>
                <a:cs typeface="ヒラギノ角ゴ ProN W3" charset="0"/>
                <a:sym typeface="Gill Sans" charset="0"/>
              </a:rPr>
              <a:t>Prestador </a:t>
            </a:r>
            <a:r>
              <a:rPr kumimoji="0" lang="es-AR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ea typeface="ヒラギノ角ゴ ProN W3" charset="0"/>
                <a:cs typeface="ヒラギノ角ゴ ProN W3" charset="0"/>
                <a:sym typeface="Gill Sans" charset="0"/>
              </a:rPr>
              <a:t>n</a:t>
            </a:r>
            <a:endParaRPr kumimoji="0" lang="es-AR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4" name="45 Rectángulo redondeado"/>
          <p:cNvSpPr/>
          <p:nvPr/>
        </p:nvSpPr>
        <p:spPr bwMode="auto">
          <a:xfrm>
            <a:off x="4499992" y="5949280"/>
            <a:ext cx="1368152" cy="360040"/>
          </a:xfrm>
          <a:prstGeom prst="roundRect">
            <a:avLst/>
          </a:prstGeom>
          <a:solidFill>
            <a:srgbClr val="4BACC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AR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ea typeface="ヒラギノ角ゴ ProN W3" charset="0"/>
                <a:cs typeface="ヒラギノ角ゴ ProN W3" charset="0"/>
                <a:sym typeface="Gill Sans" charset="0"/>
              </a:rPr>
              <a:t>Prestador </a:t>
            </a:r>
            <a:r>
              <a:rPr kumimoji="0" lang="es-AR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ea typeface="ヒラギノ角ゴ ProN W3" charset="0"/>
                <a:cs typeface="ヒラギノ角ゴ ProN W3" charset="0"/>
                <a:sym typeface="Gill Sans" charset="0"/>
              </a:rPr>
              <a:t>2</a:t>
            </a:r>
            <a:endParaRPr kumimoji="0" lang="es-AR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5" name="46 Rectángulo redondeado"/>
          <p:cNvSpPr/>
          <p:nvPr/>
        </p:nvSpPr>
        <p:spPr bwMode="auto">
          <a:xfrm>
            <a:off x="6156176" y="3789040"/>
            <a:ext cx="1368152" cy="360040"/>
          </a:xfrm>
          <a:prstGeom prst="roundRect">
            <a:avLst/>
          </a:prstGeom>
          <a:solidFill>
            <a:srgbClr val="4BACC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AR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ea typeface="ヒラギノ角ゴ ProN W3" charset="0"/>
                <a:cs typeface="ヒラギノ角ゴ ProN W3" charset="0"/>
                <a:sym typeface="Gill Sans" charset="0"/>
              </a:rPr>
              <a:t>Prestador </a:t>
            </a:r>
            <a:r>
              <a:rPr kumimoji="0" lang="es-AR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ea typeface="ヒラギノ角ゴ ProN W3" charset="0"/>
                <a:cs typeface="ヒラギノ角ゴ ProN W3" charset="0"/>
                <a:sym typeface="Gill Sans" charset="0"/>
              </a:rPr>
              <a:t>1</a:t>
            </a:r>
            <a:endParaRPr kumimoji="0" lang="es-AR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6" name="47 Rectángulo redondeado"/>
          <p:cNvSpPr/>
          <p:nvPr/>
        </p:nvSpPr>
        <p:spPr bwMode="auto">
          <a:xfrm>
            <a:off x="7236296" y="4797152"/>
            <a:ext cx="1584176" cy="504056"/>
          </a:xfrm>
          <a:prstGeom prst="roundRect">
            <a:avLst/>
          </a:prstGeom>
          <a:solidFill>
            <a:srgbClr val="4BACC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AR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ea typeface="ヒラギノ角ゴ ProN W3" charset="0"/>
                <a:cs typeface="ヒラギノ角ゴ ProN W3" charset="0"/>
                <a:sym typeface="Gill Sans" charset="0"/>
              </a:rPr>
              <a:t>Cliente finales</a:t>
            </a:r>
            <a:endParaRPr kumimoji="0" lang="es-AR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pic>
        <p:nvPicPr>
          <p:cNvPr id="28" name="Picture 10" descr="http://r3.whistleout.com.au/public/images/guides/guide_iptv_1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631832" y="2924944"/>
            <a:ext cx="1224136" cy="918102"/>
          </a:xfrm>
          <a:prstGeom prst="rect">
            <a:avLst/>
          </a:prstGeom>
          <a:noFill/>
        </p:spPr>
      </p:pic>
      <p:pic>
        <p:nvPicPr>
          <p:cNvPr id="30" name="Picture 10" descr="http://r3.whistleout.com.au/public/images/guides/guide_iptv_1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62550" y="2419341"/>
            <a:ext cx="676200" cy="507150"/>
          </a:xfrm>
          <a:prstGeom prst="rect">
            <a:avLst/>
          </a:prstGeom>
          <a:noFill/>
        </p:spPr>
      </p:pic>
      <p:pic>
        <p:nvPicPr>
          <p:cNvPr id="31" name="Picture 10" descr="http://r3.whistleout.com.au/public/images/guides/guide_iptv_1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42968" y="3897072"/>
            <a:ext cx="745728" cy="559296"/>
          </a:xfrm>
          <a:prstGeom prst="rect">
            <a:avLst/>
          </a:prstGeom>
          <a:noFill/>
        </p:spPr>
      </p:pic>
      <p:cxnSp>
        <p:nvCxnSpPr>
          <p:cNvPr id="32" name="31 Conector recto"/>
          <p:cNvCxnSpPr>
            <a:endCxn id="30" idx="1"/>
          </p:cNvCxnSpPr>
          <p:nvPr/>
        </p:nvCxnSpPr>
        <p:spPr bwMode="auto">
          <a:xfrm flipV="1">
            <a:off x="7236296" y="2672916"/>
            <a:ext cx="526254" cy="639884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33 Conector recto"/>
          <p:cNvCxnSpPr>
            <a:endCxn id="28" idx="1"/>
          </p:cNvCxnSpPr>
          <p:nvPr/>
        </p:nvCxnSpPr>
        <p:spPr bwMode="auto">
          <a:xfrm>
            <a:off x="7236296" y="3312800"/>
            <a:ext cx="395536" cy="71195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35 Conector recto"/>
          <p:cNvCxnSpPr/>
          <p:nvPr/>
        </p:nvCxnSpPr>
        <p:spPr bwMode="auto">
          <a:xfrm>
            <a:off x="7236296" y="3312800"/>
            <a:ext cx="648072" cy="836280"/>
          </a:xfrm>
          <a:prstGeom prst="line">
            <a:avLst/>
          </a:prstGeom>
          <a:ln>
            <a:headEnd type="none" w="med" len="med"/>
            <a:tailEnd type="none" w="med" len="med"/>
          </a:ln>
          <a:ex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3" name="CuadroTexto 32"/>
          <p:cNvSpPr txBox="1"/>
          <p:nvPr/>
        </p:nvSpPr>
        <p:spPr>
          <a:xfrm>
            <a:off x="3275856" y="3212976"/>
            <a:ext cx="1750390" cy="523220"/>
          </a:xfrm>
          <a:prstGeom prst="rect">
            <a:avLst/>
          </a:prstGeom>
          <a:ln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AR" sz="1400" b="1" dirty="0" smtClean="0">
                <a:solidFill>
                  <a:schemeClr val="bg1"/>
                </a:solidFill>
              </a:rPr>
              <a:t>Transporte de Señales de TV</a:t>
            </a:r>
            <a:endParaRPr lang="es-ES" sz="1400" b="1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916356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6786" y="106760"/>
            <a:ext cx="8675271" cy="67710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s-ES_tradnl" sz="2200" b="1" dirty="0" smtClean="0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La oferta específica para transporte de contenidos audiovisuales evoluciona con la demanda de los Prestadores</a:t>
            </a:r>
            <a:endParaRPr lang="es-AR" sz="2200" b="1" dirty="0">
              <a:solidFill>
                <a:srgbClr val="123E5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" name="Grupo 2"/>
          <p:cNvGrpSpPr/>
          <p:nvPr/>
        </p:nvGrpSpPr>
        <p:grpSpPr>
          <a:xfrm>
            <a:off x="116786" y="1023080"/>
            <a:ext cx="6663209" cy="2045880"/>
            <a:chOff x="116786" y="1023080"/>
            <a:chExt cx="6663209" cy="2045880"/>
          </a:xfrm>
        </p:grpSpPr>
        <p:sp>
          <p:nvSpPr>
            <p:cNvPr id="432" name="Rectángulo redondeado 431"/>
            <p:cNvSpPr/>
            <p:nvPr/>
          </p:nvSpPr>
          <p:spPr bwMode="auto">
            <a:xfrm>
              <a:off x="116786" y="1023080"/>
              <a:ext cx="6663209" cy="2019641"/>
            </a:xfrm>
            <a:prstGeom prst="roundRect">
              <a:avLst/>
            </a:prstGeom>
            <a:solidFill>
              <a:schemeClr val="tx1">
                <a:lumMod val="65000"/>
                <a:alpha val="22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s-AR" sz="2000" dirty="0">
                <a:solidFill>
                  <a:schemeClr val="bg2"/>
                </a:solidFill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pic>
          <p:nvPicPr>
            <p:cNvPr id="433" name="Picture 10" descr="C:\Users\ecoffey\AppData\Local\Temp\Rar$DRa0.793\30071_Device_satellite_dish_default_256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6786" y="1232614"/>
              <a:ext cx="771744" cy="9618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4" name="Nube 433"/>
            <p:cNvSpPr/>
            <p:nvPr/>
          </p:nvSpPr>
          <p:spPr bwMode="auto">
            <a:xfrm>
              <a:off x="2277026" y="1316527"/>
              <a:ext cx="2400158" cy="1350027"/>
            </a:xfrm>
            <a:prstGeom prst="cloud">
              <a:avLst/>
            </a:prstGeom>
            <a:solidFill>
              <a:schemeClr val="accent6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ES" sz="1400" b="0" i="0" u="none" strike="noStrike" cap="none" normalizeH="0" baseline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ea typeface="ヒラギノ角ゴ ProN W3" charset="0"/>
                  <a:cs typeface="ヒラギノ角ゴ ProN W3" charset="0"/>
                  <a:sym typeface="Gill Sans" charset="0"/>
                </a:rPr>
                <a:t>Backbone</a:t>
              </a:r>
              <a:r>
                <a:rPr kumimoji="0" lang="es-ES" sz="14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ea typeface="ヒラギノ角ゴ ProN W3" charset="0"/>
                  <a:cs typeface="ヒラギノ角ゴ ProN W3" charset="0"/>
                  <a:sym typeface="Gill Sans" charset="0"/>
                </a:rPr>
                <a:t> </a:t>
              </a:r>
              <a:r>
                <a:rPr kumimoji="0" lang="es-ES" sz="14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ea typeface="ヒラギノ角ゴ ProN W3" charset="0"/>
                  <a:cs typeface="ヒラギノ角ゴ ProN W3" charset="0"/>
                  <a:sym typeface="Gill Sans" charset="0"/>
                </a:rPr>
                <a:t>IP</a:t>
              </a:r>
              <a:endParaRPr kumimoji="0" lang="es-AR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pic>
          <p:nvPicPr>
            <p:cNvPr id="435" name="Picture 30" descr="C:\Users\ecoffey\AppData\Local\Temp\Rar$DRa0.160\30042_Device_layer3_switch_warning_64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88994" y="1713524"/>
              <a:ext cx="561268" cy="5760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6" name="Picture 30" descr="C:\Users\ecoffey\AppData\Local\Temp\Rar$DRa0.160\30042_Device_layer3_switch_warning_64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3250" y="1713524"/>
              <a:ext cx="561268" cy="5760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7" name="Picture 10" descr="C:\Users\ecoffey\AppData\Local\Temp\Rar$DRa0.102\30047__Device_MUX_default_256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2278" y="1704089"/>
              <a:ext cx="593012" cy="608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8" name="CuadroTexto 437"/>
            <p:cNvSpPr txBox="1"/>
            <p:nvPr/>
          </p:nvSpPr>
          <p:spPr>
            <a:xfrm>
              <a:off x="116786" y="2168718"/>
              <a:ext cx="126285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 dirty="0" smtClean="0"/>
                <a:t>Head </a:t>
              </a:r>
              <a:r>
                <a:rPr lang="es-ES" sz="1400" dirty="0" err="1" smtClean="0"/>
                <a:t>End</a:t>
              </a:r>
              <a:endParaRPr lang="es-AR" sz="1400" dirty="0"/>
            </a:p>
          </p:txBody>
        </p:sp>
        <p:sp>
          <p:nvSpPr>
            <p:cNvPr id="439" name="Flecha derecha 438"/>
            <p:cNvSpPr/>
            <p:nvPr/>
          </p:nvSpPr>
          <p:spPr bwMode="auto">
            <a:xfrm rot="20206841">
              <a:off x="4913196" y="1596378"/>
              <a:ext cx="437326" cy="370905"/>
            </a:xfrm>
            <a:prstGeom prst="rightArrow">
              <a:avLst/>
            </a:prstGeom>
            <a:solidFill>
              <a:schemeClr val="accent6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AR" sz="20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440" name="Flecha derecha 439"/>
            <p:cNvSpPr/>
            <p:nvPr/>
          </p:nvSpPr>
          <p:spPr bwMode="auto">
            <a:xfrm>
              <a:off x="1453836" y="1786361"/>
              <a:ext cx="437326" cy="444100"/>
            </a:xfrm>
            <a:prstGeom prst="rightArrow">
              <a:avLst/>
            </a:prstGeom>
            <a:solidFill>
              <a:schemeClr val="accent6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AR" sz="20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441" name="Flecha derecha 440"/>
            <p:cNvSpPr/>
            <p:nvPr/>
          </p:nvSpPr>
          <p:spPr bwMode="auto">
            <a:xfrm rot="838752">
              <a:off x="4912899" y="2107738"/>
              <a:ext cx="437326" cy="370905"/>
            </a:xfrm>
            <a:prstGeom prst="rightArrow">
              <a:avLst/>
            </a:prstGeom>
            <a:solidFill>
              <a:schemeClr val="accent6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AR" sz="20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442" name="Nube 441"/>
            <p:cNvSpPr/>
            <p:nvPr/>
          </p:nvSpPr>
          <p:spPr bwMode="auto">
            <a:xfrm>
              <a:off x="5517386" y="1383346"/>
              <a:ext cx="1215986" cy="522838"/>
            </a:xfrm>
            <a:prstGeom prst="cloud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ES" sz="1000" b="0" i="0" u="none" strike="noStrike" cap="none" normalizeH="0" baseline="0" dirty="0" err="1" smtClean="0">
                  <a:ln>
                    <a:noFill/>
                  </a:ln>
                  <a:solidFill>
                    <a:schemeClr val="bg2"/>
                  </a:solidFill>
                  <a:effectLst/>
                  <a:ea typeface="ヒラギノ角ゴ ProN W3" charset="0"/>
                  <a:cs typeface="ヒラギノ角ゴ ProN W3" charset="0"/>
                  <a:sym typeface="Gill Sans" charset="0"/>
                </a:rPr>
                <a:t>PrestadorA</a:t>
              </a:r>
              <a:endParaRPr kumimoji="0" lang="es-AR" sz="10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443" name="Nube 442"/>
            <p:cNvSpPr/>
            <p:nvPr/>
          </p:nvSpPr>
          <p:spPr bwMode="auto">
            <a:xfrm>
              <a:off x="5464142" y="2071598"/>
              <a:ext cx="1174413" cy="522838"/>
            </a:xfrm>
            <a:prstGeom prst="cloud">
              <a:avLst/>
            </a:prstGeom>
            <a:solidFill>
              <a:schemeClr val="tx2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ES" sz="10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ea typeface="ヒラギノ角ゴ ProN W3" charset="0"/>
                  <a:cs typeface="ヒラギノ角ゴ ProN W3" charset="0"/>
                  <a:sym typeface="Gill Sans" charset="0"/>
                </a:rPr>
                <a:t>Prestador B</a:t>
              </a:r>
              <a:endParaRPr kumimoji="0" lang="es-AR" sz="10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445" name="CuadroTexto 444"/>
            <p:cNvSpPr txBox="1"/>
            <p:nvPr/>
          </p:nvSpPr>
          <p:spPr>
            <a:xfrm>
              <a:off x="251520" y="2761183"/>
              <a:ext cx="180839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 b="1" dirty="0" smtClean="0"/>
                <a:t>Solución Actual</a:t>
              </a:r>
              <a:endParaRPr lang="es-AR" sz="1400" b="1" dirty="0"/>
            </a:p>
          </p:txBody>
        </p:sp>
      </p:grpSp>
      <p:grpSp>
        <p:nvGrpSpPr>
          <p:cNvPr id="4" name="Grupo 3"/>
          <p:cNvGrpSpPr/>
          <p:nvPr/>
        </p:nvGrpSpPr>
        <p:grpSpPr>
          <a:xfrm>
            <a:off x="1331640" y="3429000"/>
            <a:ext cx="7704856" cy="3174300"/>
            <a:chOff x="1313862" y="3120474"/>
            <a:chExt cx="7704856" cy="3174300"/>
          </a:xfrm>
        </p:grpSpPr>
        <p:sp>
          <p:nvSpPr>
            <p:cNvPr id="395" name="Rectángulo redondeado 394"/>
            <p:cNvSpPr/>
            <p:nvPr/>
          </p:nvSpPr>
          <p:spPr bwMode="auto">
            <a:xfrm>
              <a:off x="1460310" y="3120474"/>
              <a:ext cx="7558407" cy="3096344"/>
            </a:xfrm>
            <a:prstGeom prst="roundRect">
              <a:avLst/>
            </a:prstGeom>
            <a:solidFill>
              <a:schemeClr val="tx1">
                <a:lumMod val="65000"/>
                <a:alpha val="22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AR" sz="20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396" name="Nube 395"/>
            <p:cNvSpPr/>
            <p:nvPr/>
          </p:nvSpPr>
          <p:spPr bwMode="auto">
            <a:xfrm>
              <a:off x="3546110" y="3997793"/>
              <a:ext cx="3225452" cy="1282921"/>
            </a:xfrm>
            <a:prstGeom prst="cloud">
              <a:avLst/>
            </a:prstGeom>
            <a:solidFill>
              <a:schemeClr val="accent6">
                <a:lumMod val="75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ES" sz="14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ea typeface="ヒラギノ角ゴ ProN W3" charset="0"/>
                  <a:cs typeface="ヒラギノ角ゴ ProN W3" charset="0"/>
                  <a:sym typeface="Gill Sans" charset="0"/>
                </a:rPr>
                <a:t>Red de</a:t>
              </a:r>
              <a:r>
                <a:rPr kumimoji="0" lang="es-ES" sz="1400" b="0" i="0" u="none" strike="noStrike" cap="none" normalizeH="0" dirty="0" smtClean="0">
                  <a:ln>
                    <a:noFill/>
                  </a:ln>
                  <a:solidFill>
                    <a:schemeClr val="bg1"/>
                  </a:solidFill>
                  <a:effectLst/>
                  <a:ea typeface="ヒラギノ角ゴ ProN W3" charset="0"/>
                  <a:cs typeface="ヒラギノ角ゴ ProN W3" charset="0"/>
                  <a:sym typeface="Gill Sans" charset="0"/>
                </a:rPr>
                <a:t> Distribución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ES" sz="1400" b="0" i="0" u="none" strike="noStrike" cap="none" normalizeH="0" dirty="0" smtClean="0">
                  <a:ln>
                    <a:noFill/>
                  </a:ln>
                  <a:solidFill>
                    <a:schemeClr val="bg1"/>
                  </a:solidFill>
                  <a:effectLst/>
                  <a:ea typeface="ヒラギノ角ゴ ProN W3" charset="0"/>
                  <a:cs typeface="ヒラギノ角ゴ ProN W3" charset="0"/>
                  <a:sym typeface="Gill Sans" charset="0"/>
                </a:rPr>
                <a:t>de Contenidos</a:t>
              </a:r>
              <a:endParaRPr kumimoji="0" lang="es-ES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pic>
          <p:nvPicPr>
            <p:cNvPr id="397" name="Picture 10" descr="C:\Users\ecoffey\AppData\Local\Temp\Rar$DRa0.793\30071_Device_satellite_dish_default_256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582954" y="3988400"/>
              <a:ext cx="792088" cy="9618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8" name="Picture 10" descr="C:\Users\ecoffey\AppData\Local\Temp\Rar$DRa0.102\30047__Device_MUX_default_256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8445" y="4459875"/>
              <a:ext cx="608645" cy="608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9" name="CuadroTexto 398"/>
            <p:cNvSpPr txBox="1"/>
            <p:nvPr/>
          </p:nvSpPr>
          <p:spPr>
            <a:xfrm>
              <a:off x="1746774" y="4924504"/>
              <a:ext cx="129614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 dirty="0" smtClean="0"/>
                <a:t>Head </a:t>
              </a:r>
              <a:r>
                <a:rPr lang="es-ES" sz="1400" dirty="0" err="1" smtClean="0"/>
                <a:t>End</a:t>
              </a:r>
              <a:r>
                <a:rPr lang="es-ES" sz="1400" dirty="0" smtClean="0"/>
                <a:t> A</a:t>
              </a:r>
            </a:p>
            <a:p>
              <a:pPr algn="ctr"/>
              <a:r>
                <a:rPr lang="es-ES" sz="1400" dirty="0" smtClean="0"/>
                <a:t>Señal A</a:t>
              </a:r>
              <a:endParaRPr lang="es-AR" sz="1400" dirty="0"/>
            </a:p>
          </p:txBody>
        </p:sp>
        <p:sp>
          <p:nvSpPr>
            <p:cNvPr id="400" name="Flecha derecha 399"/>
            <p:cNvSpPr/>
            <p:nvPr/>
          </p:nvSpPr>
          <p:spPr bwMode="auto">
            <a:xfrm>
              <a:off x="2861737" y="4563937"/>
              <a:ext cx="448855" cy="444100"/>
            </a:xfrm>
            <a:prstGeom prst="rightArrow">
              <a:avLst/>
            </a:prstGeom>
            <a:solidFill>
              <a:srgbClr val="FF663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AR" sz="20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pic>
          <p:nvPicPr>
            <p:cNvPr id="401" name="Picture 10" descr="C:\Users\ecoffey\AppData\Local\Temp\Rar$DRa0.793\30071_Device_satellite_dish_default_256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7550144" y="4200594"/>
              <a:ext cx="792088" cy="9618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2" name="Picture 10" descr="C:\Users\ecoffey\AppData\Local\Temp\Rar$DRa0.102\30047__Device_MUX_default_256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65635" y="4672069"/>
              <a:ext cx="608645" cy="608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3" name="CuadroTexto 402"/>
            <p:cNvSpPr txBox="1"/>
            <p:nvPr/>
          </p:nvSpPr>
          <p:spPr>
            <a:xfrm>
              <a:off x="7722574" y="5136698"/>
              <a:ext cx="129614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 dirty="0" smtClean="0"/>
                <a:t>Head </a:t>
              </a:r>
              <a:r>
                <a:rPr lang="es-ES" sz="1400" dirty="0" err="1" smtClean="0"/>
                <a:t>End</a:t>
              </a:r>
              <a:r>
                <a:rPr lang="es-ES" sz="1400" dirty="0" smtClean="0"/>
                <a:t> n</a:t>
              </a:r>
            </a:p>
            <a:p>
              <a:pPr algn="ctr"/>
              <a:r>
                <a:rPr lang="es-ES" sz="1400" dirty="0" smtClean="0"/>
                <a:t>Señal n</a:t>
              </a:r>
              <a:endParaRPr lang="es-AR" sz="1400" dirty="0"/>
            </a:p>
          </p:txBody>
        </p:sp>
        <p:pic>
          <p:nvPicPr>
            <p:cNvPr id="404" name="Picture 11" descr="C:\Users\ecoffey\AppData\Local\Temp\Rar$DRa0.539\30037_Device_IOS_SLB_default_64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23580" y="3783512"/>
              <a:ext cx="487680" cy="4876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5" name="Picture 11" descr="C:\Users\ecoffey\AppData\Local\Temp\Rar$DRa0.539\30037_Device_IOS_SLB_default_64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23271" y="3783512"/>
              <a:ext cx="487680" cy="4876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6" name="Picture 11" descr="C:\Users\ecoffey\AppData\Local\Temp\Rar$DRa0.539\30037_Device_IOS_SLB_default_64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6430" y="4416618"/>
              <a:ext cx="487680" cy="4876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7" name="Picture 11" descr="C:\Users\ecoffey\AppData\Local\Temp\Rar$DRa0.539\30037_Device_IOS_SLB_default_64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4784" y="4469310"/>
              <a:ext cx="487680" cy="4876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8" name="Picture 11" descr="C:\Users\ecoffey\AppData\Local\Temp\Rar$DRa0.539\30037_Device_IOS_SLB_default_64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23580" y="4988441"/>
              <a:ext cx="487680" cy="4876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9" name="Picture 11" descr="C:\Users\ecoffey\AppData\Local\Temp\Rar$DRa0.539\30037_Device_IOS_SLB_default_64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2269" y="5005405"/>
              <a:ext cx="487680" cy="4876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0" name="Flecha derecha 409"/>
            <p:cNvSpPr/>
            <p:nvPr/>
          </p:nvSpPr>
          <p:spPr bwMode="auto">
            <a:xfrm rot="10800000">
              <a:off x="7002495" y="4459454"/>
              <a:ext cx="508560" cy="444100"/>
            </a:xfrm>
            <a:prstGeom prst="rightArrow">
              <a:avLst/>
            </a:prstGeom>
            <a:solidFill>
              <a:srgbClr val="00993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AR" sz="20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cxnSp>
          <p:nvCxnSpPr>
            <p:cNvPr id="411" name="Conector recto de flecha 410"/>
            <p:cNvCxnSpPr/>
            <p:nvPr/>
          </p:nvCxnSpPr>
          <p:spPr bwMode="auto">
            <a:xfrm flipV="1">
              <a:off x="5966109" y="3480514"/>
              <a:ext cx="144842" cy="363870"/>
            </a:xfrm>
            <a:prstGeom prst="straightConnector1">
              <a:avLst/>
            </a:prstGeom>
            <a:blipFill dpi="0" rotWithShape="0">
              <a:blip r:embed="rId7"/>
              <a:srcRect/>
              <a:tile tx="0" ty="0" sx="100000" sy="100000" flip="none" algn="tl"/>
            </a:blipFill>
            <a:ln w="57150" cap="flat" cmpd="sng" algn="ctr">
              <a:solidFill>
                <a:srgbClr val="009933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412" name="Conector recto de flecha 411"/>
            <p:cNvCxnSpPr/>
            <p:nvPr/>
          </p:nvCxnSpPr>
          <p:spPr bwMode="auto">
            <a:xfrm>
              <a:off x="6138708" y="5493085"/>
              <a:ext cx="71241" cy="343949"/>
            </a:xfrm>
            <a:prstGeom prst="straightConnector1">
              <a:avLst/>
            </a:prstGeom>
            <a:blipFill dpi="0" rotWithShape="0">
              <a:blip r:embed="rId7"/>
              <a:srcRect/>
              <a:tile tx="0" ty="0" sx="100000" sy="100000" flip="none" algn="tl"/>
            </a:blipFill>
            <a:ln w="57150" cap="flat" cmpd="sng" algn="ctr">
              <a:solidFill>
                <a:srgbClr val="009933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413" name="Conector recto de flecha 412"/>
            <p:cNvCxnSpPr/>
            <p:nvPr/>
          </p:nvCxnSpPr>
          <p:spPr bwMode="auto">
            <a:xfrm flipV="1">
              <a:off x="4481388" y="3476684"/>
              <a:ext cx="144842" cy="363870"/>
            </a:xfrm>
            <a:prstGeom prst="straightConnector1">
              <a:avLst/>
            </a:prstGeom>
            <a:blipFill dpi="0" rotWithShape="0">
              <a:blip r:embed="rId7"/>
              <a:srcRect/>
              <a:tile tx="0" ty="0" sx="100000" sy="100000" flip="none" algn="tl"/>
            </a:blipFill>
            <a:ln w="57150" cap="flat" cmpd="sng" algn="ctr">
              <a:solidFill>
                <a:srgbClr val="009933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414" name="Conector recto de flecha 413"/>
            <p:cNvCxnSpPr/>
            <p:nvPr/>
          </p:nvCxnSpPr>
          <p:spPr bwMode="auto">
            <a:xfrm>
              <a:off x="4493475" y="5465305"/>
              <a:ext cx="71241" cy="343949"/>
            </a:xfrm>
            <a:prstGeom prst="straightConnector1">
              <a:avLst/>
            </a:prstGeom>
            <a:blipFill dpi="0" rotWithShape="0">
              <a:blip r:embed="rId7"/>
              <a:srcRect/>
              <a:tile tx="0" ty="0" sx="100000" sy="100000" flip="none" algn="tl"/>
            </a:blipFill>
            <a:ln w="57150" cap="flat" cmpd="sng" algn="ctr">
              <a:solidFill>
                <a:srgbClr val="009933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415" name="Conector recto de flecha 414"/>
            <p:cNvCxnSpPr/>
            <p:nvPr/>
          </p:nvCxnSpPr>
          <p:spPr bwMode="auto">
            <a:xfrm flipH="1">
              <a:off x="3470230" y="4961821"/>
              <a:ext cx="14854" cy="397382"/>
            </a:xfrm>
            <a:prstGeom prst="straightConnector1">
              <a:avLst/>
            </a:prstGeom>
            <a:blipFill dpi="0" rotWithShape="0">
              <a:blip r:embed="rId7"/>
              <a:srcRect/>
              <a:tile tx="0" ty="0" sx="100000" sy="100000" flip="none" algn="tl"/>
            </a:blipFill>
            <a:ln w="57150" cap="flat" cmpd="sng" algn="ctr">
              <a:solidFill>
                <a:srgbClr val="009933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416" name="Conector recto de flecha 415"/>
            <p:cNvCxnSpPr/>
            <p:nvPr/>
          </p:nvCxnSpPr>
          <p:spPr bwMode="auto">
            <a:xfrm flipH="1" flipV="1">
              <a:off x="4123580" y="3476684"/>
              <a:ext cx="142495" cy="363870"/>
            </a:xfrm>
            <a:prstGeom prst="straightConnector1">
              <a:avLst/>
            </a:prstGeom>
            <a:blipFill dpi="0" rotWithShape="0">
              <a:blip r:embed="rId7"/>
              <a:srcRect/>
              <a:tile tx="0" ty="0" sx="100000" sy="100000" flip="none" algn="tl"/>
            </a:blipFill>
            <a:ln w="57150" cap="flat" cmpd="sng" algn="ctr">
              <a:solidFill>
                <a:srgbClr val="FF6633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417" name="Conector recto de flecha 416"/>
            <p:cNvCxnSpPr/>
            <p:nvPr/>
          </p:nvCxnSpPr>
          <p:spPr bwMode="auto">
            <a:xfrm flipH="1" flipV="1">
              <a:off x="5651021" y="3480514"/>
              <a:ext cx="142495" cy="363870"/>
            </a:xfrm>
            <a:prstGeom prst="straightConnector1">
              <a:avLst/>
            </a:prstGeom>
            <a:blipFill dpi="0" rotWithShape="0">
              <a:blip r:embed="rId7"/>
              <a:srcRect/>
              <a:tile tx="0" ty="0" sx="100000" sy="100000" flip="none" algn="tl"/>
            </a:blipFill>
            <a:ln w="57150" cap="flat" cmpd="sng" algn="ctr">
              <a:solidFill>
                <a:srgbClr val="FF6633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418" name="Conector recto de flecha 417"/>
            <p:cNvCxnSpPr/>
            <p:nvPr/>
          </p:nvCxnSpPr>
          <p:spPr bwMode="auto">
            <a:xfrm flipH="1">
              <a:off x="4094042" y="5465305"/>
              <a:ext cx="124058" cy="343949"/>
            </a:xfrm>
            <a:prstGeom prst="straightConnector1">
              <a:avLst/>
            </a:prstGeom>
            <a:blipFill dpi="0" rotWithShape="0">
              <a:blip r:embed="rId7"/>
              <a:srcRect/>
              <a:tile tx="0" ty="0" sx="100000" sy="100000" flip="none" algn="tl"/>
            </a:blipFill>
            <a:ln w="57150" cap="flat" cmpd="sng" algn="ctr">
              <a:solidFill>
                <a:srgbClr val="FF6633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419" name="Conector recto de flecha 418"/>
            <p:cNvCxnSpPr/>
            <p:nvPr/>
          </p:nvCxnSpPr>
          <p:spPr bwMode="auto">
            <a:xfrm flipH="1">
              <a:off x="5725713" y="5486026"/>
              <a:ext cx="124058" cy="343949"/>
            </a:xfrm>
            <a:prstGeom prst="straightConnector1">
              <a:avLst/>
            </a:prstGeom>
            <a:blipFill dpi="0" rotWithShape="0">
              <a:blip r:embed="rId7"/>
              <a:srcRect/>
              <a:tile tx="0" ty="0" sx="100000" sy="100000" flip="none" algn="tl"/>
            </a:blipFill>
            <a:ln w="57150" cap="flat" cmpd="sng" algn="ctr">
              <a:solidFill>
                <a:srgbClr val="FF6633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420" name="Conector recto de flecha 419"/>
            <p:cNvCxnSpPr/>
            <p:nvPr/>
          </p:nvCxnSpPr>
          <p:spPr bwMode="auto">
            <a:xfrm flipH="1">
              <a:off x="6715594" y="4863872"/>
              <a:ext cx="8614" cy="368409"/>
            </a:xfrm>
            <a:prstGeom prst="straightConnector1">
              <a:avLst/>
            </a:prstGeom>
            <a:blipFill dpi="0" rotWithShape="0">
              <a:blip r:embed="rId7"/>
              <a:srcRect/>
              <a:tile tx="0" ty="0" sx="100000" sy="100000" flip="none" algn="tl"/>
            </a:blipFill>
            <a:ln w="57150" cap="flat" cmpd="sng" algn="ctr">
              <a:solidFill>
                <a:srgbClr val="FF6633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421" name="CuadroTexto 420"/>
            <p:cNvSpPr txBox="1"/>
            <p:nvPr/>
          </p:nvSpPr>
          <p:spPr>
            <a:xfrm>
              <a:off x="3477214" y="3261631"/>
              <a:ext cx="80491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000" dirty="0" smtClean="0"/>
                <a:t>Prestador 1</a:t>
              </a:r>
              <a:endParaRPr lang="es-AR" sz="1000" dirty="0"/>
            </a:p>
          </p:txBody>
        </p:sp>
        <p:sp>
          <p:nvSpPr>
            <p:cNvPr id="422" name="CuadroTexto 421"/>
            <p:cNvSpPr txBox="1"/>
            <p:nvPr/>
          </p:nvSpPr>
          <p:spPr>
            <a:xfrm>
              <a:off x="4374435" y="3262287"/>
              <a:ext cx="80491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000" dirty="0" smtClean="0"/>
                <a:t>Prestador 2</a:t>
              </a:r>
              <a:endParaRPr lang="es-AR" sz="1000" dirty="0"/>
            </a:p>
          </p:txBody>
        </p:sp>
        <p:sp>
          <p:nvSpPr>
            <p:cNvPr id="423" name="CuadroTexto 422"/>
            <p:cNvSpPr txBox="1"/>
            <p:nvPr/>
          </p:nvSpPr>
          <p:spPr>
            <a:xfrm>
              <a:off x="5981554" y="5894664"/>
              <a:ext cx="80491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000" dirty="0" smtClean="0"/>
                <a:t>Prestador 3</a:t>
              </a:r>
              <a:endParaRPr lang="es-AR" sz="1000" dirty="0"/>
            </a:p>
          </p:txBody>
        </p:sp>
        <p:sp>
          <p:nvSpPr>
            <p:cNvPr id="424" name="CuadroTexto 423"/>
            <p:cNvSpPr txBox="1"/>
            <p:nvPr/>
          </p:nvSpPr>
          <p:spPr>
            <a:xfrm>
              <a:off x="6023972" y="3234161"/>
              <a:ext cx="80491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000" dirty="0" smtClean="0"/>
                <a:t>Prestador 4</a:t>
              </a:r>
              <a:endParaRPr lang="es-AR" sz="1000" dirty="0"/>
            </a:p>
          </p:txBody>
        </p:sp>
        <p:sp>
          <p:nvSpPr>
            <p:cNvPr id="425" name="CuadroTexto 424"/>
            <p:cNvSpPr txBox="1"/>
            <p:nvPr/>
          </p:nvSpPr>
          <p:spPr>
            <a:xfrm>
              <a:off x="5132262" y="3234161"/>
              <a:ext cx="80491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000" dirty="0" smtClean="0"/>
                <a:t>Prestador 6</a:t>
              </a:r>
              <a:endParaRPr lang="es-AR" sz="1000" dirty="0"/>
            </a:p>
          </p:txBody>
        </p:sp>
        <p:sp>
          <p:nvSpPr>
            <p:cNvPr id="426" name="CuadroTexto 425"/>
            <p:cNvSpPr txBox="1"/>
            <p:nvPr/>
          </p:nvSpPr>
          <p:spPr>
            <a:xfrm>
              <a:off x="3510955" y="5840975"/>
              <a:ext cx="80491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000" dirty="0" smtClean="0"/>
                <a:t>Prestador 7</a:t>
              </a:r>
              <a:endParaRPr lang="es-AR" sz="1000" dirty="0"/>
            </a:p>
          </p:txBody>
        </p:sp>
        <p:sp>
          <p:nvSpPr>
            <p:cNvPr id="427" name="CuadroTexto 426"/>
            <p:cNvSpPr txBox="1"/>
            <p:nvPr/>
          </p:nvSpPr>
          <p:spPr>
            <a:xfrm>
              <a:off x="4367420" y="5842046"/>
              <a:ext cx="80491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000" dirty="0" smtClean="0"/>
                <a:t>Prestador 8</a:t>
              </a:r>
              <a:endParaRPr lang="es-AR" sz="1000" dirty="0"/>
            </a:p>
          </p:txBody>
        </p:sp>
        <p:sp>
          <p:nvSpPr>
            <p:cNvPr id="428" name="CuadroTexto 427"/>
            <p:cNvSpPr txBox="1"/>
            <p:nvPr/>
          </p:nvSpPr>
          <p:spPr>
            <a:xfrm>
              <a:off x="5306035" y="5887605"/>
              <a:ext cx="80491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000" dirty="0" smtClean="0"/>
                <a:t>Prestador 10</a:t>
              </a:r>
              <a:endParaRPr lang="es-AR" sz="1000" dirty="0"/>
            </a:p>
          </p:txBody>
        </p:sp>
        <p:sp>
          <p:nvSpPr>
            <p:cNvPr id="429" name="CuadroTexto 428"/>
            <p:cNvSpPr txBox="1"/>
            <p:nvPr/>
          </p:nvSpPr>
          <p:spPr>
            <a:xfrm>
              <a:off x="2898038" y="5355760"/>
              <a:ext cx="88882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000" dirty="0" err="1" smtClean="0"/>
                <a:t>Prestador..</a:t>
              </a:r>
              <a:r>
                <a:rPr lang="es-ES" sz="1000" dirty="0" err="1" smtClean="0"/>
                <a:t>m</a:t>
              </a:r>
              <a:endParaRPr lang="es-AR" sz="1000" dirty="0"/>
            </a:p>
          </p:txBody>
        </p:sp>
        <p:sp>
          <p:nvSpPr>
            <p:cNvPr id="430" name="CuadroTexto 429"/>
            <p:cNvSpPr txBox="1"/>
            <p:nvPr/>
          </p:nvSpPr>
          <p:spPr>
            <a:xfrm>
              <a:off x="6401700" y="5208706"/>
              <a:ext cx="88882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000" dirty="0" err="1" smtClean="0"/>
                <a:t>Prestador..</a:t>
              </a:r>
              <a:r>
                <a:rPr lang="es-ES" sz="1000" dirty="0" err="1" smtClean="0"/>
                <a:t>n</a:t>
              </a:r>
              <a:endParaRPr lang="es-AR" sz="1000" dirty="0"/>
            </a:p>
          </p:txBody>
        </p:sp>
        <p:sp>
          <p:nvSpPr>
            <p:cNvPr id="446" name="CuadroTexto 445"/>
            <p:cNvSpPr txBox="1"/>
            <p:nvPr/>
          </p:nvSpPr>
          <p:spPr>
            <a:xfrm>
              <a:off x="1313862" y="3192482"/>
              <a:ext cx="180839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 b="1" dirty="0" smtClean="0"/>
                <a:t>Solución </a:t>
              </a:r>
              <a:r>
                <a:rPr lang="es-ES" sz="1400" b="1" dirty="0" smtClean="0"/>
                <a:t>en </a:t>
              </a:r>
              <a:r>
                <a:rPr lang="es-ES" sz="1400" b="1" dirty="0"/>
                <a:t>d</a:t>
              </a:r>
              <a:r>
                <a:rPr lang="es-ES" sz="1400" b="1" dirty="0" smtClean="0"/>
                <a:t>esarrollo</a:t>
              </a:r>
              <a:endParaRPr lang="es-AR" sz="1400" b="1" dirty="0"/>
            </a:p>
          </p:txBody>
        </p:sp>
      </p:grpSp>
      <p:sp>
        <p:nvSpPr>
          <p:cNvPr id="5" name="4 Flecha abajo"/>
          <p:cNvSpPr/>
          <p:nvPr/>
        </p:nvSpPr>
        <p:spPr bwMode="auto">
          <a:xfrm>
            <a:off x="3656070" y="3068960"/>
            <a:ext cx="2140066" cy="386279"/>
          </a:xfrm>
          <a:prstGeom prst="downArrow">
            <a:avLst/>
          </a:prstGeom>
          <a:gradFill>
            <a:gsLst>
              <a:gs pos="47000">
                <a:schemeClr val="tx1"/>
              </a:gs>
              <a:gs pos="100000">
                <a:schemeClr val="tx1">
                  <a:lumMod val="50000"/>
                  <a:lumOff val="50000"/>
                </a:schemeClr>
              </a:gs>
            </a:gsLst>
            <a:lin ang="2700000" scaled="0"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AR" sz="2800" b="0" i="0" u="sng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ea typeface="ヒラギノ角ゴ ProN W3" charset="-128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052842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 txBox="1">
            <a:spLocks/>
          </p:cNvSpPr>
          <p:nvPr/>
        </p:nvSpPr>
        <p:spPr>
          <a:xfrm>
            <a:off x="116786" y="908720"/>
            <a:ext cx="9027214" cy="4896544"/>
          </a:xfrm>
          <a:prstGeom prst="rect">
            <a:avLst/>
          </a:prstGeom>
        </p:spPr>
        <p:txBody>
          <a:bodyPr>
            <a:noAutofit/>
          </a:bodyPr>
          <a:lstStyle>
            <a:lvl1pPr indent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sz="2800">
                <a:sym typeface="Gill Sans" pitchFamily="122" charset="0"/>
              </a:defRPr>
            </a:lvl1pPr>
            <a:lvl2pPr marL="0" indent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sz="2800">
                <a:sym typeface="Gill Sans" pitchFamily="122" charset="0"/>
              </a:defRPr>
            </a:lvl2pPr>
            <a:lvl3pPr marL="0" indent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sz="2800">
                <a:sym typeface="Gill Sans" pitchFamily="122" charset="0"/>
              </a:defRPr>
            </a:lvl3pPr>
            <a:lvl4pPr marL="0" indent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sz="2800">
                <a:sym typeface="Gill Sans" pitchFamily="122" charset="0"/>
              </a:defRPr>
            </a:lvl4pPr>
            <a:lvl5pPr marL="0" indent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sz="2800">
                <a:sym typeface="Gill Sans" pitchFamily="122" charset="0"/>
              </a:defRPr>
            </a:lvl5pPr>
            <a:lvl6pPr marL="3124200" indent="-571500" fontAlgn="base">
              <a:spcBef>
                <a:spcPts val="34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>
                <a:sym typeface="Gill Sans" charset="0"/>
              </a:defRPr>
            </a:lvl6pPr>
            <a:lvl7pPr marL="3581400" indent="-571500" fontAlgn="base">
              <a:spcBef>
                <a:spcPts val="34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>
                <a:sym typeface="Gill Sans" charset="0"/>
              </a:defRPr>
            </a:lvl7pPr>
            <a:lvl8pPr marL="4038600" indent="-571500" fontAlgn="base">
              <a:spcBef>
                <a:spcPts val="34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>
                <a:sym typeface="Gill Sans" charset="0"/>
              </a:defRPr>
            </a:lvl8pPr>
            <a:lvl9pPr marL="4495800" indent="-571500" fontAlgn="base">
              <a:spcBef>
                <a:spcPts val="3400"/>
              </a:spcBef>
              <a:spcAft>
                <a:spcPct val="0"/>
              </a:spcAft>
              <a:buSzPct val="171000"/>
              <a:buFont typeface="Gill Sans" charset="0"/>
              <a:buChar char="•"/>
              <a:defRPr sz="2800">
                <a:sym typeface="Gill Sans" charset="0"/>
              </a:defRPr>
            </a:lvl9pPr>
          </a:lstStyle>
          <a:p>
            <a:pPr marL="285750" indent="-285750">
              <a:buSzPct val="100000"/>
              <a:buFont typeface="Wingdings" panose="05000000000000000000" pitchFamily="2" charset="2"/>
              <a:buChar char="§"/>
            </a:pPr>
            <a:r>
              <a:rPr lang="es-AR" sz="1600" dirty="0" smtClean="0"/>
              <a:t>Los Prestadores debieran definir su negocio considerando:</a:t>
            </a:r>
          </a:p>
          <a:p>
            <a:pPr marL="527050" lvl="5" indent="-349250">
              <a:lnSpc>
                <a:spcPct val="150000"/>
              </a:lnSpc>
              <a:buSzPct val="100000"/>
              <a:buFont typeface="Courier New" panose="02070309020205020404" pitchFamily="49" charset="0"/>
              <a:buChar char="o"/>
            </a:pPr>
            <a:r>
              <a:rPr lang="es-ES_tradnl" sz="1600" dirty="0" smtClean="0"/>
              <a:t>Estrategia: qué </a:t>
            </a:r>
            <a:r>
              <a:rPr lang="es-ES_tradnl" sz="1600" dirty="0" smtClean="0"/>
              <a:t>servicios ofrecer, </a:t>
            </a:r>
            <a:r>
              <a:rPr lang="es-ES_tradnl" sz="1600" dirty="0" smtClean="0"/>
              <a:t>en qué parte del negocio </a:t>
            </a:r>
            <a:r>
              <a:rPr lang="es-ES_tradnl" sz="1600" dirty="0" smtClean="0"/>
              <a:t>participar</a:t>
            </a:r>
            <a:endParaRPr lang="es-ES_tradnl" sz="1600" dirty="0" smtClean="0"/>
          </a:p>
          <a:p>
            <a:pPr marL="527050" lvl="5" indent="-349250">
              <a:lnSpc>
                <a:spcPct val="150000"/>
              </a:lnSpc>
              <a:buSzPct val="100000"/>
              <a:buFont typeface="Courier New" panose="02070309020205020404" pitchFamily="49" charset="0"/>
              <a:buChar char="o"/>
            </a:pPr>
            <a:r>
              <a:rPr lang="es-ES_tradnl" sz="1600" dirty="0" smtClean="0"/>
              <a:t>Foco: qué hacer uno mismo y en qué buscar </a:t>
            </a:r>
            <a:r>
              <a:rPr lang="es-ES_tradnl" sz="1600" dirty="0" smtClean="0"/>
              <a:t>socios tecnológicos</a:t>
            </a:r>
            <a:endParaRPr lang="es-ES_tradnl" sz="1600" dirty="0"/>
          </a:p>
          <a:p>
            <a:pPr marL="527050" lvl="5" indent="-349250">
              <a:lnSpc>
                <a:spcPct val="150000"/>
              </a:lnSpc>
              <a:buSzPct val="100000"/>
              <a:buFont typeface="Courier New" panose="02070309020205020404" pitchFamily="49" charset="0"/>
              <a:buChar char="o"/>
            </a:pPr>
            <a:r>
              <a:rPr lang="es-ES_tradnl" sz="1600" dirty="0" smtClean="0"/>
              <a:t>Tecnología: analizar opciones tecnológicas según costos (despliegue, mantenimiento), pero también por su flexibilidad (porque los hábitos de consumos seguirán cambiando</a:t>
            </a:r>
            <a:r>
              <a:rPr lang="es-ES_tradnl" sz="1600" dirty="0" smtClean="0"/>
              <a:t>)</a:t>
            </a:r>
            <a:endParaRPr lang="es-ES_tradnl" sz="1600" dirty="0" smtClean="0"/>
          </a:p>
          <a:p>
            <a:pPr marL="527050" lvl="5" indent="-349250">
              <a:lnSpc>
                <a:spcPct val="150000"/>
              </a:lnSpc>
              <a:buSzPct val="100000"/>
              <a:buFont typeface="Courier New" panose="02070309020205020404" pitchFamily="49" charset="0"/>
              <a:buChar char="o"/>
            </a:pPr>
            <a:r>
              <a:rPr lang="es-ES_tradnl" sz="1600" dirty="0" smtClean="0"/>
              <a:t>Urgencia: difícil desplazar a un prestador integrado (TV/Video + Banda Ancha</a:t>
            </a:r>
            <a:r>
              <a:rPr lang="es-ES_tradnl" sz="1600" dirty="0" smtClean="0"/>
              <a:t>)</a:t>
            </a:r>
            <a:endParaRPr lang="es-ES_tradnl" sz="1600" dirty="0" smtClean="0"/>
          </a:p>
          <a:p>
            <a:pPr marL="527050" lvl="2" indent="-349250">
              <a:lnSpc>
                <a:spcPct val="150000"/>
              </a:lnSpc>
              <a:buSzPct val="100000"/>
              <a:buFont typeface="Courier New" panose="02070309020205020404" pitchFamily="49" charset="0"/>
              <a:buChar char="o"/>
            </a:pPr>
            <a:endParaRPr lang="es-ES_tradnl" sz="1600" dirty="0" smtClean="0"/>
          </a:p>
          <a:p>
            <a:pPr marL="285750" lvl="3" indent="-285750">
              <a:lnSpc>
                <a:spcPct val="150000"/>
              </a:lnSpc>
              <a:buSzPct val="100000"/>
              <a:buFont typeface="Wingdings" panose="05000000000000000000" pitchFamily="2" charset="2"/>
              <a:buChar char="§"/>
            </a:pPr>
            <a:r>
              <a:rPr lang="es-ES_tradnl" sz="1600" dirty="0" smtClean="0"/>
              <a:t>Asociarse, para compartir know-how y lograr volumen </a:t>
            </a:r>
            <a:r>
              <a:rPr lang="es-ES_tradnl" sz="1600" dirty="0" smtClean="0"/>
              <a:t>económico</a:t>
            </a:r>
            <a:endParaRPr lang="es-ES_tradnl" sz="1600" dirty="0" smtClean="0"/>
          </a:p>
          <a:p>
            <a:pPr lvl="3">
              <a:lnSpc>
                <a:spcPct val="150000"/>
              </a:lnSpc>
              <a:buSzPct val="100000"/>
            </a:pPr>
            <a:endParaRPr lang="es-ES_tradnl" sz="1600" dirty="0"/>
          </a:p>
          <a:p>
            <a:pPr marL="285750" lvl="3" indent="-285750">
              <a:lnSpc>
                <a:spcPct val="150000"/>
              </a:lnSpc>
              <a:buSzPct val="100000"/>
              <a:buFont typeface="Wingdings" panose="05000000000000000000" pitchFamily="2" charset="2"/>
              <a:buChar char="§"/>
            </a:pPr>
            <a:r>
              <a:rPr lang="es-ES_tradnl" sz="1600" dirty="0" smtClean="0"/>
              <a:t>Apoyar políticas que incentiven la inversión y protejan a los operadores con </a:t>
            </a:r>
            <a:r>
              <a:rPr lang="es-ES_tradnl" sz="1600" dirty="0" smtClean="0"/>
              <a:t>redes</a:t>
            </a:r>
            <a:endParaRPr lang="es-ES_tradnl" sz="1600" dirty="0"/>
          </a:p>
        </p:txBody>
      </p:sp>
      <p:sp>
        <p:nvSpPr>
          <p:cNvPr id="4" name="Título 1"/>
          <p:cNvSpPr txBox="1">
            <a:spLocks/>
          </p:cNvSpPr>
          <p:nvPr/>
        </p:nvSpPr>
        <p:spPr bwMode="auto">
          <a:xfrm>
            <a:off x="116786" y="106760"/>
            <a:ext cx="8675271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+mj-lt"/>
                <a:ea typeface="ＭＳ Ｐゴシック" pitchFamily="100" charset="-128"/>
                <a:cs typeface="ＭＳ Ｐゴシック" pitchFamily="100" charset="-128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pitchFamily="34" charset="0"/>
                <a:ea typeface="ＭＳ Ｐゴシック" pitchFamily="100" charset="-128"/>
                <a:cs typeface="ＭＳ Ｐゴシック" pitchFamily="100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pitchFamily="34" charset="0"/>
                <a:ea typeface="ＭＳ Ｐゴシック" pitchFamily="100" charset="-128"/>
                <a:cs typeface="ＭＳ Ｐゴシック" pitchFamily="100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pitchFamily="34" charset="0"/>
                <a:ea typeface="ＭＳ Ｐゴシック" pitchFamily="100" charset="-128"/>
                <a:cs typeface="ＭＳ Ｐゴシック" pitchFamily="100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pitchFamily="34" charset="0"/>
                <a:ea typeface="ＭＳ Ｐゴシック" pitchFamily="100" charset="-128"/>
                <a:cs typeface="ＭＳ Ｐゴシック" pitchFamily="100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es-ES_tradnl" sz="2200" b="1" kern="0" dirty="0" smtClean="0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El mercado demanda video y ancho de banda. El escenario </a:t>
            </a:r>
            <a:r>
              <a:rPr lang="es-ES_tradnl" sz="2200" b="1" kern="0" dirty="0" smtClean="0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no </a:t>
            </a:r>
            <a:r>
              <a:rPr lang="es-ES_tradnl" sz="2200" b="1" kern="0" dirty="0" smtClean="0">
                <a:solidFill>
                  <a:srgbClr val="123E51"/>
                </a:solidFill>
                <a:latin typeface="+mn-lt"/>
                <a:ea typeface="+mn-ea"/>
                <a:cs typeface="Arial" panose="020B0604020202020204" pitchFamily="34" charset="0"/>
              </a:rPr>
              <a:t>es claro pero hay que actuar frente a los desafíos</a:t>
            </a:r>
            <a:endParaRPr lang="es-AR" sz="2200" b="1" kern="0" dirty="0">
              <a:solidFill>
                <a:srgbClr val="123E5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930473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wOZbjQkEumklwKlqtZQ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Kqd3wp0k6xYRBzSib2v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buvDeh2U.D9lclSKx_W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inNZH_q02GkiI8etJ_w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jvrp3UKUCrGD8oEwhxP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K6qFdokEWPKC1poRTws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U8dPBYvEmOHn0kWAYv4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kdD1U5MEehee00zhM6X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KQCXc6oU.G8EDO_sj4M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afD77IZU.PkP0VZUg6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TVWt92T0qsOPmDSSpHs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6_87XbhEKa8pGzZkeOh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ziS9wJlkeuWRqfb9uFS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dsCsiY3EeAxRbhKbT2Y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nNx02cPEm4nUmWn5Z0u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PwQl8rqEaNBFEoIFYI5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6J7nVRwUCteifwJh9GI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tptZc8Ck6B8tNXJWgY2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rQTsAbCUyxuVFlF.BUQ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WvAx4nEUuqlspnLzlE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2_lMbv1UiWV8nr6rPzx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6JOiWhXU2EpmwVelEHF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seN.yAs06euE43hGjW7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arwTdpUkq4UU.YLnKcC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.yonZHbUWbyOE6ZlldA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fkiCPjpU.0Adc9bK6qy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BdkIzCQ0eUhFKBCUSHL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DIg84_LUqiJhg9oBXih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FeDJbyfkq_G7Vw0mXHg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5nUb0LPk.DDKCfXJZS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cDX2fDZE.GnkrAQyYLv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PHfIyDz0KA4R6Gxnh8O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2w4W5AlESKutJ.IB.GV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WW2bx6UUeILrnlK_SQO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UwUSFN9Uy29QaAWHJjX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xBrkdAi0OfWxHVkaJxI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2YZ6vGBuEaeYHnakHGw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vkfiwIGEy5uNYyCrTSP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DdeX9sSEmyLeD_a_2.9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tBe5TNSUCtFscGFhcq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_k7MUQdkCdzGfxgkeSN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KM8thy50e51MGYAHknh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5fNZQHj_Ei1oofGy6fev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Yzb8e12UCmJai8dqopQ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6MIo4PFE6HNf1qK3nuX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MKN_fjB06QpNlugSqG3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cTbzQIXUWsOhl_YAigD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.k6YABk2EGr2viXbyNHZ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2db7eYnE2.Vxy89_J.V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9JO0vvJY0u7AzJGZDoq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gKKLQOBE6tF9BVujN4S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yzUse6Cku1bgxXvO6Vo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6CC6SLJ0WnzerrPxh9r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u8UlljT0uR897xzEZhJ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4DlKIs7E2w0Ryl.aQkn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Knn9JSJUylXkKoDfsKX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iWMftb_UC4TjT40NxyT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08ZJygdUiSs61u3Lzbn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jnS.Rlk02SKTFS4522D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325A789k.vybbAVoNDg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kWn_WPeU2c3gsMLqonH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v1_NSC8kKt1kGeKI2KM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Kdf1dFFUuYuHOhmYe6i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nZoJZVuUeA_Uq2gyX81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TrYMvAs06NqwfbTCNTQ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dTizmQq0.v3k8QvHDuy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.QIUAlNUGaj1k1riC.k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_BerEvEEeH7i7jKQpFR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DAkP33sUenEn1pOFmoE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9uU3YSKkunuolHojTsM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w3qb_QYUygaPd2JOvlP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0u7T8ut0CYatr40MLHU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J.ia825U.Hx_Wx9Ax6O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qy8ic0fUSJHF6ektUPF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i9pQ0O_U6F_hkQXjR2D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IKRW2pVkuLDUNBre1.P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hlK0WgqkWHMjTEYKNnu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giGUAuGEmzka_7MJYbK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g_rGGeW0SYMJYeNUn4i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nDzu7z_kydu45eRU9d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NvA8HZ0EeUN5xfz.ycL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shsb5wXka7SHFU7pMZC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0MMMK39UqUz8xltEcrM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DF1ljf5kGuM6j7GYgW3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ToSO7.WUyNGmXyYwz_t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N.5bUljkqjPJZ_tUXLi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ogrI1t0Uy4m2SmWtfdD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qE6lvI6UeMk9ixs2mf6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uhBSPsfkGznxYCCPbKi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POsegTzEGIpCcNp_oD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htfqR6S0ivwBSz0YZPc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ugIfoXg0aOHvAAeq.xX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4oWg5mzEeCHgUAMKnc5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IcRpJtTkKSWC9yzAOPn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o55q73G0OnxMig3wuBd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LMfHPaT0iAbTdDPCf9y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XrDyWO1kqA0vcQE3cn7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8sW66ViUq.rltwALcHq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rwUbej4kW_1Fbw6_ay9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Zw.0FFgEGM00Aee6E0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GrgZpxnEOSFfba7bg1n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PrXV9JkUeNrPSAo.pVP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6eMo4840KpXHG8ytzbA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KAf0dQTMkCYOpbZCZ3ys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FXBNfB2UORA48YnKnRt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KVwT4bTUqLxY0DpCuIZ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0ML4lazUOM3eHwWk_RK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MNtL1zyU.X2Fg4EsFUC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yYv2sm60yn5fkXhnnEV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k8zA76WESX9OoHi2MPR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ItdP5T2kCiuVNGv6RjA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bXkU5Dnk2h9WeY77Xt2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pHk4ULYk215lLt4KyHT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vfn3lpyki8sHNHpv.eS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jmURE5N0aoQ80VMuIMy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pTssc0REWL3lKb5ZW3y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a.e2zSyk2HYkh01W6v8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kBGwVp3EWM6bgrpO2mZ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zkiU5ZiEOPmMbb0VYKn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voQKJOdk6iU0w.lAOwT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HoQKd6cUS28ZBWSnxUO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rgAbn2YUurjaM3zV8lE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aClHePakS.4GtAfZmre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Ijul_HMkCuHE_gD3mtq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QKAeCpI0ymJKvBUO1wb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f.UldGMEKYTAJjfiSB8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3THNFGG0iOyh1A.guoe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7RV8_iqkuYvizdeG5QU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rQ52ni3k2vo6lh6cSFx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x6IPTFa0GfWyKOu_v1g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gVKB5lzE.johVg8I1gP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zuF6uw0kqwDIktQdTeR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Ilnqx3wUCIpfbJekAy9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2hLaxeQUyq6NVho44ir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UILLumakO3LiRLQTYqz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Tje.u0IEuUa_2xOXcUn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.0qBzhWFkKweIjph_w2S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CFiV_bL0Om.RfK4Or3L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XATSkzM0CwYUxCT0KeH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P4EHEWP0GtfjWqGfvv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d.7WlVgEC7wqL3gPhoc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x2q5Ft60qX9jdVIzo4y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E2WaIc1EqdbvbdHsrK6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PndxlKBUqfzy4iECqJg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qKPsZCg0KX5RSsY3op3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_bTdW_tESzwKygcR6yt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j8EQmZuEKvxBKg1ooqk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7xKDV5pE2rX_dkw5Pc2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NkzszSNk2q5KAiJXqI4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M7G7HYNEe9EFRi.zxxd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fPTSL6s0mWeiN5EivnT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ziS9wJlkeuWRqfb9uFS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nw7XY3AUu7vw4grXk_L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ZvlZj_xUuqTKDbsgsLb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1AdWnMZUy2JmARCGYHj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YVnb12ekmimlYTdvjUF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VGJnfi0Ei5uooLwWUVb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uFhSofCkCIqZj8BfgoF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Em08loMEax6leYwVLFt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zNDhXAbk688l2nmuXnb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BgcEpevU21UuOpWDy34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zqToHrvUarbsplo2zyZ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NkzszSNk2q5KAiJXqI4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kC37ZUwUCnW5l84tg_E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3Frcb5fEOrG0PBxddtb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OgeUzkxEualaXpns8nS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5.GmFqUEy_vqy7.gjyQ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JH7lyGtU27vygTFbXzc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UrICaoYECO0KYGVJYVD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fb3s7tYUiOKnNXw8g8A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XYd7MTg0WbdPKq9sCqS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fwrqqSfka9UikKQOHoR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X7P9E_Wkeq8oiGO1u5f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NkzszSNk2q5KAiJXqI4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Fyh35.hEqhcJsvXTwpA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bAfJn_NkiCK4d5yX_vs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GQ6akY906fCoMLRMPwL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0pkz6.d0yyxFlrc0yIM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FnudkXpEOJFvUJyK_Tf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43ZEdCM0aGniIFqfZHM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3vaBpVZEKgkT_CbjjSP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V98wmzaUu3iac_9nzIj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xDbiEDmE66_YwWbj2WZ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IBe1Cs6UCSqS3okq36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1qEz0WSkG_YyPP8utrE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05Jl1iT0qVj0PrGM7XT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sGjvZopkam15SKZI.KQ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GR50wXcEiQN70D0lbc5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7INKfUpUCgZjc31AXaO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_kLsXeuU2pg6JchiTiA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TfO1H0W0GeJlXf.ixqq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E4Zm3OF0axFDyboE158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638lkIakulTntoHJcq6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T2_tOWikC_2L2jT2bbI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grzetF.k.vkXR5_S0z0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seN.yAs06euE43hGjW7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a8QZEExU.Ac94PzQ8fs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6ZuFQ4S0GISSHVw1QJ6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3zjcXPSUShb_lml_2UV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S0D0S9j0aAa.AIBUOuk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f8KSSi_kas2bIByPXAK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IjpOCuH02MyvQCJ.Sz8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qvusaeI0mzRmev_V747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.ednbikE2IpkcGqYGNe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RLUnqxrk.ra2zEHdDyX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IJA8k71kmOXmcI6JEU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BRBYByQ0qpFlN.W3Aja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B_tJM72kubH60Hom7g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p_QFKEb0WPkV.Ruxl1Z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bGVn73IUmc5i6EMPP1p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rXu9XRq0S7XG9tgKzxd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9fFT8nNkO9_EpJNtGmo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jsY9LRbkGN2OQhODZeL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IT9Mn67EijRbDVwddOg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YT8InTpk2SH7YB4znPd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nNLvfPDEyOU.OcS6S3K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Qy7eQjZ0qdHpbsQUGaC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uiOA2.PUq4OUzmsx0Us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1qEz0WSkG_YyPP8utrE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Aj4N7ROkSZt0x86WWe3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UrA7TN7kOn9HYTGY.2E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PoaAm5.UCUUwfz9X7gc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BFV5L700SCr.MRqNqYV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WViZJAI0e4tEEQ5WFJ1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ErPE_5JkWaE8l28FdZU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Fqzao6A0qe_.CmJnDID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qIEieal0WkSlLu_CZC5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N1ugMGAEiFArtrr2FS2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mTK.abn02KgC.IE0CAl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Uk8vMEM06sv5rfkmk6w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2GZT0vwkiMu4ucT.YH5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cL9PWkEC3.w8vVXLnm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2yjXxtf0CK22QSXwuel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6j1gzn2kqFnp7Bc8H1f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oge_TKkS0CUliE4hEzIn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E4Zm3OF0axFDyboE158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7VHeiOV0Wa7FkLZ7rdd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PKRTNQ.Uim7N5ZevKA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e86UtvrEe2igfBXXHVd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2D_enY7U6r6hmOw8vCp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yKpPeqYkyj9Gu.anKJy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yXbPMJ1kaGRDFhoosQU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3TxMxeEUWVEAwT1KT_4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RJvlBuzUWk__YZxGJJ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rBBZSevEqtDCayR7uN_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Zz9rQY.EyIRXmHlMpLl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3XnRb7pkGMDEAJbDduw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U8VIplAE6NEeXfRq4z1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qC2ua7y06qgiiJlxkrx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ihnJ2oK0GdQFK2Mwk3f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mD4_32kWgJolVoTbyl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oLt1esC0yb29jI5KPJd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7e2rpVsEyyVeIkc8p1Q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.A16g2X0KzFagrq9fv6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s8co5P0Uiy0i12_DCpO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QddPNofEuxRFfnDcdsc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Skxtlo4UGHYAJnFuS2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2oLr8H4EOYb6eskgRH2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7wX_TXSEaN9pYXsNMXf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ZBtpP63k6cDPdR1Vwjl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7YzjBur0e2y.ykwt1J5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TYv2NJpUmvnUONgk6N6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lOcyWlpkaw3DKJf1MzS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oBguJ3ski_.XZ4Bv4s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JZR6OqZk6ROfB8DICc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9WXA8Wpk2k8iOH0N0F3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xkYJA6f0KpTzhp0CSDI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SbwkGp6U2nOa4S6p5N2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z_HGIb0EafkEHvuIaZN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R_2T_LLUKVt_fBXVa2i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h45cfwjU.yJ7AqVR_uj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SrFvqo30m_8JUMltUhC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BRBYByQ0qpFlN.W3Aja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97QnEKz0mdulzBvxxG5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ff61hEqEWE.CDgI5Uj8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iX_BlV.0y27SsijB3nZ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Jh3Ncr6U.ngCn4PpVEU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AqDTyB8U6035FjKLqYP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2XrYeyXzk6yrIsuzw_BC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hcDUa4eECSEJI4B5rDf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VBOGUMiUGugODVn0rm.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1zyFZeXU2I_JUMpwpx7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nZSPeUgUy19vxWv.9_a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cgSLzFMEuv4DENoLUY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c7BNkp80C0FL0137J.o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AD8Qbee0GFvESHW6IQv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32TkC650GjIGLsqIpPp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G8.HPXJkS9JLySQwk2T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psgelKckKBAw4LlEWDH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9.H4X_CEi54TBxn6CQE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7VHeiOV0Wa7FkLZ7rdd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.z8xyWBUG0Mn9BzRJ89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I1OD8McUmmYYhjGmFMg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8HTiJW7Ei4E_fzTuX8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kNRr0RqkGxcTPh7BjI3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m0EpgdcUm4ns.Chl9DT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JeUuZ3REWN4zcEoc8EJ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b6chm.4EmsrCgwqCr1S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z.Mi02aEij7HPDOgBn7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xfoLkn20qv6E2ZN5tuc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LrXhmpxkGjMUvwZxZTr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3NS2UGI0G9elOlNYGmH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Jvqutk1kO84PsDMsrsv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luDYjhR0mrz8bDWaOJHw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_rels/theme8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_rels/theme9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TF_plantilla_color_Arial">
  <a:themeElements>
    <a:clrScheme name="TF_plantilla_color_Arial 15">
      <a:dk1>
        <a:srgbClr val="043F52"/>
      </a:dk1>
      <a:lt1>
        <a:srgbClr val="FFFFFF"/>
      </a:lt1>
      <a:dk2>
        <a:srgbClr val="61B8CD"/>
      </a:dk2>
      <a:lt2>
        <a:srgbClr val="EEECE1"/>
      </a:lt2>
      <a:accent1>
        <a:srgbClr val="043F52"/>
      </a:accent1>
      <a:accent2>
        <a:srgbClr val="61B8CD"/>
      </a:accent2>
      <a:accent3>
        <a:srgbClr val="FFFFFF"/>
      </a:accent3>
      <a:accent4>
        <a:srgbClr val="033445"/>
      </a:accent4>
      <a:accent5>
        <a:srgbClr val="AAAFB3"/>
      </a:accent5>
      <a:accent6>
        <a:srgbClr val="57A6BA"/>
      </a:accent6>
      <a:hlink>
        <a:srgbClr val="FFFFCC"/>
      </a:hlink>
      <a:folHlink>
        <a:srgbClr val="D2A85D"/>
      </a:folHlink>
    </a:clrScheme>
    <a:fontScheme name="TF_plantilla_color_Arial">
      <a:majorFont>
        <a:latin typeface="Arial"/>
        <a:ea typeface="Arial Unicode MS"/>
        <a:cs typeface="Arial Unicode MS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F_plantilla_color_Arial 1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color_Arial 2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color_Arial 3">
        <a:dk1>
          <a:srgbClr val="000000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0000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color_Arial 4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color_Arial 5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color_Arial 6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color_Arial 7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color_Arial 8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54B4CC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4BA3B9"/>
        </a:accent6>
        <a:hlink>
          <a:srgbClr val="800080"/>
        </a:hlink>
        <a:folHlink>
          <a:srgbClr val="65C3D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color_Arial 9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1B8CD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7A6BA"/>
        </a:accent6>
        <a:hlink>
          <a:srgbClr val="0000E1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color_Arial 10">
        <a:dk1>
          <a:srgbClr val="003F52"/>
        </a:dk1>
        <a:lt1>
          <a:srgbClr val="FFFFFF"/>
        </a:lt1>
        <a:dk2>
          <a:srgbClr val="65C3D5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3445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color_Arial 11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DDDDD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C8C8C8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color_Arial 12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color_Arial 13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B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color_Arial 14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99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color_Arial 15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C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3_Diseño personalizado">
  <a:themeElements>
    <a:clrScheme name="Diseño personalizado 1">
      <a:dk1>
        <a:srgbClr val="123E51"/>
      </a:dk1>
      <a:lt1>
        <a:srgbClr val="FFFFFF"/>
      </a:lt1>
      <a:dk2>
        <a:srgbClr val="00C6D7"/>
      </a:dk2>
      <a:lt2>
        <a:srgbClr val="929292"/>
      </a:lt2>
      <a:accent1>
        <a:srgbClr val="123E51"/>
      </a:accent1>
      <a:accent2>
        <a:srgbClr val="00C6D7"/>
      </a:accent2>
      <a:accent3>
        <a:srgbClr val="FFFFFF"/>
      </a:accent3>
      <a:accent4>
        <a:srgbClr val="0E3444"/>
      </a:accent4>
      <a:accent5>
        <a:srgbClr val="AAAFB3"/>
      </a:accent5>
      <a:accent6>
        <a:srgbClr val="00B3C3"/>
      </a:accent6>
      <a:hlink>
        <a:srgbClr val="D8EDF9"/>
      </a:hlink>
      <a:folHlink>
        <a:srgbClr val="929292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47000">
              <a:schemeClr val="tx1"/>
            </a:gs>
            <a:gs pos="100000">
              <a:schemeClr val="tx1">
                <a:lumMod val="50000"/>
                <a:lumOff val="50000"/>
              </a:schemeClr>
            </a:gs>
          </a:gsLst>
          <a:lin ang="2700000" scaled="0"/>
        </a:gra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800" b="0" i="0" u="sng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ea typeface="ヒラギノ角ゴ ProN W3" charset="-128"/>
            <a:sym typeface="Gill Sans" charset="0"/>
          </a:defRPr>
        </a:defPPr>
      </a:lstStyle>
    </a:spDef>
    <a:lnDef>
      <a:spPr bwMode="auto">
        <a:ln>
          <a:headEnd type="none" w="med" len="med"/>
          <a:tailEnd type="none" w="med" len="med"/>
        </a:ln>
        <a:extLst/>
      </a:spPr>
      <a:bodyPr/>
      <a:lstStyle/>
      <a:style>
        <a:lnRef idx="3">
          <a:schemeClr val="accent2"/>
        </a:lnRef>
        <a:fillRef idx="0">
          <a:schemeClr val="accent2"/>
        </a:fillRef>
        <a:effectRef idx="2">
          <a:schemeClr val="accent2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8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929292"/>
        </a:lt2>
        <a:accent1>
          <a:srgbClr val="123E51"/>
        </a:accent1>
        <a:accent2>
          <a:srgbClr val="00C6D7"/>
        </a:accent2>
        <a:accent3>
          <a:srgbClr val="FFFFFF"/>
        </a:accent3>
        <a:accent4>
          <a:srgbClr val="0E3444"/>
        </a:accent4>
        <a:accent5>
          <a:srgbClr val="AAAFB3"/>
        </a:accent5>
        <a:accent6>
          <a:srgbClr val="00B3C3"/>
        </a:accent6>
        <a:hlink>
          <a:srgbClr val="D8EDF9"/>
        </a:hlink>
        <a:folHlink>
          <a:srgbClr val="92929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Blank016New">
  <a:themeElements>
    <a:clrScheme name="Blank016New">
      <a:dk1>
        <a:srgbClr val="003245"/>
      </a:dk1>
      <a:lt1>
        <a:srgbClr val="FFFFFF"/>
      </a:lt1>
      <a:dk2>
        <a:srgbClr val="003245"/>
      </a:dk2>
      <a:lt2>
        <a:srgbClr val="FFFFFF"/>
      </a:lt2>
      <a:accent1>
        <a:srgbClr val="4BACC6"/>
      </a:accent1>
      <a:accent2>
        <a:srgbClr val="E7E7E0"/>
      </a:accent2>
      <a:accent3>
        <a:srgbClr val="003245"/>
      </a:accent3>
      <a:accent4>
        <a:srgbClr val="DAEEF4"/>
      </a:accent4>
      <a:accent5>
        <a:srgbClr val="93CDDD"/>
      </a:accent5>
      <a:accent6>
        <a:srgbClr val="808080"/>
      </a:accent6>
      <a:hlink>
        <a:srgbClr val="003245"/>
      </a:hlink>
      <a:folHlink>
        <a:srgbClr val="DAEEF4"/>
      </a:folHlink>
    </a:clrScheme>
    <a:fontScheme name="Custom 85">
      <a:majorFont>
        <a:latin typeface="Trebuchet MS"/>
        <a:ea typeface="ＭＳ Ｐゴシック"/>
        <a:cs typeface=""/>
      </a:majorFont>
      <a:minorFont>
        <a:latin typeface="Trebuchet MS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3245"/>
        </a:dk1>
        <a:lt1>
          <a:srgbClr val="FFFFFF"/>
        </a:lt1>
        <a:dk2>
          <a:srgbClr val="003245"/>
        </a:dk2>
        <a:lt2>
          <a:srgbClr val="FFFFFF"/>
        </a:lt2>
        <a:accent1>
          <a:srgbClr val="003245"/>
        </a:accent1>
        <a:accent2>
          <a:srgbClr val="006476"/>
        </a:accent2>
        <a:accent3>
          <a:srgbClr val="008597"/>
        </a:accent3>
        <a:accent4>
          <a:srgbClr val="0095A7"/>
        </a:accent4>
        <a:accent5>
          <a:srgbClr val="4BACC6"/>
        </a:accent5>
        <a:accent6>
          <a:srgbClr val="00C6DA"/>
        </a:accent6>
        <a:hlink>
          <a:srgbClr val="008597"/>
        </a:hlink>
        <a:folHlink>
          <a:srgbClr val="0095A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016New">
        <a:dk1>
          <a:srgbClr val="003245"/>
        </a:dk1>
        <a:lt1>
          <a:srgbClr val="FFFFFF"/>
        </a:lt1>
        <a:dk2>
          <a:srgbClr val="003245"/>
        </a:dk2>
        <a:lt2>
          <a:srgbClr val="FFFFFF"/>
        </a:lt2>
        <a:accent1>
          <a:srgbClr val="4BACC6"/>
        </a:accent1>
        <a:accent2>
          <a:srgbClr val="E7E7E0"/>
        </a:accent2>
        <a:accent3>
          <a:srgbClr val="003245"/>
        </a:accent3>
        <a:accent4>
          <a:srgbClr val="DAEEF4"/>
        </a:accent4>
        <a:accent5>
          <a:srgbClr val="93CDDD"/>
        </a:accent5>
        <a:accent6>
          <a:srgbClr val="808080"/>
        </a:accent6>
        <a:hlink>
          <a:srgbClr val="003245"/>
        </a:hlink>
        <a:folHlink>
          <a:srgbClr val="DAEEF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Telefónica">
  <a:themeElements>
    <a:clrScheme name="Telefónica">
      <a:dk1>
        <a:srgbClr val="003245"/>
      </a:dk1>
      <a:lt1>
        <a:srgbClr val="FFFFFF"/>
      </a:lt1>
      <a:dk2>
        <a:srgbClr val="003245"/>
      </a:dk2>
      <a:lt2>
        <a:srgbClr val="FFFFFF"/>
      </a:lt2>
      <a:accent1>
        <a:srgbClr val="003245"/>
      </a:accent1>
      <a:accent2>
        <a:srgbClr val="006476"/>
      </a:accent2>
      <a:accent3>
        <a:srgbClr val="008597"/>
      </a:accent3>
      <a:accent4>
        <a:srgbClr val="0095A7"/>
      </a:accent4>
      <a:accent5>
        <a:srgbClr val="4BACC6"/>
      </a:accent5>
      <a:accent6>
        <a:srgbClr val="00C6DA"/>
      </a:accent6>
      <a:hlink>
        <a:srgbClr val="00C6DA"/>
      </a:hlink>
      <a:folHlink>
        <a:srgbClr val="00C6DA"/>
      </a:folHlink>
    </a:clrScheme>
    <a:fontScheme name="Telefónica">
      <a:majorFont>
        <a:latin typeface="Trebuchet MS"/>
        <a:ea typeface="ヒラギノ角ゴ ProN W3"/>
        <a:cs typeface="ヒラギノ角ゴ ProN W3"/>
      </a:majorFont>
      <a:minorFont>
        <a:latin typeface="Trebuchet M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90000"/>
            <a:lumOff val="10000"/>
          </a:schemeClr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>
            <a:ln>
              <a:noFill/>
            </a:ln>
            <a:solidFill>
              <a:schemeClr val="bg2"/>
            </a:solidFill>
            <a:effectLst/>
            <a:latin typeface="Trebuchet MS" panose="020B0603020202020204" pitchFamily="34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SeparataAzu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Diseño personalizado">
  <a:themeElements>
    <a:clrScheme name="Diseño personalizado 1">
      <a:dk1>
        <a:srgbClr val="123E51"/>
      </a:dk1>
      <a:lt1>
        <a:srgbClr val="FFFFFF"/>
      </a:lt1>
      <a:dk2>
        <a:srgbClr val="00C6D7"/>
      </a:dk2>
      <a:lt2>
        <a:srgbClr val="929292"/>
      </a:lt2>
      <a:accent1>
        <a:srgbClr val="123E51"/>
      </a:accent1>
      <a:accent2>
        <a:srgbClr val="00C6D7"/>
      </a:accent2>
      <a:accent3>
        <a:srgbClr val="FFFFFF"/>
      </a:accent3>
      <a:accent4>
        <a:srgbClr val="0E3444"/>
      </a:accent4>
      <a:accent5>
        <a:srgbClr val="AAAFB3"/>
      </a:accent5>
      <a:accent6>
        <a:srgbClr val="00B3C3"/>
      </a:accent6>
      <a:hlink>
        <a:srgbClr val="D8EDF9"/>
      </a:hlink>
      <a:folHlink>
        <a:srgbClr val="929292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47000">
              <a:schemeClr val="tx1"/>
            </a:gs>
            <a:gs pos="100000">
              <a:schemeClr val="tx1">
                <a:lumMod val="50000"/>
                <a:lumOff val="50000"/>
              </a:schemeClr>
            </a:gs>
          </a:gsLst>
          <a:lin ang="2700000" scaled="0"/>
        </a:gra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800" b="0" i="0" u="sng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ea typeface="ヒラギノ角ゴ ProN W3" charset="-128"/>
            <a:sym typeface="Gill Sans" charset="0"/>
          </a:defRPr>
        </a:defPPr>
      </a:lstStyle>
    </a:spDef>
    <a:lnDef>
      <a:spPr bwMode="auto">
        <a:ln>
          <a:headEnd type="none" w="med" len="med"/>
          <a:tailEnd type="none" w="med" len="med"/>
        </a:ln>
        <a:extLst/>
      </a:spPr>
      <a:bodyPr/>
      <a:lstStyle/>
      <a:style>
        <a:lnRef idx="3">
          <a:schemeClr val="accent2"/>
        </a:lnRef>
        <a:fillRef idx="0">
          <a:schemeClr val="accent2"/>
        </a:fillRef>
        <a:effectRef idx="2">
          <a:schemeClr val="accent2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8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929292"/>
        </a:lt2>
        <a:accent1>
          <a:srgbClr val="123E51"/>
        </a:accent1>
        <a:accent2>
          <a:srgbClr val="00C6D7"/>
        </a:accent2>
        <a:accent3>
          <a:srgbClr val="FFFFFF"/>
        </a:accent3>
        <a:accent4>
          <a:srgbClr val="0E3444"/>
        </a:accent4>
        <a:accent5>
          <a:srgbClr val="AAAFB3"/>
        </a:accent5>
        <a:accent6>
          <a:srgbClr val="00B3C3"/>
        </a:accent6>
        <a:hlink>
          <a:srgbClr val="D8EDF9"/>
        </a:hlink>
        <a:folHlink>
          <a:srgbClr val="92929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Telefónica">
  <a:themeElements>
    <a:clrScheme name="Telefónica">
      <a:dk1>
        <a:srgbClr val="003245"/>
      </a:dk1>
      <a:lt1>
        <a:srgbClr val="FFFFFF"/>
      </a:lt1>
      <a:dk2>
        <a:srgbClr val="003245"/>
      </a:dk2>
      <a:lt2>
        <a:srgbClr val="FFFFFF"/>
      </a:lt2>
      <a:accent1>
        <a:srgbClr val="003245"/>
      </a:accent1>
      <a:accent2>
        <a:srgbClr val="006476"/>
      </a:accent2>
      <a:accent3>
        <a:srgbClr val="008597"/>
      </a:accent3>
      <a:accent4>
        <a:srgbClr val="0095A7"/>
      </a:accent4>
      <a:accent5>
        <a:srgbClr val="4BACC6"/>
      </a:accent5>
      <a:accent6>
        <a:srgbClr val="00C6DA"/>
      </a:accent6>
      <a:hlink>
        <a:srgbClr val="00C6DA"/>
      </a:hlink>
      <a:folHlink>
        <a:srgbClr val="00C6DA"/>
      </a:folHlink>
    </a:clrScheme>
    <a:fontScheme name="Telefónica">
      <a:majorFont>
        <a:latin typeface="Trebuchet MS"/>
        <a:ea typeface="ヒラギノ角ゴ ProN W3"/>
        <a:cs typeface="ヒラギノ角ゴ ProN W3"/>
      </a:majorFont>
      <a:minorFont>
        <a:latin typeface="Trebuchet M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90000"/>
            <a:lumOff val="10000"/>
          </a:schemeClr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>
            <a:ln>
              <a:noFill/>
            </a:ln>
            <a:solidFill>
              <a:schemeClr val="bg2"/>
            </a:solidFill>
            <a:effectLst/>
            <a:latin typeface="Trebuchet MS" panose="020B0603020202020204" pitchFamily="34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SeparataAzu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6_Telefónica">
  <a:themeElements>
    <a:clrScheme name="Telefónica">
      <a:dk1>
        <a:srgbClr val="003245"/>
      </a:dk1>
      <a:lt1>
        <a:srgbClr val="FFFFFF"/>
      </a:lt1>
      <a:dk2>
        <a:srgbClr val="003245"/>
      </a:dk2>
      <a:lt2>
        <a:srgbClr val="FFFFFF"/>
      </a:lt2>
      <a:accent1>
        <a:srgbClr val="003245"/>
      </a:accent1>
      <a:accent2>
        <a:srgbClr val="006476"/>
      </a:accent2>
      <a:accent3>
        <a:srgbClr val="008597"/>
      </a:accent3>
      <a:accent4>
        <a:srgbClr val="0095A7"/>
      </a:accent4>
      <a:accent5>
        <a:srgbClr val="4BACC6"/>
      </a:accent5>
      <a:accent6>
        <a:srgbClr val="00C6DA"/>
      </a:accent6>
      <a:hlink>
        <a:srgbClr val="00C6DA"/>
      </a:hlink>
      <a:folHlink>
        <a:srgbClr val="00C6DA"/>
      </a:folHlink>
    </a:clrScheme>
    <a:fontScheme name="Telefónica">
      <a:majorFont>
        <a:latin typeface="Trebuchet MS"/>
        <a:ea typeface="ヒラギノ角ゴ ProN W3"/>
        <a:cs typeface="ヒラギノ角ゴ ProN W3"/>
      </a:majorFont>
      <a:minorFont>
        <a:latin typeface="Trebuchet M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90000"/>
            <a:lumOff val="10000"/>
          </a:schemeClr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>
            <a:ln>
              <a:noFill/>
            </a:ln>
            <a:solidFill>
              <a:schemeClr val="bg2"/>
            </a:solidFill>
            <a:effectLst/>
            <a:latin typeface="Trebuchet MS" panose="020B0603020202020204" pitchFamily="34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SeparataAzu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Diseño personalizado">
  <a:themeElements>
    <a:clrScheme name="Diseño personalizado 1">
      <a:dk1>
        <a:srgbClr val="123E51"/>
      </a:dk1>
      <a:lt1>
        <a:srgbClr val="FFFFFF"/>
      </a:lt1>
      <a:dk2>
        <a:srgbClr val="00C6D7"/>
      </a:dk2>
      <a:lt2>
        <a:srgbClr val="929292"/>
      </a:lt2>
      <a:accent1>
        <a:srgbClr val="123E51"/>
      </a:accent1>
      <a:accent2>
        <a:srgbClr val="00C6D7"/>
      </a:accent2>
      <a:accent3>
        <a:srgbClr val="FFFFFF"/>
      </a:accent3>
      <a:accent4>
        <a:srgbClr val="0E3444"/>
      </a:accent4>
      <a:accent5>
        <a:srgbClr val="AAAFB3"/>
      </a:accent5>
      <a:accent6>
        <a:srgbClr val="00B3C3"/>
      </a:accent6>
      <a:hlink>
        <a:srgbClr val="D8EDF9"/>
      </a:hlink>
      <a:folHlink>
        <a:srgbClr val="929292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47000">
              <a:schemeClr val="tx1"/>
            </a:gs>
            <a:gs pos="100000">
              <a:schemeClr val="tx1">
                <a:lumMod val="50000"/>
                <a:lumOff val="50000"/>
              </a:schemeClr>
            </a:gs>
          </a:gsLst>
          <a:lin ang="2700000" scaled="0"/>
        </a:gra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800" b="0" i="0" u="sng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ea typeface="ヒラギノ角ゴ ProN W3" charset="-128"/>
            <a:sym typeface="Gill Sans" charset="0"/>
          </a:defRPr>
        </a:defPPr>
      </a:lstStyle>
    </a:spDef>
    <a:lnDef>
      <a:spPr bwMode="auto">
        <a:ln>
          <a:headEnd type="none" w="med" len="med"/>
          <a:tailEnd type="none" w="med" len="med"/>
        </a:ln>
        <a:extLst/>
      </a:spPr>
      <a:bodyPr/>
      <a:lstStyle/>
      <a:style>
        <a:lnRef idx="3">
          <a:schemeClr val="accent2"/>
        </a:lnRef>
        <a:fillRef idx="0">
          <a:schemeClr val="accent2"/>
        </a:fillRef>
        <a:effectRef idx="2">
          <a:schemeClr val="accent2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8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929292"/>
        </a:lt2>
        <a:accent1>
          <a:srgbClr val="123E51"/>
        </a:accent1>
        <a:accent2>
          <a:srgbClr val="00C6D7"/>
        </a:accent2>
        <a:accent3>
          <a:srgbClr val="FFFFFF"/>
        </a:accent3>
        <a:accent4>
          <a:srgbClr val="0E3444"/>
        </a:accent4>
        <a:accent5>
          <a:srgbClr val="AAAFB3"/>
        </a:accent5>
        <a:accent6>
          <a:srgbClr val="00B3C3"/>
        </a:accent6>
        <a:hlink>
          <a:srgbClr val="D8EDF9"/>
        </a:hlink>
        <a:folHlink>
          <a:srgbClr val="92929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Diseño personalizado">
  <a:themeElements>
    <a:clrScheme name="Diseño personalizado 1">
      <a:dk1>
        <a:srgbClr val="123E51"/>
      </a:dk1>
      <a:lt1>
        <a:srgbClr val="FFFFFF"/>
      </a:lt1>
      <a:dk2>
        <a:srgbClr val="00C6D7"/>
      </a:dk2>
      <a:lt2>
        <a:srgbClr val="929292"/>
      </a:lt2>
      <a:accent1>
        <a:srgbClr val="123E51"/>
      </a:accent1>
      <a:accent2>
        <a:srgbClr val="00C6D7"/>
      </a:accent2>
      <a:accent3>
        <a:srgbClr val="FFFFFF"/>
      </a:accent3>
      <a:accent4>
        <a:srgbClr val="0E3444"/>
      </a:accent4>
      <a:accent5>
        <a:srgbClr val="AAAFB3"/>
      </a:accent5>
      <a:accent6>
        <a:srgbClr val="00B3C3"/>
      </a:accent6>
      <a:hlink>
        <a:srgbClr val="D8EDF9"/>
      </a:hlink>
      <a:folHlink>
        <a:srgbClr val="929292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47000">
              <a:schemeClr val="tx1"/>
            </a:gs>
            <a:gs pos="100000">
              <a:schemeClr val="tx1">
                <a:lumMod val="50000"/>
                <a:lumOff val="50000"/>
              </a:schemeClr>
            </a:gs>
          </a:gsLst>
          <a:lin ang="2700000" scaled="0"/>
        </a:gra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800" b="0" i="0" u="sng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ea typeface="ヒラギノ角ゴ ProN W3" charset="-128"/>
            <a:sym typeface="Gill Sans" charset="0"/>
          </a:defRPr>
        </a:defPPr>
      </a:lstStyle>
    </a:spDef>
    <a:lnDef>
      <a:spPr bwMode="auto">
        <a:ln>
          <a:headEnd type="none" w="med" len="med"/>
          <a:tailEnd type="none" w="med" len="med"/>
        </a:ln>
        <a:extLst/>
      </a:spPr>
      <a:bodyPr/>
      <a:lstStyle/>
      <a:style>
        <a:lnRef idx="3">
          <a:schemeClr val="accent2"/>
        </a:lnRef>
        <a:fillRef idx="0">
          <a:schemeClr val="accent2"/>
        </a:fillRef>
        <a:effectRef idx="2">
          <a:schemeClr val="accent2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8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929292"/>
        </a:lt2>
        <a:accent1>
          <a:srgbClr val="123E51"/>
        </a:accent1>
        <a:accent2>
          <a:srgbClr val="00C6D7"/>
        </a:accent2>
        <a:accent3>
          <a:srgbClr val="FFFFFF"/>
        </a:accent3>
        <a:accent4>
          <a:srgbClr val="0E3444"/>
        </a:accent4>
        <a:accent5>
          <a:srgbClr val="AAAFB3"/>
        </a:accent5>
        <a:accent6>
          <a:srgbClr val="00B3C3"/>
        </a:accent6>
        <a:hlink>
          <a:srgbClr val="D8EDF9"/>
        </a:hlink>
        <a:folHlink>
          <a:srgbClr val="92929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7_Telefónica">
  <a:themeElements>
    <a:clrScheme name="Telefónica">
      <a:dk1>
        <a:srgbClr val="003245"/>
      </a:dk1>
      <a:lt1>
        <a:srgbClr val="FFFFFF"/>
      </a:lt1>
      <a:dk2>
        <a:srgbClr val="003245"/>
      </a:dk2>
      <a:lt2>
        <a:srgbClr val="FFFFFF"/>
      </a:lt2>
      <a:accent1>
        <a:srgbClr val="003245"/>
      </a:accent1>
      <a:accent2>
        <a:srgbClr val="006476"/>
      </a:accent2>
      <a:accent3>
        <a:srgbClr val="008597"/>
      </a:accent3>
      <a:accent4>
        <a:srgbClr val="0095A7"/>
      </a:accent4>
      <a:accent5>
        <a:srgbClr val="4BACC6"/>
      </a:accent5>
      <a:accent6>
        <a:srgbClr val="00C6DA"/>
      </a:accent6>
      <a:hlink>
        <a:srgbClr val="00C6DA"/>
      </a:hlink>
      <a:folHlink>
        <a:srgbClr val="00C6DA"/>
      </a:folHlink>
    </a:clrScheme>
    <a:fontScheme name="Telefónica">
      <a:majorFont>
        <a:latin typeface="Trebuchet MS"/>
        <a:ea typeface="ヒラギノ角ゴ ProN W3"/>
        <a:cs typeface="ヒラギノ角ゴ ProN W3"/>
      </a:majorFont>
      <a:minorFont>
        <a:latin typeface="Trebuchet M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90000"/>
            <a:lumOff val="10000"/>
          </a:schemeClr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>
            <a:ln>
              <a:noFill/>
            </a:ln>
            <a:solidFill>
              <a:schemeClr val="bg2"/>
            </a:solidFill>
            <a:effectLst/>
            <a:latin typeface="Trebuchet MS" panose="020B0603020202020204" pitchFamily="34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SeparataAzu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8_Telefónica">
  <a:themeElements>
    <a:clrScheme name="Telefónica">
      <a:dk1>
        <a:srgbClr val="003245"/>
      </a:dk1>
      <a:lt1>
        <a:srgbClr val="FFFFFF"/>
      </a:lt1>
      <a:dk2>
        <a:srgbClr val="003245"/>
      </a:dk2>
      <a:lt2>
        <a:srgbClr val="FFFFFF"/>
      </a:lt2>
      <a:accent1>
        <a:srgbClr val="003245"/>
      </a:accent1>
      <a:accent2>
        <a:srgbClr val="006476"/>
      </a:accent2>
      <a:accent3>
        <a:srgbClr val="008597"/>
      </a:accent3>
      <a:accent4>
        <a:srgbClr val="0095A7"/>
      </a:accent4>
      <a:accent5>
        <a:srgbClr val="4BACC6"/>
      </a:accent5>
      <a:accent6>
        <a:srgbClr val="00C6DA"/>
      </a:accent6>
      <a:hlink>
        <a:srgbClr val="00C6DA"/>
      </a:hlink>
      <a:folHlink>
        <a:srgbClr val="00C6DA"/>
      </a:folHlink>
    </a:clrScheme>
    <a:fontScheme name="Telefónica">
      <a:majorFont>
        <a:latin typeface="Trebuchet MS"/>
        <a:ea typeface="ヒラギノ角ゴ ProN W3"/>
        <a:cs typeface="ヒラギノ角ゴ ProN W3"/>
      </a:majorFont>
      <a:minorFont>
        <a:latin typeface="Trebuchet M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90000"/>
            <a:lumOff val="10000"/>
          </a:schemeClr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>
            <a:ln>
              <a:noFill/>
            </a:ln>
            <a:solidFill>
              <a:schemeClr val="bg2"/>
            </a:solidFill>
            <a:effectLst/>
            <a:latin typeface="Trebuchet MS" panose="020B0603020202020204" pitchFamily="34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SeparataAzu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01</Words>
  <Application>Microsoft Office PowerPoint</Application>
  <PresentationFormat>Presentación en pantalla (4:3)</PresentationFormat>
  <Paragraphs>175</Paragraphs>
  <Slides>11</Slides>
  <Notes>6</Notes>
  <HiddenSlides>0</HiddenSlides>
  <MMClips>0</MMClips>
  <ScaleCrop>false</ScaleCrop>
  <HeadingPairs>
    <vt:vector size="8" baseType="variant">
      <vt:variant>
        <vt:lpstr>Fuentes usadas</vt:lpstr>
      </vt:variant>
      <vt:variant>
        <vt:i4>13</vt:i4>
      </vt:variant>
      <vt:variant>
        <vt:lpstr>Tema</vt:lpstr>
      </vt:variant>
      <vt:variant>
        <vt:i4>1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1</vt:i4>
      </vt:variant>
    </vt:vector>
  </HeadingPairs>
  <TitlesOfParts>
    <vt:vector size="36" baseType="lpstr">
      <vt:lpstr>Arial Unicode MS</vt:lpstr>
      <vt:lpstr>ＭＳ Ｐゴシック</vt:lpstr>
      <vt:lpstr>ＭＳ Ｐゴシック</vt:lpstr>
      <vt:lpstr>Arial</vt:lpstr>
      <vt:lpstr>Calibri</vt:lpstr>
      <vt:lpstr>Courier New</vt:lpstr>
      <vt:lpstr>Gill Sans</vt:lpstr>
      <vt:lpstr>Lucida Grande</vt:lpstr>
      <vt:lpstr>TheSansCorrespondence</vt:lpstr>
      <vt:lpstr>Trebuchet MS</vt:lpstr>
      <vt:lpstr>Wingdings</vt:lpstr>
      <vt:lpstr>ヒラギノ角ゴ Pro W3</vt:lpstr>
      <vt:lpstr>ヒラギノ角ゴ ProN W3</vt:lpstr>
      <vt:lpstr>TF_plantilla_color_Arial</vt:lpstr>
      <vt:lpstr>5_Telefónica</vt:lpstr>
      <vt:lpstr>1_Diseño personalizado</vt:lpstr>
      <vt:lpstr>4_Telefónica</vt:lpstr>
      <vt:lpstr>6_Telefónica</vt:lpstr>
      <vt:lpstr>Diseño personalizado</vt:lpstr>
      <vt:lpstr>2_Diseño personalizado</vt:lpstr>
      <vt:lpstr>7_Telefónica</vt:lpstr>
      <vt:lpstr>8_Telefónica</vt:lpstr>
      <vt:lpstr>3_Diseño personalizado</vt:lpstr>
      <vt:lpstr>Blank016New</vt:lpstr>
      <vt:lpstr>think-cell Slide</vt:lpstr>
      <vt:lpstr>Presentación de PowerPoint</vt:lpstr>
      <vt:lpstr>Telefónica es una Telco líder en Europa y Latinoamérica. Nuestra región es pilar y motor del grupo con 67% de sus accesos</vt:lpstr>
      <vt:lpstr>Con 25 años de presencia en Argentina, el compromiso de Telefónica con el país es inalterable</vt:lpstr>
      <vt:lpstr>La misión de Telefónica Mayorista es dar soluciones a las necesidades de los Prestadores, en particular de los ISPs</vt:lpstr>
      <vt:lpstr>Los cambios en los hábitos de consumo de contenidos audiovisuales multiplican la necesidad de ancho de banda</vt:lpstr>
      <vt:lpstr>El tráfico en la redes se ve dominado por el video, que impulsa su crecimiento y presenta desafíos para los Prestadores con redes</vt:lpstr>
      <vt:lpstr>En el negocio Telefónica Mayorista participa como carrier de contenidos audiovisuales para Prestadores</vt:lpstr>
      <vt:lpstr>La oferta específica para transporte de contenidos audiovisuales evoluciona con la demanda de los Prestadores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03 -  Cronograma de inicios Del Proyecto</dc:title>
  <dc:creator>admin_ntwks</dc:creator>
  <cp:lastModifiedBy>Castagnino Nicolas</cp:lastModifiedBy>
  <cp:revision>331</cp:revision>
  <cp:lastPrinted>2015-05-12T16:03:59Z</cp:lastPrinted>
  <dcterms:created xsi:type="dcterms:W3CDTF">2015-01-22T14:23:58Z</dcterms:created>
  <dcterms:modified xsi:type="dcterms:W3CDTF">2015-08-25T19:44:43Z</dcterms:modified>
</cp:coreProperties>
</file>